
<file path=[Content_Types].xml><?xml version="1.0" encoding="utf-8"?>
<Types xmlns="http://schemas.openxmlformats.org/package/2006/content-types">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82.xml" ContentType="application/vnd.openxmlformats-officedocument.presentationml.tags+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4"/>
    <p:sldMasterId id="2147483686" r:id="rId5"/>
  </p:sldMasterIdLst>
  <p:notesMasterIdLst>
    <p:notesMasterId r:id="rId42"/>
  </p:notesMasterIdLst>
  <p:handoutMasterIdLst>
    <p:handoutMasterId r:id="rId43"/>
  </p:handoutMasterIdLst>
  <p:sldIdLst>
    <p:sldId id="258" r:id="rId6"/>
    <p:sldId id="2147477039" r:id="rId7"/>
    <p:sldId id="2147477031" r:id="rId8"/>
    <p:sldId id="2147477033" r:id="rId9"/>
    <p:sldId id="2147477019" r:id="rId10"/>
    <p:sldId id="285" r:id="rId11"/>
    <p:sldId id="286" r:id="rId12"/>
    <p:sldId id="2147477040" r:id="rId13"/>
    <p:sldId id="2147477029" r:id="rId14"/>
    <p:sldId id="2147477032" r:id="rId15"/>
    <p:sldId id="299" r:id="rId16"/>
    <p:sldId id="288" r:id="rId17"/>
    <p:sldId id="2147477049" r:id="rId18"/>
    <p:sldId id="2147477020" r:id="rId19"/>
    <p:sldId id="2147477057" r:id="rId20"/>
    <p:sldId id="2147477071" r:id="rId21"/>
    <p:sldId id="2147477046" r:id="rId22"/>
    <p:sldId id="2147477050" r:id="rId23"/>
    <p:sldId id="2147477052" r:id="rId24"/>
    <p:sldId id="2147477054" r:id="rId25"/>
    <p:sldId id="2147477055" r:id="rId26"/>
    <p:sldId id="2147477056" r:id="rId27"/>
    <p:sldId id="2147477073" r:id="rId28"/>
    <p:sldId id="2147477077" r:id="rId29"/>
    <p:sldId id="2147477023" r:id="rId30"/>
    <p:sldId id="2147477062" r:id="rId31"/>
    <p:sldId id="2147477066" r:id="rId32"/>
    <p:sldId id="2147477061" r:id="rId33"/>
    <p:sldId id="2147477060" r:id="rId34"/>
    <p:sldId id="2147477024" r:id="rId35"/>
    <p:sldId id="390" r:id="rId36"/>
    <p:sldId id="2147477075" r:id="rId37"/>
    <p:sldId id="2147477035" r:id="rId38"/>
    <p:sldId id="2147477064" r:id="rId39"/>
    <p:sldId id="2147375812" r:id="rId40"/>
    <p:sldId id="2147477078" r:id="rId41"/>
  </p:sldIdLst>
  <p:sldSz cx="11063288" cy="6224588"/>
  <p:notesSz cx="7559675" cy="10691813"/>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885EE8DA-D9F1-4C50-BC56-7715E4116696}">
          <p14:sldIdLst>
            <p14:sldId id="258"/>
            <p14:sldId id="2147477039"/>
            <p14:sldId id="2147477031"/>
          </p14:sldIdLst>
        </p14:section>
        <p14:section name="Zusammenfassungsabschnitt" id="{FDB38F92-9F42-42D1-BAE6-8E3CB39F441B}">
          <p14:sldIdLst>
            <p14:sldId id="2147477033"/>
          </p14:sldIdLst>
        </p14:section>
        <p14:section name="Motivation" id="{BF3BE9F3-98CD-4806-B64A-95B2FBDE7E1E}">
          <p14:sldIdLst>
            <p14:sldId id="2147477019"/>
            <p14:sldId id="285"/>
            <p14:sldId id="286"/>
            <p14:sldId id="2147477040"/>
            <p14:sldId id="2147477029"/>
          </p14:sldIdLst>
        </p14:section>
        <p14:section name="Vision and Approach" id="{A61DD1E5-45F0-4581-ADEF-D4D9709239C4}">
          <p14:sldIdLst>
            <p14:sldId id="2147477032"/>
            <p14:sldId id="299"/>
            <p14:sldId id="288"/>
            <p14:sldId id="2147477049"/>
          </p14:sldIdLst>
        </p14:section>
        <p14:section name="Architecture" id="{4D70900E-AB76-4772-BACA-12DCAFC5F027}">
          <p14:sldIdLst>
            <p14:sldId id="2147477020"/>
            <p14:sldId id="2147477057"/>
            <p14:sldId id="2147477071"/>
            <p14:sldId id="2147477046"/>
            <p14:sldId id="2147477050"/>
            <p14:sldId id="2147477052"/>
            <p14:sldId id="2147477054"/>
            <p14:sldId id="2147477055"/>
            <p14:sldId id="2147477056"/>
            <p14:sldId id="2147477073"/>
            <p14:sldId id="2147477077"/>
          </p14:sldIdLst>
        </p14:section>
        <p14:section name="Technology" id="{04D594AE-0B56-4C44-950E-68ABCBCF2E1E}">
          <p14:sldIdLst>
            <p14:sldId id="2147477023"/>
            <p14:sldId id="2147477062"/>
            <p14:sldId id="2147477066"/>
            <p14:sldId id="2147477061"/>
            <p14:sldId id="2147477060"/>
          </p14:sldIdLst>
        </p14:section>
        <p14:section name="Testbed" id="{C1452029-4259-4D39-AB03-A2CE498650C7}">
          <p14:sldIdLst>
            <p14:sldId id="2147477024"/>
            <p14:sldId id="390"/>
            <p14:sldId id="2147477075"/>
            <p14:sldId id="2147477035"/>
            <p14:sldId id="2147477064"/>
            <p14:sldId id="2147375812"/>
            <p14:sldId id="2147477078"/>
          </p14:sldIdLst>
        </p14:section>
      </p14:sectionLst>
    </p:ext>
    <p:ext uri="{EFAFB233-063F-42B5-8137-9DF3F51BA10A}">
      <p15:sldGuideLst xmlns:p15="http://schemas.microsoft.com/office/powerpoint/2012/main">
        <p15:guide id="1" orient="horz" pos="1280" userDrawn="1">
          <p15:clr>
            <a:srgbClr val="A4A3A4"/>
          </p15:clr>
        </p15:guide>
        <p15:guide id="2" pos="46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37C2047-2C66-0F23-7959-7F2F0A0982E6}" name="Baradie Shaden" initials="BS" userId="S::baradieshaden_johndeere.com#ext#@antunibremen.onmicrosoft.com::38e4bbdd-3ea1-4135-b3b6-e91bf18a8c68" providerId="AD"/>
  <p188:author id="{2EBAB47D-F04F-4406-6D19-F89BD17C1C31}" name="Alexander Herbst" initials="AH" userId="S::herbst@otaris.org::e9713c7a-0a8c-4b92-92d1-6540c06c2c4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3859"/>
    <a:srgbClr val="FF7C80"/>
    <a:srgbClr val="FF505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74FC19-2178-44EB-AF3D-B4D70E63D589}" v="1809" dt="2025-03-31T06:34:14.173"/>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280"/>
        <p:guide pos="468"/>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ableStyles" Target="tableStyles.xml"/><Relationship Id="rId50"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 Id="rId48" Type="http://schemas.microsoft.com/office/2016/11/relationships/changesInfo" Target="changesInfos/changesInfo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eitbach, Markus" userId="S::m.breitbach_telekom.de#ext#@antunibremen.onmicrosoft.com::10c158ad-965e-4490-8b4a-81e4e8a03889" providerId="AD" clId="Web-{D76B3C3D-6927-4852-1B49-140FC07D9668}"/>
    <pc:docChg chg="modSld">
      <pc:chgData name="Breitbach, Markus" userId="S::m.breitbach_telekom.de#ext#@antunibremen.onmicrosoft.com::10c158ad-965e-4490-8b4a-81e4e8a03889" providerId="AD" clId="Web-{D76B3C3D-6927-4852-1B49-140FC07D9668}" dt="2025-03-28T09:08:35.708" v="26"/>
      <pc:docMkLst>
        <pc:docMk/>
      </pc:docMkLst>
      <pc:sldChg chg="modSp">
        <pc:chgData name="Breitbach, Markus" userId="S::m.breitbach_telekom.de#ext#@antunibremen.onmicrosoft.com::10c158ad-965e-4490-8b4a-81e4e8a03889" providerId="AD" clId="Web-{D76B3C3D-6927-4852-1B49-140FC07D9668}" dt="2025-03-27T10:50:37.702" v="2" actId="20577"/>
        <pc:sldMkLst>
          <pc:docMk/>
          <pc:sldMk cId="1673204685" sldId="285"/>
        </pc:sldMkLst>
        <pc:spChg chg="mod">
          <ac:chgData name="Breitbach, Markus" userId="S::m.breitbach_telekom.de#ext#@antunibremen.onmicrosoft.com::10c158ad-965e-4490-8b4a-81e4e8a03889" providerId="AD" clId="Web-{D76B3C3D-6927-4852-1B49-140FC07D9668}" dt="2025-03-27T10:50:37.702" v="2" actId="20577"/>
          <ac:spMkLst>
            <pc:docMk/>
            <pc:sldMk cId="1673204685" sldId="285"/>
            <ac:spMk id="7" creationId="{102D0D86-8DC9-4BF0-88E4-A6B37A846845}"/>
          </ac:spMkLst>
        </pc:spChg>
      </pc:sldChg>
      <pc:sldChg chg="addSp delSp modSp">
        <pc:chgData name="Breitbach, Markus" userId="S::m.breitbach_telekom.de#ext#@antunibremen.onmicrosoft.com::10c158ad-965e-4490-8b4a-81e4e8a03889" providerId="AD" clId="Web-{D76B3C3D-6927-4852-1B49-140FC07D9668}" dt="2025-03-28T09:05:40.279" v="8"/>
        <pc:sldMkLst>
          <pc:docMk/>
          <pc:sldMk cId="473860687" sldId="286"/>
        </pc:sldMkLst>
      </pc:sldChg>
      <pc:sldChg chg="addSp">
        <pc:chgData name="Breitbach, Markus" userId="S::m.breitbach_telekom.de#ext#@antunibremen.onmicrosoft.com::10c158ad-965e-4490-8b4a-81e4e8a03889" providerId="AD" clId="Web-{D76B3C3D-6927-4852-1B49-140FC07D9668}" dt="2025-03-28T09:08:32.145" v="25"/>
        <pc:sldMkLst>
          <pc:docMk/>
          <pc:sldMk cId="3162997244" sldId="2147375812"/>
        </pc:sldMkLst>
      </pc:sldChg>
      <pc:sldChg chg="addSp">
        <pc:chgData name="Breitbach, Markus" userId="S::m.breitbach_telekom.de#ext#@antunibremen.onmicrosoft.com::10c158ad-965e-4490-8b4a-81e4e8a03889" providerId="AD" clId="Web-{D76B3C3D-6927-4852-1B49-140FC07D9668}" dt="2025-03-28T09:08:24.910" v="23"/>
        <pc:sldMkLst>
          <pc:docMk/>
          <pc:sldMk cId="3161152169" sldId="2147477035"/>
        </pc:sldMkLst>
      </pc:sldChg>
      <pc:sldChg chg="modSp">
        <pc:chgData name="Breitbach, Markus" userId="S::m.breitbach_telekom.de#ext#@antunibremen.onmicrosoft.com::10c158ad-965e-4490-8b4a-81e4e8a03889" providerId="AD" clId="Web-{D76B3C3D-6927-4852-1B49-140FC07D9668}" dt="2025-03-27T12:59:27.206" v="3" actId="1076"/>
        <pc:sldMkLst>
          <pc:docMk/>
          <pc:sldMk cId="1092017827" sldId="2147477046"/>
        </pc:sldMkLst>
      </pc:sldChg>
      <pc:sldChg chg="addSp modSp">
        <pc:chgData name="Breitbach, Markus" userId="S::m.breitbach_telekom.de#ext#@antunibremen.onmicrosoft.com::10c158ad-965e-4490-8b4a-81e4e8a03889" providerId="AD" clId="Web-{D76B3C3D-6927-4852-1B49-140FC07D9668}" dt="2025-03-28T09:06:09.187" v="10" actId="1076"/>
        <pc:sldMkLst>
          <pc:docMk/>
          <pc:sldMk cId="484452169" sldId="2147477049"/>
        </pc:sldMkLst>
      </pc:sldChg>
      <pc:sldChg chg="addSp delSp modSp">
        <pc:chgData name="Breitbach, Markus" userId="S::m.breitbach_telekom.de#ext#@antunibremen.onmicrosoft.com::10c158ad-965e-4490-8b4a-81e4e8a03889" providerId="AD" clId="Web-{D76B3C3D-6927-4852-1B49-140FC07D9668}" dt="2025-03-28T09:06:32.203" v="15" actId="1076"/>
        <pc:sldMkLst>
          <pc:docMk/>
          <pc:sldMk cId="2869957903" sldId="2147477050"/>
        </pc:sldMkLst>
      </pc:sldChg>
      <pc:sldChg chg="addSp">
        <pc:chgData name="Breitbach, Markus" userId="S::m.breitbach_telekom.de#ext#@antunibremen.onmicrosoft.com::10c158ad-965e-4490-8b4a-81e4e8a03889" providerId="AD" clId="Web-{D76B3C3D-6927-4852-1B49-140FC07D9668}" dt="2025-03-28T09:06:33.609" v="16"/>
        <pc:sldMkLst>
          <pc:docMk/>
          <pc:sldMk cId="1516448176" sldId="2147477052"/>
        </pc:sldMkLst>
      </pc:sldChg>
      <pc:sldChg chg="addSp">
        <pc:chgData name="Breitbach, Markus" userId="S::m.breitbach_telekom.de#ext#@antunibremen.onmicrosoft.com::10c158ad-965e-4490-8b4a-81e4e8a03889" providerId="AD" clId="Web-{D76B3C3D-6927-4852-1B49-140FC07D9668}" dt="2025-03-28T09:06:34.688" v="17"/>
        <pc:sldMkLst>
          <pc:docMk/>
          <pc:sldMk cId="3749321561" sldId="2147477054"/>
        </pc:sldMkLst>
      </pc:sldChg>
      <pc:sldChg chg="addSp">
        <pc:chgData name="Breitbach, Markus" userId="S::m.breitbach_telekom.de#ext#@antunibremen.onmicrosoft.com::10c158ad-965e-4490-8b4a-81e4e8a03889" providerId="AD" clId="Web-{D76B3C3D-6927-4852-1B49-140FC07D9668}" dt="2025-03-28T09:06:36.578" v="18"/>
        <pc:sldMkLst>
          <pc:docMk/>
          <pc:sldMk cId="3013585730" sldId="2147477055"/>
        </pc:sldMkLst>
      </pc:sldChg>
      <pc:sldChg chg="addSp">
        <pc:chgData name="Breitbach, Markus" userId="S::m.breitbach_telekom.de#ext#@antunibremen.onmicrosoft.com::10c158ad-965e-4490-8b4a-81e4e8a03889" providerId="AD" clId="Web-{D76B3C3D-6927-4852-1B49-140FC07D9668}" dt="2025-03-28T09:06:41.532" v="19"/>
        <pc:sldMkLst>
          <pc:docMk/>
          <pc:sldMk cId="1590415788" sldId="2147477056"/>
        </pc:sldMkLst>
      </pc:sldChg>
      <pc:sldChg chg="addSp">
        <pc:chgData name="Breitbach, Markus" userId="S::m.breitbach_telekom.de#ext#@antunibremen.onmicrosoft.com::10c158ad-965e-4490-8b4a-81e4e8a03889" providerId="AD" clId="Web-{D76B3C3D-6927-4852-1B49-140FC07D9668}" dt="2025-03-28T09:08:28.973" v="24"/>
        <pc:sldMkLst>
          <pc:docMk/>
          <pc:sldMk cId="4268970151" sldId="2147477064"/>
        </pc:sldMkLst>
      </pc:sldChg>
      <pc:sldChg chg="addSp">
        <pc:chgData name="Breitbach, Markus" userId="S::m.breitbach_telekom.de#ext#@antunibremen.onmicrosoft.com::10c158ad-965e-4490-8b4a-81e4e8a03889" providerId="AD" clId="Web-{D76B3C3D-6927-4852-1B49-140FC07D9668}" dt="2025-03-28T09:06:45.610" v="20"/>
        <pc:sldMkLst>
          <pc:docMk/>
          <pc:sldMk cId="1308736631" sldId="2147477073"/>
        </pc:sldMkLst>
      </pc:sldChg>
      <pc:sldChg chg="addSp">
        <pc:chgData name="Breitbach, Markus" userId="S::m.breitbach_telekom.de#ext#@antunibremen.onmicrosoft.com::10c158ad-965e-4490-8b4a-81e4e8a03889" providerId="AD" clId="Web-{D76B3C3D-6927-4852-1B49-140FC07D9668}" dt="2025-03-28T09:06:50.610" v="21"/>
        <pc:sldMkLst>
          <pc:docMk/>
          <pc:sldMk cId="1164737160" sldId="2147477074"/>
        </pc:sldMkLst>
      </pc:sldChg>
      <pc:sldChg chg="addSp">
        <pc:chgData name="Breitbach, Markus" userId="S::m.breitbach_telekom.de#ext#@antunibremen.onmicrosoft.com::10c158ad-965e-4490-8b4a-81e4e8a03889" providerId="AD" clId="Web-{D76B3C3D-6927-4852-1B49-140FC07D9668}" dt="2025-03-28T09:08:20.817" v="22"/>
        <pc:sldMkLst>
          <pc:docMk/>
          <pc:sldMk cId="2599621944" sldId="2147477075"/>
        </pc:sldMkLst>
      </pc:sldChg>
      <pc:sldChg chg="addSp">
        <pc:chgData name="Breitbach, Markus" userId="S::m.breitbach_telekom.de#ext#@antunibremen.onmicrosoft.com::10c158ad-965e-4490-8b4a-81e4e8a03889" providerId="AD" clId="Web-{D76B3C3D-6927-4852-1B49-140FC07D9668}" dt="2025-03-28T09:08:35.708" v="26"/>
        <pc:sldMkLst>
          <pc:docMk/>
          <pc:sldMk cId="1288718153" sldId="2147477076"/>
        </pc:sldMkLst>
      </pc:sldChg>
    </pc:docChg>
  </pc:docChgLst>
  <pc:docChgLst>
    <pc:chgData name="Dennis Buchberger" userId="S::buchberger@ant.uni-bremen.de::cfe5e5e7-b999-4ed2-8d25-bbd6e3df32e4" providerId="AD" clId="Web-{196DA487-B6BC-C5E2-10C9-4B26A5F45542}"/>
    <pc:docChg chg="addSld modSld sldOrd modSection">
      <pc:chgData name="Dennis Buchberger" userId="S::buchberger@ant.uni-bremen.de::cfe5e5e7-b999-4ed2-8d25-bbd6e3df32e4" providerId="AD" clId="Web-{196DA487-B6BC-C5E2-10C9-4B26A5F45542}" dt="2025-02-25T17:00:35.793" v="306" actId="20577"/>
      <pc:docMkLst>
        <pc:docMk/>
      </pc:docMkLst>
      <pc:sldChg chg="modSp">
        <pc:chgData name="Dennis Buchberger" userId="S::buchberger@ant.uni-bremen.de::cfe5e5e7-b999-4ed2-8d25-bbd6e3df32e4" providerId="AD" clId="Web-{196DA487-B6BC-C5E2-10C9-4B26A5F45542}" dt="2025-02-25T16:59:46.666" v="255" actId="20577"/>
        <pc:sldMkLst>
          <pc:docMk/>
          <pc:sldMk cId="3801953932" sldId="2147476937"/>
        </pc:sldMkLst>
      </pc:sldChg>
      <pc:sldChg chg="modSp">
        <pc:chgData name="Dennis Buchberger" userId="S::buchberger@ant.uni-bremen.de::cfe5e5e7-b999-4ed2-8d25-bbd6e3df32e4" providerId="AD" clId="Web-{196DA487-B6BC-C5E2-10C9-4B26A5F45542}" dt="2025-02-25T16:54:34.700" v="59" actId="20577"/>
        <pc:sldMkLst>
          <pc:docMk/>
          <pc:sldMk cId="2401955631" sldId="2147476941"/>
        </pc:sldMkLst>
      </pc:sldChg>
      <pc:sldChg chg="modSp">
        <pc:chgData name="Dennis Buchberger" userId="S::buchberger@ant.uni-bremen.de::cfe5e5e7-b999-4ed2-8d25-bbd6e3df32e4" providerId="AD" clId="Web-{196DA487-B6BC-C5E2-10C9-4B26A5F45542}" dt="2025-02-25T16:59:48.400" v="256" actId="20577"/>
        <pc:sldMkLst>
          <pc:docMk/>
          <pc:sldMk cId="1077208484" sldId="2147476942"/>
        </pc:sldMkLst>
      </pc:sldChg>
      <pc:sldChg chg="modSp new">
        <pc:chgData name="Dennis Buchberger" userId="S::buchberger@ant.uni-bremen.de::cfe5e5e7-b999-4ed2-8d25-bbd6e3df32e4" providerId="AD" clId="Web-{196DA487-B6BC-C5E2-10C9-4B26A5F45542}" dt="2025-02-25T16:54:30.435" v="57" actId="20577"/>
        <pc:sldMkLst>
          <pc:docMk/>
          <pc:sldMk cId="1918850631" sldId="2147476944"/>
        </pc:sldMkLst>
      </pc:sldChg>
      <pc:sldChg chg="modSp new ord">
        <pc:chgData name="Dennis Buchberger" userId="S::buchberger@ant.uni-bremen.de::cfe5e5e7-b999-4ed2-8d25-bbd6e3df32e4" providerId="AD" clId="Web-{196DA487-B6BC-C5E2-10C9-4B26A5F45542}" dt="2025-02-25T16:59:50.135" v="257" actId="20577"/>
        <pc:sldMkLst>
          <pc:docMk/>
          <pc:sldMk cId="1527545129" sldId="2147476945"/>
        </pc:sldMkLst>
      </pc:sldChg>
      <pc:sldChg chg="modSp new mod modClrScheme chgLayout">
        <pc:chgData name="Dennis Buchberger" userId="S::buchberger@ant.uni-bremen.de::cfe5e5e7-b999-4ed2-8d25-bbd6e3df32e4" providerId="AD" clId="Web-{196DA487-B6BC-C5E2-10C9-4B26A5F45542}" dt="2025-02-25T16:59:44.306" v="254" actId="20577"/>
        <pc:sldMkLst>
          <pc:docMk/>
          <pc:sldMk cId="781642020" sldId="2147476946"/>
        </pc:sldMkLst>
      </pc:sldChg>
      <pc:sldChg chg="modSp new">
        <pc:chgData name="Dennis Buchberger" userId="S::buchberger@ant.uni-bremen.de::cfe5e5e7-b999-4ed2-8d25-bbd6e3df32e4" providerId="AD" clId="Web-{196DA487-B6BC-C5E2-10C9-4B26A5F45542}" dt="2025-02-25T17:00:01.479" v="261" actId="20577"/>
        <pc:sldMkLst>
          <pc:docMk/>
          <pc:sldMk cId="1015288669" sldId="2147476947"/>
        </pc:sldMkLst>
      </pc:sldChg>
      <pc:sldChg chg="modSp new">
        <pc:chgData name="Dennis Buchberger" userId="S::buchberger@ant.uni-bremen.de::cfe5e5e7-b999-4ed2-8d25-bbd6e3df32e4" providerId="AD" clId="Web-{196DA487-B6BC-C5E2-10C9-4B26A5F45542}" dt="2025-02-25T17:00:35.793" v="306" actId="20577"/>
        <pc:sldMkLst>
          <pc:docMk/>
          <pc:sldMk cId="1443366484" sldId="2147476948"/>
        </pc:sldMkLst>
      </pc:sldChg>
    </pc:docChg>
  </pc:docChgLst>
  <pc:docChgLst>
    <pc:chgData name="shama.noreen@rptu.de" userId="S::shama.noreen_rptu.de#ext#@antunibremen.onmicrosoft.com::723f12dc-439d-467c-b689-ae2f5074cd4f" providerId="AD" clId="Web-{E3697BA0-EE1B-43B1-526C-08188F3DCD44}"/>
    <pc:docChg chg="modSld">
      <pc:chgData name="shama.noreen@rptu.de" userId="S::shama.noreen_rptu.de#ext#@antunibremen.onmicrosoft.com::723f12dc-439d-467c-b689-ae2f5074cd4f" providerId="AD" clId="Web-{E3697BA0-EE1B-43B1-526C-08188F3DCD44}" dt="2024-10-17T11:55:28.594" v="22" actId="20577"/>
      <pc:docMkLst>
        <pc:docMk/>
      </pc:docMkLst>
      <pc:sldChg chg="modSp">
        <pc:chgData name="shama.noreen@rptu.de" userId="S::shama.noreen_rptu.de#ext#@antunibremen.onmicrosoft.com::723f12dc-439d-467c-b689-ae2f5074cd4f" providerId="AD" clId="Web-{E3697BA0-EE1B-43B1-526C-08188F3DCD44}" dt="2024-10-17T11:55:28.594" v="22" actId="20577"/>
        <pc:sldMkLst>
          <pc:docMk/>
          <pc:sldMk cId="1757150157" sldId="2147476874"/>
        </pc:sldMkLst>
      </pc:sldChg>
    </pc:docChg>
  </pc:docChgLst>
  <pc:docChgLst>
    <pc:chgData name="Dirk Wübben" userId="a27602df-5b54-480c-866c-64260ceb4949" providerId="ADAL" clId="{E0C3E87D-7708-4EFF-8A3B-0A2F38D3AC67}"/>
    <pc:docChg chg="undo custSel addSld delSld modSld sldOrd addSection delSection modSection">
      <pc:chgData name="Dirk Wübben" userId="a27602df-5b54-480c-866c-64260ceb4949" providerId="ADAL" clId="{E0C3E87D-7708-4EFF-8A3B-0A2F38D3AC67}" dt="2024-03-07T20:05:52.616" v="467" actId="6549"/>
      <pc:docMkLst>
        <pc:docMk/>
      </pc:docMkLst>
      <pc:sldChg chg="modSp mod">
        <pc:chgData name="Dirk Wübben" userId="a27602df-5b54-480c-866c-64260ceb4949" providerId="ADAL" clId="{E0C3E87D-7708-4EFF-8A3B-0A2F38D3AC67}" dt="2024-02-26T11:57:44.789" v="16" actId="20577"/>
        <pc:sldMkLst>
          <pc:docMk/>
          <pc:sldMk cId="0" sldId="258"/>
        </pc:sldMkLst>
      </pc:sldChg>
      <pc:sldChg chg="del">
        <pc:chgData name="Dirk Wübben" userId="a27602df-5b54-480c-866c-64260ceb4949" providerId="ADAL" clId="{E0C3E87D-7708-4EFF-8A3B-0A2F38D3AC67}" dt="2024-02-26T11:58:15.894" v="54" actId="47"/>
        <pc:sldMkLst>
          <pc:docMk/>
          <pc:sldMk cId="1591560020" sldId="372"/>
        </pc:sldMkLst>
      </pc:sldChg>
      <pc:sldChg chg="del">
        <pc:chgData name="Dirk Wübben" userId="a27602df-5b54-480c-866c-64260ceb4949" providerId="ADAL" clId="{E0C3E87D-7708-4EFF-8A3B-0A2F38D3AC67}" dt="2024-02-26T11:58:15.894" v="54" actId="47"/>
        <pc:sldMkLst>
          <pc:docMk/>
          <pc:sldMk cId="4077502389" sldId="374"/>
        </pc:sldMkLst>
      </pc:sldChg>
      <pc:sldChg chg="del">
        <pc:chgData name="Dirk Wübben" userId="a27602df-5b54-480c-866c-64260ceb4949" providerId="ADAL" clId="{E0C3E87D-7708-4EFF-8A3B-0A2F38D3AC67}" dt="2024-02-26T11:58:15.894" v="54" actId="47"/>
        <pc:sldMkLst>
          <pc:docMk/>
          <pc:sldMk cId="149259647" sldId="375"/>
        </pc:sldMkLst>
      </pc:sldChg>
      <pc:sldChg chg="del">
        <pc:chgData name="Dirk Wübben" userId="a27602df-5b54-480c-866c-64260ceb4949" providerId="ADAL" clId="{E0C3E87D-7708-4EFF-8A3B-0A2F38D3AC67}" dt="2024-02-26T11:58:15.894" v="54" actId="47"/>
        <pc:sldMkLst>
          <pc:docMk/>
          <pc:sldMk cId="1247261493" sldId="381"/>
        </pc:sldMkLst>
      </pc:sldChg>
      <pc:sldChg chg="del">
        <pc:chgData name="Dirk Wübben" userId="a27602df-5b54-480c-866c-64260ceb4949" providerId="ADAL" clId="{E0C3E87D-7708-4EFF-8A3B-0A2F38D3AC67}" dt="2024-02-26T11:58:15.894" v="54" actId="47"/>
        <pc:sldMkLst>
          <pc:docMk/>
          <pc:sldMk cId="2788898102" sldId="382"/>
        </pc:sldMkLst>
      </pc:sldChg>
      <pc:sldChg chg="del">
        <pc:chgData name="Dirk Wübben" userId="a27602df-5b54-480c-866c-64260ceb4949" providerId="ADAL" clId="{E0C3E87D-7708-4EFF-8A3B-0A2F38D3AC67}" dt="2024-02-26T11:58:15.894" v="54" actId="47"/>
        <pc:sldMkLst>
          <pc:docMk/>
          <pc:sldMk cId="3255594395" sldId="396"/>
        </pc:sldMkLst>
      </pc:sldChg>
      <pc:sldChg chg="del">
        <pc:chgData name="Dirk Wübben" userId="a27602df-5b54-480c-866c-64260ceb4949" providerId="ADAL" clId="{E0C3E87D-7708-4EFF-8A3B-0A2F38D3AC67}" dt="2024-02-26T11:58:27.772" v="56" actId="47"/>
        <pc:sldMkLst>
          <pc:docMk/>
          <pc:sldMk cId="2825320251" sldId="2147472498"/>
        </pc:sldMkLst>
      </pc:sldChg>
      <pc:sldChg chg="del">
        <pc:chgData name="Dirk Wübben" userId="a27602df-5b54-480c-866c-64260ceb4949" providerId="ADAL" clId="{E0C3E87D-7708-4EFF-8A3B-0A2F38D3AC67}" dt="2024-02-26T11:58:07.244" v="52" actId="47"/>
        <pc:sldMkLst>
          <pc:docMk/>
          <pc:sldMk cId="104511861" sldId="2147472510"/>
        </pc:sldMkLst>
      </pc:sldChg>
      <pc:sldChg chg="addSp delSp modSp add del mod">
        <pc:chgData name="Dirk Wübben" userId="a27602df-5b54-480c-866c-64260ceb4949" providerId="ADAL" clId="{E0C3E87D-7708-4EFF-8A3B-0A2F38D3AC67}" dt="2024-03-07T20:03:46.271" v="452" actId="20577"/>
        <pc:sldMkLst>
          <pc:docMk/>
          <pc:sldMk cId="600687088" sldId="2147472516"/>
        </pc:sldMkLst>
      </pc:sldChg>
      <pc:sldChg chg="del">
        <pc:chgData name="Dirk Wübben" userId="a27602df-5b54-480c-866c-64260ceb4949" providerId="ADAL" clId="{E0C3E87D-7708-4EFF-8A3B-0A2F38D3AC67}" dt="2024-02-26T11:58:07.244" v="52" actId="47"/>
        <pc:sldMkLst>
          <pc:docMk/>
          <pc:sldMk cId="727142129" sldId="2147472519"/>
        </pc:sldMkLst>
      </pc:sldChg>
      <pc:sldChg chg="del">
        <pc:chgData name="Dirk Wübben" userId="a27602df-5b54-480c-866c-64260ceb4949" providerId="ADAL" clId="{E0C3E87D-7708-4EFF-8A3B-0A2F38D3AC67}" dt="2024-02-26T11:58:07.244" v="52" actId="47"/>
        <pc:sldMkLst>
          <pc:docMk/>
          <pc:sldMk cId="1655634797" sldId="2147472520"/>
        </pc:sldMkLst>
      </pc:sldChg>
      <pc:sldChg chg="del">
        <pc:chgData name="Dirk Wübben" userId="a27602df-5b54-480c-866c-64260ceb4949" providerId="ADAL" clId="{E0C3E87D-7708-4EFF-8A3B-0A2F38D3AC67}" dt="2024-02-26T11:58:07.244" v="52" actId="47"/>
        <pc:sldMkLst>
          <pc:docMk/>
          <pc:sldMk cId="1786956514" sldId="2147472521"/>
        </pc:sldMkLst>
      </pc:sldChg>
      <pc:sldChg chg="del">
        <pc:chgData name="Dirk Wübben" userId="a27602df-5b54-480c-866c-64260ceb4949" providerId="ADAL" clId="{E0C3E87D-7708-4EFF-8A3B-0A2F38D3AC67}" dt="2024-02-26T11:58:27.772" v="56" actId="47"/>
        <pc:sldMkLst>
          <pc:docMk/>
          <pc:sldMk cId="3653328023" sldId="2147472529"/>
        </pc:sldMkLst>
      </pc:sldChg>
      <pc:sldChg chg="del">
        <pc:chgData name="Dirk Wübben" userId="a27602df-5b54-480c-866c-64260ceb4949" providerId="ADAL" clId="{E0C3E87D-7708-4EFF-8A3B-0A2F38D3AC67}" dt="2024-02-26T11:58:27.772" v="56" actId="47"/>
        <pc:sldMkLst>
          <pc:docMk/>
          <pc:sldMk cId="466912897" sldId="2147472533"/>
        </pc:sldMkLst>
      </pc:sldChg>
      <pc:sldChg chg="del">
        <pc:chgData name="Dirk Wübben" userId="a27602df-5b54-480c-866c-64260ceb4949" providerId="ADAL" clId="{E0C3E87D-7708-4EFF-8A3B-0A2F38D3AC67}" dt="2024-02-26T11:58:27.772" v="56" actId="47"/>
        <pc:sldMkLst>
          <pc:docMk/>
          <pc:sldMk cId="2300040949" sldId="2147472534"/>
        </pc:sldMkLst>
      </pc:sldChg>
      <pc:sldChg chg="modSp add mod ord">
        <pc:chgData name="Dirk Wübben" userId="a27602df-5b54-480c-866c-64260ceb4949" providerId="ADAL" clId="{E0C3E87D-7708-4EFF-8A3B-0A2F38D3AC67}" dt="2024-03-07T19:59:51.992" v="304"/>
        <pc:sldMkLst>
          <pc:docMk/>
          <pc:sldMk cId="237492012" sldId="2147472535"/>
        </pc:sldMkLst>
      </pc:sldChg>
      <pc:sldChg chg="new ord">
        <pc:chgData name="Dirk Wübben" userId="a27602df-5b54-480c-866c-64260ceb4949" providerId="ADAL" clId="{E0C3E87D-7708-4EFF-8A3B-0A2F38D3AC67}" dt="2024-02-26T11:58:04.709" v="51"/>
        <pc:sldMkLst>
          <pc:docMk/>
          <pc:sldMk cId="1802835650" sldId="2147472535"/>
        </pc:sldMkLst>
      </pc:sldChg>
      <pc:sldChg chg="add">
        <pc:chgData name="Dirk Wübben" userId="a27602df-5b54-480c-866c-64260ceb4949" providerId="ADAL" clId="{E0C3E87D-7708-4EFF-8A3B-0A2F38D3AC67}" dt="2024-02-26T11:58:11.036" v="53"/>
        <pc:sldMkLst>
          <pc:docMk/>
          <pc:sldMk cId="291196983" sldId="2147472536"/>
        </pc:sldMkLst>
      </pc:sldChg>
      <pc:sldChg chg="modSp add del mod chgLayout">
        <pc:chgData name="Dirk Wübben" userId="a27602df-5b54-480c-866c-64260ceb4949" providerId="ADAL" clId="{E0C3E87D-7708-4EFF-8A3B-0A2F38D3AC67}" dt="2024-03-07T19:38:39.756" v="200" actId="47"/>
        <pc:sldMkLst>
          <pc:docMk/>
          <pc:sldMk cId="3066698234" sldId="2147472537"/>
        </pc:sldMkLst>
      </pc:sldChg>
      <pc:sldChg chg="new ord">
        <pc:chgData name="Dirk Wübben" userId="a27602df-5b54-480c-866c-64260ceb4949" providerId="ADAL" clId="{E0C3E87D-7708-4EFF-8A3B-0A2F38D3AC67}" dt="2024-02-26T12:24:18.177" v="144"/>
        <pc:sldMkLst>
          <pc:docMk/>
          <pc:sldMk cId="2096296621" sldId="2147472538"/>
        </pc:sldMkLst>
      </pc:sldChg>
      <pc:sldChg chg="add ord">
        <pc:chgData name="Dirk Wübben" userId="a27602df-5b54-480c-866c-64260ceb4949" providerId="ADAL" clId="{E0C3E87D-7708-4EFF-8A3B-0A2F38D3AC67}" dt="2024-02-26T12:12:26.241" v="139"/>
        <pc:sldMkLst>
          <pc:docMk/>
          <pc:sldMk cId="3719215840" sldId="2147472539"/>
        </pc:sldMkLst>
      </pc:sldChg>
      <pc:sldChg chg="modSp add mod ord">
        <pc:chgData name="Dirk Wübben" userId="a27602df-5b54-480c-866c-64260ceb4949" providerId="ADAL" clId="{E0C3E87D-7708-4EFF-8A3B-0A2F38D3AC67}" dt="2024-02-26T12:12:26.241" v="139"/>
        <pc:sldMkLst>
          <pc:docMk/>
          <pc:sldMk cId="4272447073" sldId="2147472540"/>
        </pc:sldMkLst>
      </pc:sldChg>
      <pc:sldChg chg="modSp add mod">
        <pc:chgData name="Dirk Wübben" userId="a27602df-5b54-480c-866c-64260ceb4949" providerId="ADAL" clId="{E0C3E87D-7708-4EFF-8A3B-0A2F38D3AC67}" dt="2024-02-26T12:09:26.926" v="114" actId="20577"/>
        <pc:sldMkLst>
          <pc:docMk/>
          <pc:sldMk cId="1562068212" sldId="2147472541"/>
        </pc:sldMkLst>
      </pc:sldChg>
      <pc:sldChg chg="add">
        <pc:chgData name="Dirk Wübben" userId="a27602df-5b54-480c-866c-64260ceb4949" providerId="ADAL" clId="{E0C3E87D-7708-4EFF-8A3B-0A2F38D3AC67}" dt="2024-02-26T12:02:08.433" v="97"/>
        <pc:sldMkLst>
          <pc:docMk/>
          <pc:sldMk cId="4186752563" sldId="2147472542"/>
        </pc:sldMkLst>
      </pc:sldChg>
      <pc:sldChg chg="modSp add mod ord">
        <pc:chgData name="Dirk Wübben" userId="a27602df-5b54-480c-866c-64260ceb4949" providerId="ADAL" clId="{E0C3E87D-7708-4EFF-8A3B-0A2F38D3AC67}" dt="2024-02-26T12:24:08.674" v="142"/>
        <pc:sldMkLst>
          <pc:docMk/>
          <pc:sldMk cId="2335996785" sldId="2147472543"/>
        </pc:sldMkLst>
      </pc:sldChg>
      <pc:sldChg chg="modSp add mod">
        <pc:chgData name="Dirk Wübben" userId="a27602df-5b54-480c-866c-64260ceb4949" providerId="ADAL" clId="{E0C3E87D-7708-4EFF-8A3B-0A2F38D3AC67}" dt="2024-02-26T12:09:39.266" v="126" actId="20577"/>
        <pc:sldMkLst>
          <pc:docMk/>
          <pc:sldMk cId="1773697133" sldId="2147472545"/>
        </pc:sldMkLst>
      </pc:sldChg>
      <pc:sldChg chg="modSp add mod">
        <pc:chgData name="Dirk Wübben" userId="a27602df-5b54-480c-866c-64260ceb4949" providerId="ADAL" clId="{E0C3E87D-7708-4EFF-8A3B-0A2F38D3AC67}" dt="2024-02-26T12:24:42.514" v="151" actId="20577"/>
        <pc:sldMkLst>
          <pc:docMk/>
          <pc:sldMk cId="1536693095" sldId="2147472546"/>
        </pc:sldMkLst>
      </pc:sldChg>
      <pc:sldChg chg="modSp add mod ord">
        <pc:chgData name="Dirk Wübben" userId="a27602df-5b54-480c-866c-64260ceb4949" providerId="ADAL" clId="{E0C3E87D-7708-4EFF-8A3B-0A2F38D3AC67}" dt="2024-02-26T12:24:18.177" v="144"/>
        <pc:sldMkLst>
          <pc:docMk/>
          <pc:sldMk cId="106407812" sldId="2147472547"/>
        </pc:sldMkLst>
      </pc:sldChg>
      <pc:sldChg chg="modSp add mod ord">
        <pc:chgData name="Dirk Wübben" userId="a27602df-5b54-480c-866c-64260ceb4949" providerId="ADAL" clId="{E0C3E87D-7708-4EFF-8A3B-0A2F38D3AC67}" dt="2024-02-26T12:24:18.177" v="144"/>
        <pc:sldMkLst>
          <pc:docMk/>
          <pc:sldMk cId="811786820" sldId="2147472548"/>
        </pc:sldMkLst>
      </pc:sldChg>
      <pc:sldChg chg="add ord">
        <pc:chgData name="Dirk Wübben" userId="a27602df-5b54-480c-866c-64260ceb4949" providerId="ADAL" clId="{E0C3E87D-7708-4EFF-8A3B-0A2F38D3AC67}" dt="2024-02-26T12:24:18.177" v="144"/>
        <pc:sldMkLst>
          <pc:docMk/>
          <pc:sldMk cId="319463743" sldId="2147472549"/>
        </pc:sldMkLst>
      </pc:sldChg>
      <pc:sldChg chg="modSp add del mod">
        <pc:chgData name="Dirk Wübben" userId="a27602df-5b54-480c-866c-64260ceb4949" providerId="ADAL" clId="{E0C3E87D-7708-4EFF-8A3B-0A2F38D3AC67}" dt="2024-02-26T12:24:50.888" v="162" actId="20577"/>
        <pc:sldMkLst>
          <pc:docMk/>
          <pc:sldMk cId="4177113034" sldId="2147472550"/>
        </pc:sldMkLst>
      </pc:sldChg>
      <pc:sldChg chg="modSp del mod">
        <pc:chgData name="Dirk Wübben" userId="a27602df-5b54-480c-866c-64260ceb4949" providerId="ADAL" clId="{E0C3E87D-7708-4EFF-8A3B-0A2F38D3AC67}" dt="2024-03-07T19:39:57.395" v="212" actId="47"/>
        <pc:sldMkLst>
          <pc:docMk/>
          <pc:sldMk cId="1330888253" sldId="2147472556"/>
        </pc:sldMkLst>
      </pc:sldChg>
      <pc:sldChg chg="addSp modSp new mod">
        <pc:chgData name="Dirk Wübben" userId="a27602df-5b54-480c-866c-64260ceb4949" providerId="ADAL" clId="{E0C3E87D-7708-4EFF-8A3B-0A2F38D3AC67}" dt="2024-03-07T19:42:16.306" v="251" actId="20577"/>
        <pc:sldMkLst>
          <pc:docMk/>
          <pc:sldMk cId="2885984354" sldId="2147472558"/>
        </pc:sldMkLst>
      </pc:sldChg>
      <pc:sldChg chg="addSp modSp new mod">
        <pc:chgData name="Dirk Wübben" userId="a27602df-5b54-480c-866c-64260ceb4949" providerId="ADAL" clId="{E0C3E87D-7708-4EFF-8A3B-0A2F38D3AC67}" dt="2024-03-07T19:43:47.018" v="300" actId="14100"/>
        <pc:sldMkLst>
          <pc:docMk/>
          <pc:sldMk cId="1962824018" sldId="2147472559"/>
        </pc:sldMkLst>
      </pc:sldChg>
      <pc:sldChg chg="addSp modSp new mod">
        <pc:chgData name="Dirk Wübben" userId="a27602df-5b54-480c-866c-64260ceb4949" providerId="ADAL" clId="{E0C3E87D-7708-4EFF-8A3B-0A2F38D3AC67}" dt="2024-03-07T19:43:40.703" v="298" actId="14100"/>
        <pc:sldMkLst>
          <pc:docMk/>
          <pc:sldMk cId="2703493096" sldId="2147472560"/>
        </pc:sldMkLst>
      </pc:sldChg>
      <pc:sldChg chg="delSp add mod">
        <pc:chgData name="Dirk Wübben" userId="a27602df-5b54-480c-866c-64260ceb4949" providerId="ADAL" clId="{E0C3E87D-7708-4EFF-8A3B-0A2F38D3AC67}" dt="2024-03-07T20:00:15.059" v="306" actId="478"/>
        <pc:sldMkLst>
          <pc:docMk/>
          <pc:sldMk cId="4240751118" sldId="2147472561"/>
        </pc:sldMkLst>
      </pc:sldChg>
    </pc:docChg>
  </pc:docChgLst>
  <pc:docChgLst>
    <pc:chgData name="Dirk Wübben" userId="a27602df-5b54-480c-866c-64260ceb4949" providerId="ADAL" clId="{6384D003-2B9C-4703-BBC3-6469E285D43F}"/>
    <pc:docChg chg="undo redo custSel addSld delSld modSld sldOrd delMainMaster modMainMaster addSection delSection modSection modNotesMaster">
      <pc:chgData name="Dirk Wübben" userId="a27602df-5b54-480c-866c-64260ceb4949" providerId="ADAL" clId="{6384D003-2B9C-4703-BBC3-6469E285D43F}" dt="2025-03-30T10:45:41.523" v="4974" actId="729"/>
      <pc:docMkLst>
        <pc:docMk/>
      </pc:docMkLst>
      <pc:sldChg chg="addSp delSp modSp mod modTransition modNotes">
        <pc:chgData name="Dirk Wübben" userId="a27602df-5b54-480c-866c-64260ceb4949" providerId="ADAL" clId="{6384D003-2B9C-4703-BBC3-6469E285D43F}" dt="2025-03-28T07:48:09.876" v="2993"/>
        <pc:sldMkLst>
          <pc:docMk/>
          <pc:sldMk cId="0" sldId="258"/>
        </pc:sldMkLst>
        <pc:spChg chg="mod">
          <ac:chgData name="Dirk Wübben" userId="a27602df-5b54-480c-866c-64260ceb4949" providerId="ADAL" clId="{6384D003-2B9C-4703-BBC3-6469E285D43F}" dt="2025-03-24T17:34:12.173" v="2178" actId="6549"/>
          <ac:spMkLst>
            <pc:docMk/>
            <pc:sldMk cId="0" sldId="258"/>
            <ac:spMk id="3" creationId="{28753A55-01EC-441E-8C31-7C63FCFC1479}"/>
          </ac:spMkLst>
        </pc:spChg>
        <pc:spChg chg="mod">
          <ac:chgData name="Dirk Wübben" userId="a27602df-5b54-480c-866c-64260ceb4949" providerId="ADAL" clId="{6384D003-2B9C-4703-BBC3-6469E285D43F}" dt="2025-03-20T10:11:09.732" v="1579"/>
          <ac:spMkLst>
            <pc:docMk/>
            <pc:sldMk cId="0" sldId="258"/>
            <ac:spMk id="4" creationId="{599E9B08-3637-474D-A8F8-DF7D172E164E}"/>
          </ac:spMkLst>
        </pc:spChg>
        <pc:spChg chg="mod">
          <ac:chgData name="Dirk Wübben" userId="a27602df-5b54-480c-866c-64260ceb4949" providerId="ADAL" clId="{6384D003-2B9C-4703-BBC3-6469E285D43F}" dt="2025-03-24T17:35:29.920" v="2233" actId="6549"/>
          <ac:spMkLst>
            <pc:docMk/>
            <pc:sldMk cId="0" sldId="258"/>
            <ac:spMk id="8" creationId="{B920F805-83F7-4D3B-B498-15EC0814BC4C}"/>
          </ac:spMkLst>
        </pc:spChg>
        <pc:picChg chg="mod">
          <ac:chgData name="Dirk Wübben" userId="a27602df-5b54-480c-866c-64260ceb4949" providerId="ADAL" clId="{6384D003-2B9C-4703-BBC3-6469E285D43F}" dt="2025-03-20T10:11:09.732" v="1579"/>
          <ac:picMkLst>
            <pc:docMk/>
            <pc:sldMk cId="0" sldId="258"/>
            <ac:picMk id="2" creationId="{97AD54E2-6C12-4188-8485-DEEFBD1276E1}"/>
          </ac:picMkLst>
        </pc:picChg>
        <pc:picChg chg="mod">
          <ac:chgData name="Dirk Wübben" userId="a27602df-5b54-480c-866c-64260ceb4949" providerId="ADAL" clId="{6384D003-2B9C-4703-BBC3-6469E285D43F}" dt="2025-03-20T10:11:09.732" v="1579"/>
          <ac:picMkLst>
            <pc:docMk/>
            <pc:sldMk cId="0" sldId="258"/>
            <ac:picMk id="5" creationId="{71144960-0F16-44B4-929F-1B87756E61AA}"/>
          </ac:picMkLst>
        </pc:picChg>
        <pc:picChg chg="mod">
          <ac:chgData name="Dirk Wübben" userId="a27602df-5b54-480c-866c-64260ceb4949" providerId="ADAL" clId="{6384D003-2B9C-4703-BBC3-6469E285D43F}" dt="2025-03-20T10:11:09.732" v="1579"/>
          <ac:picMkLst>
            <pc:docMk/>
            <pc:sldMk cId="0" sldId="258"/>
            <ac:picMk id="6" creationId="{BF3C1A77-D7B2-4C02-A36C-8E444F74EFD0}"/>
          </ac:picMkLst>
        </pc:picChg>
        <pc:picChg chg="add mod">
          <ac:chgData name="Dirk Wübben" userId="a27602df-5b54-480c-866c-64260ceb4949" providerId="ADAL" clId="{6384D003-2B9C-4703-BBC3-6469E285D43F}" dt="2025-03-24T17:36:03.305" v="2237" actId="14100"/>
          <ac:picMkLst>
            <pc:docMk/>
            <pc:sldMk cId="0" sldId="258"/>
            <ac:picMk id="1026" creationId="{97FAAEB7-D6BF-4BF1-BD47-037BAA482810}"/>
          </ac:picMkLst>
        </pc:picChg>
      </pc:sldChg>
      <pc:sldChg chg="modSp add mod ord modTransition modClrScheme chgLayout modNotesTx">
        <pc:chgData name="Dirk Wübben" userId="a27602df-5b54-480c-866c-64260ceb4949" providerId="ADAL" clId="{6384D003-2B9C-4703-BBC3-6469E285D43F}" dt="2025-03-28T07:48:09.876" v="2993"/>
        <pc:sldMkLst>
          <pc:docMk/>
          <pc:sldMk cId="1673204685" sldId="285"/>
        </pc:sldMkLst>
        <pc:spChg chg="mod ord">
          <ac:chgData name="Dirk Wübben" userId="a27602df-5b54-480c-866c-64260ceb4949" providerId="ADAL" clId="{6384D003-2B9C-4703-BBC3-6469E285D43F}" dt="2025-03-20T10:11:09.732" v="1579"/>
          <ac:spMkLst>
            <pc:docMk/>
            <pc:sldMk cId="1673204685" sldId="285"/>
            <ac:spMk id="5" creationId="{14A49D94-6F22-4FB3-AF78-C20985F7A7C6}"/>
          </ac:spMkLst>
        </pc:spChg>
        <pc:spChg chg="mod ord">
          <ac:chgData name="Dirk Wübben" userId="a27602df-5b54-480c-866c-64260ceb4949" providerId="ADAL" clId="{6384D003-2B9C-4703-BBC3-6469E285D43F}" dt="2025-03-20T10:11:09.732" v="1579"/>
          <ac:spMkLst>
            <pc:docMk/>
            <pc:sldMk cId="1673204685" sldId="285"/>
            <ac:spMk id="7" creationId="{102D0D86-8DC9-4BF0-88E4-A6B37A846845}"/>
          </ac:spMkLst>
        </pc:spChg>
        <pc:spChg chg="mod ord">
          <ac:chgData name="Dirk Wübben" userId="a27602df-5b54-480c-866c-64260ceb4949" providerId="ADAL" clId="{6384D003-2B9C-4703-BBC3-6469E285D43F}" dt="2025-03-20T10:11:09.732" v="1579"/>
          <ac:spMkLst>
            <pc:docMk/>
            <pc:sldMk cId="1673204685" sldId="285"/>
            <ac:spMk id="8" creationId="{3090E32B-B750-4164-BB98-9235484AE550}"/>
          </ac:spMkLst>
        </pc:spChg>
        <pc:spChg chg="mod ord">
          <ac:chgData name="Dirk Wübben" userId="a27602df-5b54-480c-866c-64260ceb4949" providerId="ADAL" clId="{6384D003-2B9C-4703-BBC3-6469E285D43F}" dt="2025-03-20T10:11:09.732" v="1579"/>
          <ac:spMkLst>
            <pc:docMk/>
            <pc:sldMk cId="1673204685" sldId="285"/>
            <ac:spMk id="9" creationId="{F670715D-EAAF-485D-88B9-9BE48B9432F3}"/>
          </ac:spMkLst>
        </pc:spChg>
        <pc:spChg chg="mod ord">
          <ac:chgData name="Dirk Wübben" userId="a27602df-5b54-480c-866c-64260ceb4949" providerId="ADAL" clId="{6384D003-2B9C-4703-BBC3-6469E285D43F}" dt="2025-03-20T10:11:09.732" v="1579"/>
          <ac:spMkLst>
            <pc:docMk/>
            <pc:sldMk cId="1673204685" sldId="285"/>
            <ac:spMk id="11" creationId="{A16B7E54-4F2C-4F52-8EA9-8DBEAAC461B3}"/>
          </ac:spMkLst>
        </pc:spChg>
      </pc:sldChg>
      <pc:sldChg chg="modSp add mod ord modTransition modClrScheme chgLayout modNotesTx">
        <pc:chgData name="Dirk Wübben" userId="a27602df-5b54-480c-866c-64260ceb4949" providerId="ADAL" clId="{6384D003-2B9C-4703-BBC3-6469E285D43F}" dt="2025-03-28T07:48:09.876" v="2993"/>
        <pc:sldMkLst>
          <pc:docMk/>
          <pc:sldMk cId="473860687" sldId="286"/>
        </pc:sldMkLst>
        <pc:spChg chg="mod ord">
          <ac:chgData name="Dirk Wübben" userId="a27602df-5b54-480c-866c-64260ceb4949" providerId="ADAL" clId="{6384D003-2B9C-4703-BBC3-6469E285D43F}" dt="2025-03-20T10:11:09.732" v="1579"/>
          <ac:spMkLst>
            <pc:docMk/>
            <pc:sldMk cId="473860687" sldId="286"/>
            <ac:spMk id="2" creationId="{73087B5E-B27E-43DE-85DC-16C37B3EC9C6}"/>
          </ac:spMkLst>
        </pc:spChg>
        <pc:spChg chg="mod ord">
          <ac:chgData name="Dirk Wübben" userId="a27602df-5b54-480c-866c-64260ceb4949" providerId="ADAL" clId="{6384D003-2B9C-4703-BBC3-6469E285D43F}" dt="2025-03-20T10:11:09.732" v="1579"/>
          <ac:spMkLst>
            <pc:docMk/>
            <pc:sldMk cId="473860687" sldId="286"/>
            <ac:spMk id="3" creationId="{A842A701-7764-46EC-A9F3-A8AD4C4C1402}"/>
          </ac:spMkLst>
        </pc:spChg>
        <pc:spChg chg="mod ord">
          <ac:chgData name="Dirk Wübben" userId="a27602df-5b54-480c-866c-64260ceb4949" providerId="ADAL" clId="{6384D003-2B9C-4703-BBC3-6469E285D43F}" dt="2025-03-20T10:11:09.732" v="1579"/>
          <ac:spMkLst>
            <pc:docMk/>
            <pc:sldMk cId="473860687" sldId="286"/>
            <ac:spMk id="5" creationId="{5B96CC07-CE4E-4055-AD2B-CB44CCACE608}"/>
          </ac:spMkLst>
        </pc:spChg>
        <pc:spChg chg="mod ord">
          <ac:chgData name="Dirk Wübben" userId="a27602df-5b54-480c-866c-64260ceb4949" providerId="ADAL" clId="{6384D003-2B9C-4703-BBC3-6469E285D43F}" dt="2025-03-20T10:11:09.732" v="1579"/>
          <ac:spMkLst>
            <pc:docMk/>
            <pc:sldMk cId="473860687" sldId="286"/>
            <ac:spMk id="7" creationId="{532344E9-8CF6-4E05-AE87-137ACD63E2BE}"/>
          </ac:spMkLst>
        </pc:spChg>
        <pc:spChg chg="mod ord">
          <ac:chgData name="Dirk Wübben" userId="a27602df-5b54-480c-866c-64260ceb4949" providerId="ADAL" clId="{6384D003-2B9C-4703-BBC3-6469E285D43F}" dt="2025-03-20T10:11:09.732" v="1579"/>
          <ac:spMkLst>
            <pc:docMk/>
            <pc:sldMk cId="473860687" sldId="286"/>
            <ac:spMk id="9" creationId="{2DE65785-D00C-4AC4-A9F5-105F42CCF6DA}"/>
          </ac:spMkLst>
        </pc:spChg>
        <pc:picChg chg="mod ord modCrop">
          <ac:chgData name="Dirk Wübben" userId="a27602df-5b54-480c-866c-64260ceb4949" providerId="ADAL" clId="{6384D003-2B9C-4703-BBC3-6469E285D43F}" dt="2025-03-20T10:11:09.732" v="1579"/>
          <ac:picMkLst>
            <pc:docMk/>
            <pc:sldMk cId="473860687" sldId="286"/>
            <ac:picMk id="12" creationId="{1229F434-020E-43E4-84DF-BBBFED89C6B6}"/>
          </ac:picMkLst>
        </pc:picChg>
      </pc:sldChg>
      <pc:sldChg chg="modSp add mod modTransition modClrScheme chgLayout">
        <pc:chgData name="Dirk Wübben" userId="a27602df-5b54-480c-866c-64260ceb4949" providerId="ADAL" clId="{6384D003-2B9C-4703-BBC3-6469E285D43F}" dt="2025-03-28T07:48:09.876" v="2993"/>
        <pc:sldMkLst>
          <pc:docMk/>
          <pc:sldMk cId="1641422220" sldId="288"/>
        </pc:sldMkLst>
        <pc:spChg chg="mod ord">
          <ac:chgData name="Dirk Wübben" userId="a27602df-5b54-480c-866c-64260ceb4949" providerId="ADAL" clId="{6384D003-2B9C-4703-BBC3-6469E285D43F}" dt="2025-03-20T10:11:09.732" v="1579"/>
          <ac:spMkLst>
            <pc:docMk/>
            <pc:sldMk cId="1641422220" sldId="288"/>
            <ac:spMk id="2" creationId="{B3F37D34-2907-4CEF-B5C0-76F80398E4A7}"/>
          </ac:spMkLst>
        </pc:spChg>
        <pc:spChg chg="mod ord">
          <ac:chgData name="Dirk Wübben" userId="a27602df-5b54-480c-866c-64260ceb4949" providerId="ADAL" clId="{6384D003-2B9C-4703-BBC3-6469E285D43F}" dt="2025-03-20T10:11:09.732" v="1579"/>
          <ac:spMkLst>
            <pc:docMk/>
            <pc:sldMk cId="1641422220" sldId="288"/>
            <ac:spMk id="3" creationId="{24A987B4-8126-4C6A-9ECA-CBE476367B4B}"/>
          </ac:spMkLst>
        </pc:spChg>
        <pc:spChg chg="mod ord">
          <ac:chgData name="Dirk Wübben" userId="a27602df-5b54-480c-866c-64260ceb4949" providerId="ADAL" clId="{6384D003-2B9C-4703-BBC3-6469E285D43F}" dt="2025-03-26T07:03:52.325" v="2593" actId="20577"/>
          <ac:spMkLst>
            <pc:docMk/>
            <pc:sldMk cId="1641422220" sldId="288"/>
            <ac:spMk id="5" creationId="{6A2776D3-E035-4D67-8166-CB3F8F2F7BE1}"/>
          </ac:spMkLst>
        </pc:spChg>
        <pc:spChg chg="mod ord">
          <ac:chgData name="Dirk Wübben" userId="a27602df-5b54-480c-866c-64260ceb4949" providerId="ADAL" clId="{6384D003-2B9C-4703-BBC3-6469E285D43F}" dt="2025-03-20T10:11:09.732" v="1579"/>
          <ac:spMkLst>
            <pc:docMk/>
            <pc:sldMk cId="1641422220" sldId="288"/>
            <ac:spMk id="7" creationId="{22FE73DD-8DEC-4C0D-80AE-75316F5E2052}"/>
          </ac:spMkLst>
        </pc:spChg>
        <pc:spChg chg="mod ord">
          <ac:chgData name="Dirk Wübben" userId="a27602df-5b54-480c-866c-64260ceb4949" providerId="ADAL" clId="{6384D003-2B9C-4703-BBC3-6469E285D43F}" dt="2025-03-20T10:11:09.732" v="1579"/>
          <ac:spMkLst>
            <pc:docMk/>
            <pc:sldMk cId="1641422220" sldId="288"/>
            <ac:spMk id="9" creationId="{555721A3-B5F3-48DA-A706-93023FAEB371}"/>
          </ac:spMkLst>
        </pc:spChg>
        <pc:picChg chg="mod ord modCrop">
          <ac:chgData name="Dirk Wübben" userId="a27602df-5b54-480c-866c-64260ceb4949" providerId="ADAL" clId="{6384D003-2B9C-4703-BBC3-6469E285D43F}" dt="2025-03-20T10:11:09.732" v="1579"/>
          <ac:picMkLst>
            <pc:docMk/>
            <pc:sldMk cId="1641422220" sldId="288"/>
            <ac:picMk id="14" creationId="{55DD648F-5D75-4E38-BBAD-182206B8BC4E}"/>
          </ac:picMkLst>
        </pc:picChg>
      </pc:sldChg>
      <pc:sldChg chg="addSp delSp modSp add mod modTransition modClrScheme chgLayout">
        <pc:chgData name="Dirk Wübben" userId="a27602df-5b54-480c-866c-64260ceb4949" providerId="ADAL" clId="{6384D003-2B9C-4703-BBC3-6469E285D43F}" dt="2025-03-20T11:52:11.619" v="1972"/>
        <pc:sldMkLst>
          <pc:docMk/>
          <pc:sldMk cId="3618174397" sldId="290"/>
        </pc:sldMkLst>
      </pc:sldChg>
      <pc:sldChg chg="addSp delSp modSp add mod modTransition modClrScheme delAnim modAnim chgLayout">
        <pc:chgData name="Dirk Wübben" userId="a27602df-5b54-480c-866c-64260ceb4949" providerId="ADAL" clId="{6384D003-2B9C-4703-BBC3-6469E285D43F}" dt="2025-03-28T07:48:09.876" v="2993"/>
        <pc:sldMkLst>
          <pc:docMk/>
          <pc:sldMk cId="18779260" sldId="299"/>
        </pc:sldMkLst>
        <pc:spChg chg="mod ord">
          <ac:chgData name="Dirk Wübben" userId="a27602df-5b54-480c-866c-64260ceb4949" providerId="ADAL" clId="{6384D003-2B9C-4703-BBC3-6469E285D43F}" dt="2025-03-20T10:11:09.732" v="1579"/>
          <ac:spMkLst>
            <pc:docMk/>
            <pc:sldMk cId="18779260" sldId="299"/>
            <ac:spMk id="2" creationId="{6E4649E7-105C-44EF-961D-645A0A0F5E0D}"/>
          </ac:spMkLst>
        </pc:spChg>
        <pc:spChg chg="mod">
          <ac:chgData name="Dirk Wübben" userId="a27602df-5b54-480c-866c-64260ceb4949" providerId="ADAL" clId="{6384D003-2B9C-4703-BBC3-6469E285D43F}" dt="2025-03-20T11:42:46.268" v="1863" actId="1036"/>
          <ac:spMkLst>
            <pc:docMk/>
            <pc:sldMk cId="18779260" sldId="299"/>
            <ac:spMk id="3" creationId="{A59E8CE5-4311-4897-B3DC-CC2E7EDC2D6A}"/>
          </ac:spMkLst>
        </pc:spChg>
        <pc:spChg chg="mod">
          <ac:chgData name="Dirk Wübben" userId="a27602df-5b54-480c-866c-64260ceb4949" providerId="ADAL" clId="{6384D003-2B9C-4703-BBC3-6469E285D43F}" dt="2025-03-20T10:11:09.732" v="1579"/>
          <ac:spMkLst>
            <pc:docMk/>
            <pc:sldMk cId="18779260" sldId="299"/>
            <ac:spMk id="8" creationId="{E460BBEA-33E9-47B0-A2C9-66D3CADA7775}"/>
          </ac:spMkLst>
        </pc:spChg>
        <pc:spChg chg="mod">
          <ac:chgData name="Dirk Wübben" userId="a27602df-5b54-480c-866c-64260ceb4949" providerId="ADAL" clId="{6384D003-2B9C-4703-BBC3-6469E285D43F}" dt="2025-03-20T10:11:09.732" v="1579"/>
          <ac:spMkLst>
            <pc:docMk/>
            <pc:sldMk cId="18779260" sldId="299"/>
            <ac:spMk id="9" creationId="{92C3DC65-DA58-48F0-860B-A8D5992038FA}"/>
          </ac:spMkLst>
        </pc:spChg>
        <pc:spChg chg="mod">
          <ac:chgData name="Dirk Wübben" userId="a27602df-5b54-480c-866c-64260ceb4949" providerId="ADAL" clId="{6384D003-2B9C-4703-BBC3-6469E285D43F}" dt="2025-03-20T10:11:09.732" v="1579"/>
          <ac:spMkLst>
            <pc:docMk/>
            <pc:sldMk cId="18779260" sldId="299"/>
            <ac:spMk id="10" creationId="{A78042EB-8996-443E-9647-6A3E17B4A72A}"/>
          </ac:spMkLst>
        </pc:spChg>
        <pc:spChg chg="mod">
          <ac:chgData name="Dirk Wübben" userId="a27602df-5b54-480c-866c-64260ceb4949" providerId="ADAL" clId="{6384D003-2B9C-4703-BBC3-6469E285D43F}" dt="2025-03-20T10:11:09.732" v="1579"/>
          <ac:spMkLst>
            <pc:docMk/>
            <pc:sldMk cId="18779260" sldId="299"/>
            <ac:spMk id="11" creationId="{3FBE2FC4-BD21-490C-A301-3CDDE92C888B}"/>
          </ac:spMkLst>
        </pc:spChg>
        <pc:spChg chg="mod">
          <ac:chgData name="Dirk Wübben" userId="a27602df-5b54-480c-866c-64260ceb4949" providerId="ADAL" clId="{6384D003-2B9C-4703-BBC3-6469E285D43F}" dt="2025-03-20T10:11:09.732" v="1579"/>
          <ac:spMkLst>
            <pc:docMk/>
            <pc:sldMk cId="18779260" sldId="299"/>
            <ac:spMk id="12" creationId="{6CC3DF1C-CAE2-4D63-815E-5FBC3F6FD90C}"/>
          </ac:spMkLst>
        </pc:spChg>
        <pc:spChg chg="mod">
          <ac:chgData name="Dirk Wübben" userId="a27602df-5b54-480c-866c-64260ceb4949" providerId="ADAL" clId="{6384D003-2B9C-4703-BBC3-6469E285D43F}" dt="2025-03-20T10:11:09.732" v="1579"/>
          <ac:spMkLst>
            <pc:docMk/>
            <pc:sldMk cId="18779260" sldId="299"/>
            <ac:spMk id="14" creationId="{1934DDB6-8FF0-4048-9030-E190FE34E4D1}"/>
          </ac:spMkLst>
        </pc:spChg>
        <pc:spChg chg="mod">
          <ac:chgData name="Dirk Wübben" userId="a27602df-5b54-480c-866c-64260ceb4949" providerId="ADAL" clId="{6384D003-2B9C-4703-BBC3-6469E285D43F}" dt="2025-03-20T10:11:09.732" v="1579"/>
          <ac:spMkLst>
            <pc:docMk/>
            <pc:sldMk cId="18779260" sldId="299"/>
            <ac:spMk id="17" creationId="{80A238A6-5045-457E-92DD-134723D2CDAD}"/>
          </ac:spMkLst>
        </pc:spChg>
        <pc:spChg chg="mod">
          <ac:chgData name="Dirk Wübben" userId="a27602df-5b54-480c-866c-64260ceb4949" providerId="ADAL" clId="{6384D003-2B9C-4703-BBC3-6469E285D43F}" dt="2025-03-20T10:11:09.732" v="1579"/>
          <ac:spMkLst>
            <pc:docMk/>
            <pc:sldMk cId="18779260" sldId="299"/>
            <ac:spMk id="18" creationId="{FBE665C8-B7B2-40FF-9A03-9D4AED93FBC8}"/>
          </ac:spMkLst>
        </pc:spChg>
        <pc:spChg chg="mod">
          <ac:chgData name="Dirk Wübben" userId="a27602df-5b54-480c-866c-64260ceb4949" providerId="ADAL" clId="{6384D003-2B9C-4703-BBC3-6469E285D43F}" dt="2025-03-20T10:11:09.732" v="1579"/>
          <ac:spMkLst>
            <pc:docMk/>
            <pc:sldMk cId="18779260" sldId="299"/>
            <ac:spMk id="19" creationId="{5610A2C9-4EC9-4C8D-8A74-97AD6657DB3F}"/>
          </ac:spMkLst>
        </pc:spChg>
        <pc:spChg chg="mod">
          <ac:chgData name="Dirk Wübben" userId="a27602df-5b54-480c-866c-64260ceb4949" providerId="ADAL" clId="{6384D003-2B9C-4703-BBC3-6469E285D43F}" dt="2025-03-20T11:42:46.268" v="1863" actId="1036"/>
          <ac:spMkLst>
            <pc:docMk/>
            <pc:sldMk cId="18779260" sldId="299"/>
            <ac:spMk id="20" creationId="{F8C1D0D8-87A0-4E2B-9499-DB7D07575A68}"/>
          </ac:spMkLst>
        </pc:spChg>
        <pc:spChg chg="mod">
          <ac:chgData name="Dirk Wübben" userId="a27602df-5b54-480c-866c-64260ceb4949" providerId="ADAL" clId="{6384D003-2B9C-4703-BBC3-6469E285D43F}" dt="2025-03-20T11:42:46.268" v="1863" actId="1036"/>
          <ac:spMkLst>
            <pc:docMk/>
            <pc:sldMk cId="18779260" sldId="299"/>
            <ac:spMk id="21" creationId="{00FE761A-AF39-42DC-8A26-C2ED007B4B18}"/>
          </ac:spMkLst>
        </pc:spChg>
        <pc:spChg chg="mod">
          <ac:chgData name="Dirk Wübben" userId="a27602df-5b54-480c-866c-64260ceb4949" providerId="ADAL" clId="{6384D003-2B9C-4703-BBC3-6469E285D43F}" dt="2025-03-20T11:42:46.268" v="1863" actId="1036"/>
          <ac:spMkLst>
            <pc:docMk/>
            <pc:sldMk cId="18779260" sldId="299"/>
            <ac:spMk id="22" creationId="{7658D3AE-77D1-448B-B522-61E2E4F8D20C}"/>
          </ac:spMkLst>
        </pc:spChg>
        <pc:spChg chg="mod">
          <ac:chgData name="Dirk Wübben" userId="a27602df-5b54-480c-866c-64260ceb4949" providerId="ADAL" clId="{6384D003-2B9C-4703-BBC3-6469E285D43F}" dt="2025-03-20T11:42:46.268" v="1863" actId="1036"/>
          <ac:spMkLst>
            <pc:docMk/>
            <pc:sldMk cId="18779260" sldId="299"/>
            <ac:spMk id="23" creationId="{55EC4C28-F11C-4885-A994-9905A6EAF3AD}"/>
          </ac:spMkLst>
        </pc:spChg>
        <pc:spChg chg="mod">
          <ac:chgData name="Dirk Wübben" userId="a27602df-5b54-480c-866c-64260ceb4949" providerId="ADAL" clId="{6384D003-2B9C-4703-BBC3-6469E285D43F}" dt="2025-03-20T10:11:09.732" v="1579"/>
          <ac:spMkLst>
            <pc:docMk/>
            <pc:sldMk cId="18779260" sldId="299"/>
            <ac:spMk id="24" creationId="{095719DD-96B6-47B9-AA6A-98AD53F1FDF1}"/>
          </ac:spMkLst>
        </pc:spChg>
        <pc:spChg chg="mod">
          <ac:chgData name="Dirk Wübben" userId="a27602df-5b54-480c-866c-64260ceb4949" providerId="ADAL" clId="{6384D003-2B9C-4703-BBC3-6469E285D43F}" dt="2025-03-20T10:11:09.732" v="1579"/>
          <ac:spMkLst>
            <pc:docMk/>
            <pc:sldMk cId="18779260" sldId="299"/>
            <ac:spMk id="25" creationId="{6E4FEF01-E6D3-4F92-A0CE-283E5A5DE65C}"/>
          </ac:spMkLst>
        </pc:spChg>
        <pc:spChg chg="mod">
          <ac:chgData name="Dirk Wübben" userId="a27602df-5b54-480c-866c-64260ceb4949" providerId="ADAL" clId="{6384D003-2B9C-4703-BBC3-6469E285D43F}" dt="2025-03-20T10:11:09.732" v="1579"/>
          <ac:spMkLst>
            <pc:docMk/>
            <pc:sldMk cId="18779260" sldId="299"/>
            <ac:spMk id="26" creationId="{CB3C6827-999B-4285-99B2-DA7A8131C2DE}"/>
          </ac:spMkLst>
        </pc:spChg>
        <pc:spChg chg="mod">
          <ac:chgData name="Dirk Wübben" userId="a27602df-5b54-480c-866c-64260ceb4949" providerId="ADAL" clId="{6384D003-2B9C-4703-BBC3-6469E285D43F}" dt="2025-03-20T10:11:09.732" v="1579"/>
          <ac:spMkLst>
            <pc:docMk/>
            <pc:sldMk cId="18779260" sldId="299"/>
            <ac:spMk id="27" creationId="{B04E5073-261D-45FA-83E8-2EFA8FFC407D}"/>
          </ac:spMkLst>
        </pc:spChg>
        <pc:spChg chg="mod">
          <ac:chgData name="Dirk Wübben" userId="a27602df-5b54-480c-866c-64260ceb4949" providerId="ADAL" clId="{6384D003-2B9C-4703-BBC3-6469E285D43F}" dt="2025-03-20T10:11:09.732" v="1579"/>
          <ac:spMkLst>
            <pc:docMk/>
            <pc:sldMk cId="18779260" sldId="299"/>
            <ac:spMk id="28" creationId="{19BE64CB-1AE2-43C1-8DEC-E796E0A773FB}"/>
          </ac:spMkLst>
        </pc:spChg>
        <pc:spChg chg="mod">
          <ac:chgData name="Dirk Wübben" userId="a27602df-5b54-480c-866c-64260ceb4949" providerId="ADAL" clId="{6384D003-2B9C-4703-BBC3-6469E285D43F}" dt="2025-03-20T10:11:09.732" v="1579"/>
          <ac:spMkLst>
            <pc:docMk/>
            <pc:sldMk cId="18779260" sldId="299"/>
            <ac:spMk id="29" creationId="{8EE9A356-99CF-4349-8EB0-9F7668948CFF}"/>
          </ac:spMkLst>
        </pc:spChg>
        <pc:spChg chg="mod">
          <ac:chgData name="Dirk Wübben" userId="a27602df-5b54-480c-866c-64260ceb4949" providerId="ADAL" clId="{6384D003-2B9C-4703-BBC3-6469E285D43F}" dt="2025-03-20T10:11:09.732" v="1579"/>
          <ac:spMkLst>
            <pc:docMk/>
            <pc:sldMk cId="18779260" sldId="299"/>
            <ac:spMk id="30" creationId="{A27CBDC5-C4D0-400E-864A-6A54AF929359}"/>
          </ac:spMkLst>
        </pc:spChg>
        <pc:spChg chg="mod">
          <ac:chgData name="Dirk Wübben" userId="a27602df-5b54-480c-866c-64260ceb4949" providerId="ADAL" clId="{6384D003-2B9C-4703-BBC3-6469E285D43F}" dt="2025-03-20T10:11:09.732" v="1579"/>
          <ac:spMkLst>
            <pc:docMk/>
            <pc:sldMk cId="18779260" sldId="299"/>
            <ac:spMk id="31" creationId="{A1C9382F-B818-499A-A9F8-37874BA19BCF}"/>
          </ac:spMkLst>
        </pc:spChg>
        <pc:spChg chg="mod">
          <ac:chgData name="Dirk Wübben" userId="a27602df-5b54-480c-866c-64260ceb4949" providerId="ADAL" clId="{6384D003-2B9C-4703-BBC3-6469E285D43F}" dt="2025-03-20T10:11:09.732" v="1579"/>
          <ac:spMkLst>
            <pc:docMk/>
            <pc:sldMk cId="18779260" sldId="299"/>
            <ac:spMk id="32" creationId="{30CCF265-0C5C-400E-B87D-AFA9B07C5B84}"/>
          </ac:spMkLst>
        </pc:spChg>
        <pc:spChg chg="mod">
          <ac:chgData name="Dirk Wübben" userId="a27602df-5b54-480c-866c-64260ceb4949" providerId="ADAL" clId="{6384D003-2B9C-4703-BBC3-6469E285D43F}" dt="2025-03-20T10:11:09.732" v="1579"/>
          <ac:spMkLst>
            <pc:docMk/>
            <pc:sldMk cId="18779260" sldId="299"/>
            <ac:spMk id="33" creationId="{2E0B9524-75EF-4187-9032-ACC28CF69815}"/>
          </ac:spMkLst>
        </pc:spChg>
        <pc:spChg chg="mod">
          <ac:chgData name="Dirk Wübben" userId="a27602df-5b54-480c-866c-64260ceb4949" providerId="ADAL" clId="{6384D003-2B9C-4703-BBC3-6469E285D43F}" dt="2025-03-20T10:11:09.732" v="1579"/>
          <ac:spMkLst>
            <pc:docMk/>
            <pc:sldMk cId="18779260" sldId="299"/>
            <ac:spMk id="34" creationId="{CED23CDC-C006-45DE-8CD6-E0629D7E3029}"/>
          </ac:spMkLst>
        </pc:spChg>
        <pc:spChg chg="mod">
          <ac:chgData name="Dirk Wübben" userId="a27602df-5b54-480c-866c-64260ceb4949" providerId="ADAL" clId="{6384D003-2B9C-4703-BBC3-6469E285D43F}" dt="2025-03-20T10:11:09.732" v="1579"/>
          <ac:spMkLst>
            <pc:docMk/>
            <pc:sldMk cId="18779260" sldId="299"/>
            <ac:spMk id="35" creationId="{AF232BDF-FA8D-4D25-AA2E-6AF02359C9E9}"/>
          </ac:spMkLst>
        </pc:spChg>
        <pc:spChg chg="mod">
          <ac:chgData name="Dirk Wübben" userId="a27602df-5b54-480c-866c-64260ceb4949" providerId="ADAL" clId="{6384D003-2B9C-4703-BBC3-6469E285D43F}" dt="2025-03-20T10:11:09.732" v="1579"/>
          <ac:spMkLst>
            <pc:docMk/>
            <pc:sldMk cId="18779260" sldId="299"/>
            <ac:spMk id="36" creationId="{EABDD92F-CDC5-4E16-B351-8B5675BB2AD2}"/>
          </ac:spMkLst>
        </pc:spChg>
        <pc:spChg chg="mod">
          <ac:chgData name="Dirk Wübben" userId="a27602df-5b54-480c-866c-64260ceb4949" providerId="ADAL" clId="{6384D003-2B9C-4703-BBC3-6469E285D43F}" dt="2025-03-20T10:11:09.732" v="1579"/>
          <ac:spMkLst>
            <pc:docMk/>
            <pc:sldMk cId="18779260" sldId="299"/>
            <ac:spMk id="37" creationId="{E8DAB83D-5F5C-46E4-997B-B9281FAC27CC}"/>
          </ac:spMkLst>
        </pc:spChg>
        <pc:spChg chg="mod">
          <ac:chgData name="Dirk Wübben" userId="a27602df-5b54-480c-866c-64260ceb4949" providerId="ADAL" clId="{6384D003-2B9C-4703-BBC3-6469E285D43F}" dt="2025-03-20T10:11:09.732" v="1579"/>
          <ac:spMkLst>
            <pc:docMk/>
            <pc:sldMk cId="18779260" sldId="299"/>
            <ac:spMk id="38" creationId="{9055CF05-EFC4-486D-9A4B-D898A904556B}"/>
          </ac:spMkLst>
        </pc:spChg>
        <pc:spChg chg="mod">
          <ac:chgData name="Dirk Wübben" userId="a27602df-5b54-480c-866c-64260ceb4949" providerId="ADAL" clId="{6384D003-2B9C-4703-BBC3-6469E285D43F}" dt="2025-03-20T10:11:09.732" v="1579"/>
          <ac:spMkLst>
            <pc:docMk/>
            <pc:sldMk cId="18779260" sldId="299"/>
            <ac:spMk id="39" creationId="{EF83A216-1EEB-4314-86C2-58263DB59C97}"/>
          </ac:spMkLst>
        </pc:spChg>
        <pc:spChg chg="mod">
          <ac:chgData name="Dirk Wübben" userId="a27602df-5b54-480c-866c-64260ceb4949" providerId="ADAL" clId="{6384D003-2B9C-4703-BBC3-6469E285D43F}" dt="2025-03-20T10:11:09.732" v="1579"/>
          <ac:spMkLst>
            <pc:docMk/>
            <pc:sldMk cId="18779260" sldId="299"/>
            <ac:spMk id="40" creationId="{CF51DE5B-A15A-454F-AC0D-F77926C779A7}"/>
          </ac:spMkLst>
        </pc:spChg>
        <pc:spChg chg="mod">
          <ac:chgData name="Dirk Wübben" userId="a27602df-5b54-480c-866c-64260ceb4949" providerId="ADAL" clId="{6384D003-2B9C-4703-BBC3-6469E285D43F}" dt="2025-03-20T10:11:09.732" v="1579"/>
          <ac:spMkLst>
            <pc:docMk/>
            <pc:sldMk cId="18779260" sldId="299"/>
            <ac:spMk id="41" creationId="{5F6D9BD4-1A16-434D-BB30-A4B150264127}"/>
          </ac:spMkLst>
        </pc:spChg>
        <pc:spChg chg="mod">
          <ac:chgData name="Dirk Wübben" userId="a27602df-5b54-480c-866c-64260ceb4949" providerId="ADAL" clId="{6384D003-2B9C-4703-BBC3-6469E285D43F}" dt="2025-03-20T10:11:09.732" v="1579"/>
          <ac:spMkLst>
            <pc:docMk/>
            <pc:sldMk cId="18779260" sldId="299"/>
            <ac:spMk id="42" creationId="{B8901E22-DFE3-4FC1-AFFE-AC5963FE6384}"/>
          </ac:spMkLst>
        </pc:spChg>
        <pc:spChg chg="mod">
          <ac:chgData name="Dirk Wübben" userId="a27602df-5b54-480c-866c-64260ceb4949" providerId="ADAL" clId="{6384D003-2B9C-4703-BBC3-6469E285D43F}" dt="2025-03-20T10:11:09.732" v="1579"/>
          <ac:spMkLst>
            <pc:docMk/>
            <pc:sldMk cId="18779260" sldId="299"/>
            <ac:spMk id="43" creationId="{4DBC968D-188C-4713-A26F-17FB84DCA355}"/>
          </ac:spMkLst>
        </pc:spChg>
        <pc:spChg chg="mod">
          <ac:chgData name="Dirk Wübben" userId="a27602df-5b54-480c-866c-64260ceb4949" providerId="ADAL" clId="{6384D003-2B9C-4703-BBC3-6469E285D43F}" dt="2025-03-20T10:11:09.732" v="1579"/>
          <ac:spMkLst>
            <pc:docMk/>
            <pc:sldMk cId="18779260" sldId="299"/>
            <ac:spMk id="45" creationId="{9E110494-9C03-46CF-9347-EC861AB5145C}"/>
          </ac:spMkLst>
        </pc:spChg>
        <pc:spChg chg="mod">
          <ac:chgData name="Dirk Wübben" userId="a27602df-5b54-480c-866c-64260ceb4949" providerId="ADAL" clId="{6384D003-2B9C-4703-BBC3-6469E285D43F}" dt="2025-03-20T10:11:09.732" v="1579"/>
          <ac:spMkLst>
            <pc:docMk/>
            <pc:sldMk cId="18779260" sldId="299"/>
            <ac:spMk id="46" creationId="{DCC13F6E-CA25-4B42-9AC5-0509B8D69CC6}"/>
          </ac:spMkLst>
        </pc:spChg>
        <pc:spChg chg="mod">
          <ac:chgData name="Dirk Wübben" userId="a27602df-5b54-480c-866c-64260ceb4949" providerId="ADAL" clId="{6384D003-2B9C-4703-BBC3-6469E285D43F}" dt="2025-03-20T10:11:09.732" v="1579"/>
          <ac:spMkLst>
            <pc:docMk/>
            <pc:sldMk cId="18779260" sldId="299"/>
            <ac:spMk id="47" creationId="{DC31422F-C8F4-4251-BECF-97A23006BE78}"/>
          </ac:spMkLst>
        </pc:spChg>
        <pc:spChg chg="mod">
          <ac:chgData name="Dirk Wübben" userId="a27602df-5b54-480c-866c-64260ceb4949" providerId="ADAL" clId="{6384D003-2B9C-4703-BBC3-6469E285D43F}" dt="2025-03-20T10:11:09.732" v="1579"/>
          <ac:spMkLst>
            <pc:docMk/>
            <pc:sldMk cId="18779260" sldId="299"/>
            <ac:spMk id="48" creationId="{DBDBAD01-CD03-42B0-A133-E9EC832538BC}"/>
          </ac:spMkLst>
        </pc:spChg>
        <pc:spChg chg="mod">
          <ac:chgData name="Dirk Wübben" userId="a27602df-5b54-480c-866c-64260ceb4949" providerId="ADAL" clId="{6384D003-2B9C-4703-BBC3-6469E285D43F}" dt="2025-03-20T10:11:09.732" v="1579"/>
          <ac:spMkLst>
            <pc:docMk/>
            <pc:sldMk cId="18779260" sldId="299"/>
            <ac:spMk id="49" creationId="{A3FC261E-A395-47D3-9B3F-45E937D2462C}"/>
          </ac:spMkLst>
        </pc:spChg>
        <pc:spChg chg="mod">
          <ac:chgData name="Dirk Wübben" userId="a27602df-5b54-480c-866c-64260ceb4949" providerId="ADAL" clId="{6384D003-2B9C-4703-BBC3-6469E285D43F}" dt="2025-03-20T10:11:09.732" v="1579"/>
          <ac:spMkLst>
            <pc:docMk/>
            <pc:sldMk cId="18779260" sldId="299"/>
            <ac:spMk id="51" creationId="{60875CF1-4C45-48AA-91B2-17DEF1D8B7D2}"/>
          </ac:spMkLst>
        </pc:spChg>
        <pc:spChg chg="mod">
          <ac:chgData name="Dirk Wübben" userId="a27602df-5b54-480c-866c-64260ceb4949" providerId="ADAL" clId="{6384D003-2B9C-4703-BBC3-6469E285D43F}" dt="2025-03-20T10:11:09.732" v="1579"/>
          <ac:spMkLst>
            <pc:docMk/>
            <pc:sldMk cId="18779260" sldId="299"/>
            <ac:spMk id="52" creationId="{CE16D4D7-48B7-45FC-BC1B-20456738977A}"/>
          </ac:spMkLst>
        </pc:spChg>
        <pc:spChg chg="mod">
          <ac:chgData name="Dirk Wübben" userId="a27602df-5b54-480c-866c-64260ceb4949" providerId="ADAL" clId="{6384D003-2B9C-4703-BBC3-6469E285D43F}" dt="2025-03-20T10:11:09.732" v="1579"/>
          <ac:spMkLst>
            <pc:docMk/>
            <pc:sldMk cId="18779260" sldId="299"/>
            <ac:spMk id="53" creationId="{48B1A475-F6F2-45F5-B8A4-2A8310E5BDBA}"/>
          </ac:spMkLst>
        </pc:spChg>
        <pc:spChg chg="mod">
          <ac:chgData name="Dirk Wübben" userId="a27602df-5b54-480c-866c-64260ceb4949" providerId="ADAL" clId="{6384D003-2B9C-4703-BBC3-6469E285D43F}" dt="2025-03-20T10:11:09.732" v="1579"/>
          <ac:spMkLst>
            <pc:docMk/>
            <pc:sldMk cId="18779260" sldId="299"/>
            <ac:spMk id="54" creationId="{CF66136B-825B-4A7B-9A4F-23418BD72C57}"/>
          </ac:spMkLst>
        </pc:spChg>
        <pc:spChg chg="mod">
          <ac:chgData name="Dirk Wübben" userId="a27602df-5b54-480c-866c-64260ceb4949" providerId="ADAL" clId="{6384D003-2B9C-4703-BBC3-6469E285D43F}" dt="2025-03-20T10:11:09.732" v="1579"/>
          <ac:spMkLst>
            <pc:docMk/>
            <pc:sldMk cId="18779260" sldId="299"/>
            <ac:spMk id="55" creationId="{47F4F274-3638-4DD6-90F1-6CF44227F8AC}"/>
          </ac:spMkLst>
        </pc:spChg>
        <pc:spChg chg="mod">
          <ac:chgData name="Dirk Wübben" userId="a27602df-5b54-480c-866c-64260ceb4949" providerId="ADAL" clId="{6384D003-2B9C-4703-BBC3-6469E285D43F}" dt="2025-03-20T10:11:09.732" v="1579"/>
          <ac:spMkLst>
            <pc:docMk/>
            <pc:sldMk cId="18779260" sldId="299"/>
            <ac:spMk id="57" creationId="{0267AF97-890F-4BF8-A444-66C8DF8A3133}"/>
          </ac:spMkLst>
        </pc:spChg>
        <pc:spChg chg="mod">
          <ac:chgData name="Dirk Wübben" userId="a27602df-5b54-480c-866c-64260ceb4949" providerId="ADAL" clId="{6384D003-2B9C-4703-BBC3-6469E285D43F}" dt="2025-03-20T10:11:09.732" v="1579"/>
          <ac:spMkLst>
            <pc:docMk/>
            <pc:sldMk cId="18779260" sldId="299"/>
            <ac:spMk id="58" creationId="{BFFA3CE8-9627-433F-9206-6793B397BDDA}"/>
          </ac:spMkLst>
        </pc:spChg>
        <pc:spChg chg="mod">
          <ac:chgData name="Dirk Wübben" userId="a27602df-5b54-480c-866c-64260ceb4949" providerId="ADAL" clId="{6384D003-2B9C-4703-BBC3-6469E285D43F}" dt="2025-03-20T10:11:09.732" v="1579"/>
          <ac:spMkLst>
            <pc:docMk/>
            <pc:sldMk cId="18779260" sldId="299"/>
            <ac:spMk id="59" creationId="{BE92E461-0B47-4ACF-9410-53080704B419}"/>
          </ac:spMkLst>
        </pc:spChg>
        <pc:spChg chg="mod">
          <ac:chgData name="Dirk Wübben" userId="a27602df-5b54-480c-866c-64260ceb4949" providerId="ADAL" clId="{6384D003-2B9C-4703-BBC3-6469E285D43F}" dt="2025-03-20T10:11:09.732" v="1579"/>
          <ac:spMkLst>
            <pc:docMk/>
            <pc:sldMk cId="18779260" sldId="299"/>
            <ac:spMk id="60" creationId="{7DBE370E-02E4-4DB1-ACD1-1325CFC51202}"/>
          </ac:spMkLst>
        </pc:spChg>
        <pc:spChg chg="mod">
          <ac:chgData name="Dirk Wübben" userId="a27602df-5b54-480c-866c-64260ceb4949" providerId="ADAL" clId="{6384D003-2B9C-4703-BBC3-6469E285D43F}" dt="2025-03-20T10:11:09.732" v="1579"/>
          <ac:spMkLst>
            <pc:docMk/>
            <pc:sldMk cId="18779260" sldId="299"/>
            <ac:spMk id="62" creationId="{9F6EB47A-DA85-4044-883E-8D4D0FEFCBC5}"/>
          </ac:spMkLst>
        </pc:spChg>
        <pc:spChg chg="mod">
          <ac:chgData name="Dirk Wübben" userId="a27602df-5b54-480c-866c-64260ceb4949" providerId="ADAL" clId="{6384D003-2B9C-4703-BBC3-6469E285D43F}" dt="2025-03-20T10:11:09.732" v="1579"/>
          <ac:spMkLst>
            <pc:docMk/>
            <pc:sldMk cId="18779260" sldId="299"/>
            <ac:spMk id="63" creationId="{2B7E2171-F526-4115-967A-FD6081E0ECCE}"/>
          </ac:spMkLst>
        </pc:spChg>
        <pc:spChg chg="mod">
          <ac:chgData name="Dirk Wübben" userId="a27602df-5b54-480c-866c-64260ceb4949" providerId="ADAL" clId="{6384D003-2B9C-4703-BBC3-6469E285D43F}" dt="2025-03-20T10:11:09.732" v="1579"/>
          <ac:spMkLst>
            <pc:docMk/>
            <pc:sldMk cId="18779260" sldId="299"/>
            <ac:spMk id="66" creationId="{F29E987D-B58E-4D11-858C-96B1DBBE8CFA}"/>
          </ac:spMkLst>
        </pc:spChg>
        <pc:spChg chg="mod">
          <ac:chgData name="Dirk Wübben" userId="a27602df-5b54-480c-866c-64260ceb4949" providerId="ADAL" clId="{6384D003-2B9C-4703-BBC3-6469E285D43F}" dt="2025-03-20T10:11:09.732" v="1579"/>
          <ac:spMkLst>
            <pc:docMk/>
            <pc:sldMk cId="18779260" sldId="299"/>
            <ac:spMk id="67" creationId="{A63FB62C-464F-42CE-8363-72E27CE0523E}"/>
          </ac:spMkLst>
        </pc:spChg>
        <pc:spChg chg="mod">
          <ac:chgData name="Dirk Wübben" userId="a27602df-5b54-480c-866c-64260ceb4949" providerId="ADAL" clId="{6384D003-2B9C-4703-BBC3-6469E285D43F}" dt="2025-03-20T10:11:09.732" v="1579"/>
          <ac:spMkLst>
            <pc:docMk/>
            <pc:sldMk cId="18779260" sldId="299"/>
            <ac:spMk id="69" creationId="{CEA28D6E-1D57-4DC4-B971-D36A0328EB97}"/>
          </ac:spMkLst>
        </pc:spChg>
        <pc:spChg chg="mod">
          <ac:chgData name="Dirk Wübben" userId="a27602df-5b54-480c-866c-64260ceb4949" providerId="ADAL" clId="{6384D003-2B9C-4703-BBC3-6469E285D43F}" dt="2025-03-20T10:11:09.732" v="1579"/>
          <ac:spMkLst>
            <pc:docMk/>
            <pc:sldMk cId="18779260" sldId="299"/>
            <ac:spMk id="70" creationId="{0763EE66-440F-45E2-8A4D-4D9FDB71A2C8}"/>
          </ac:spMkLst>
        </pc:spChg>
        <pc:spChg chg="mod">
          <ac:chgData name="Dirk Wübben" userId="a27602df-5b54-480c-866c-64260ceb4949" providerId="ADAL" clId="{6384D003-2B9C-4703-BBC3-6469E285D43F}" dt="2025-03-20T10:11:09.732" v="1579"/>
          <ac:spMkLst>
            <pc:docMk/>
            <pc:sldMk cId="18779260" sldId="299"/>
            <ac:spMk id="72" creationId="{A9804BE9-F3DD-43AB-937C-5071A9A4DFA8}"/>
          </ac:spMkLst>
        </pc:spChg>
        <pc:spChg chg="mod">
          <ac:chgData name="Dirk Wübben" userId="a27602df-5b54-480c-866c-64260ceb4949" providerId="ADAL" clId="{6384D003-2B9C-4703-BBC3-6469E285D43F}" dt="2025-03-20T10:11:09.732" v="1579"/>
          <ac:spMkLst>
            <pc:docMk/>
            <pc:sldMk cId="18779260" sldId="299"/>
            <ac:spMk id="73" creationId="{4609B647-7745-47E7-91B1-BDDBD36DD40E}"/>
          </ac:spMkLst>
        </pc:spChg>
        <pc:spChg chg="mod">
          <ac:chgData name="Dirk Wübben" userId="a27602df-5b54-480c-866c-64260ceb4949" providerId="ADAL" clId="{6384D003-2B9C-4703-BBC3-6469E285D43F}" dt="2025-03-20T11:42:37.653" v="1832" actId="1035"/>
          <ac:spMkLst>
            <pc:docMk/>
            <pc:sldMk cId="18779260" sldId="299"/>
            <ac:spMk id="77" creationId="{48FB0AF6-4FE0-4A61-888B-7175CBE252D8}"/>
          </ac:spMkLst>
        </pc:spChg>
        <pc:spChg chg="mod">
          <ac:chgData name="Dirk Wübben" userId="a27602df-5b54-480c-866c-64260ceb4949" providerId="ADAL" clId="{6384D003-2B9C-4703-BBC3-6469E285D43F}" dt="2025-03-20T10:11:09.732" v="1579"/>
          <ac:spMkLst>
            <pc:docMk/>
            <pc:sldMk cId="18779260" sldId="299"/>
            <ac:spMk id="78" creationId="{CE63C88A-2050-45AE-BBC6-5C4DD50B7A04}"/>
          </ac:spMkLst>
        </pc:spChg>
        <pc:spChg chg="mod">
          <ac:chgData name="Dirk Wübben" userId="a27602df-5b54-480c-866c-64260ceb4949" providerId="ADAL" clId="{6384D003-2B9C-4703-BBC3-6469E285D43F}" dt="2025-03-20T10:11:09.732" v="1579"/>
          <ac:spMkLst>
            <pc:docMk/>
            <pc:sldMk cId="18779260" sldId="299"/>
            <ac:spMk id="79" creationId="{BF645249-6DCF-469C-916D-B506A9D7E8D8}"/>
          </ac:spMkLst>
        </pc:spChg>
        <pc:spChg chg="mod">
          <ac:chgData name="Dirk Wübben" userId="a27602df-5b54-480c-866c-64260ceb4949" providerId="ADAL" clId="{6384D003-2B9C-4703-BBC3-6469E285D43F}" dt="2025-03-20T10:11:09.732" v="1579"/>
          <ac:spMkLst>
            <pc:docMk/>
            <pc:sldMk cId="18779260" sldId="299"/>
            <ac:spMk id="80" creationId="{7BA998AE-15A1-47C2-967C-133C0B3645BF}"/>
          </ac:spMkLst>
        </pc:spChg>
        <pc:spChg chg="mod">
          <ac:chgData name="Dirk Wübben" userId="a27602df-5b54-480c-866c-64260ceb4949" providerId="ADAL" clId="{6384D003-2B9C-4703-BBC3-6469E285D43F}" dt="2025-03-20T10:11:09.732" v="1579"/>
          <ac:spMkLst>
            <pc:docMk/>
            <pc:sldMk cId="18779260" sldId="299"/>
            <ac:spMk id="81" creationId="{4B8CEE8A-7636-4E87-A024-FAE885DDA7FE}"/>
          </ac:spMkLst>
        </pc:spChg>
        <pc:spChg chg="mod">
          <ac:chgData name="Dirk Wübben" userId="a27602df-5b54-480c-866c-64260ceb4949" providerId="ADAL" clId="{6384D003-2B9C-4703-BBC3-6469E285D43F}" dt="2025-03-20T10:11:09.732" v="1579"/>
          <ac:spMkLst>
            <pc:docMk/>
            <pc:sldMk cId="18779260" sldId="299"/>
            <ac:spMk id="82" creationId="{E056FBE4-42E3-42F2-BA03-D98415D1E818}"/>
          </ac:spMkLst>
        </pc:spChg>
        <pc:spChg chg="mod">
          <ac:chgData name="Dirk Wübben" userId="a27602df-5b54-480c-866c-64260ceb4949" providerId="ADAL" clId="{6384D003-2B9C-4703-BBC3-6469E285D43F}" dt="2025-03-20T10:11:09.732" v="1579"/>
          <ac:spMkLst>
            <pc:docMk/>
            <pc:sldMk cId="18779260" sldId="299"/>
            <ac:spMk id="83" creationId="{C1B07711-556B-46C5-9AA1-374823529980}"/>
          </ac:spMkLst>
        </pc:spChg>
        <pc:spChg chg="mod">
          <ac:chgData name="Dirk Wübben" userId="a27602df-5b54-480c-866c-64260ceb4949" providerId="ADAL" clId="{6384D003-2B9C-4703-BBC3-6469E285D43F}" dt="2025-03-20T10:11:09.732" v="1579"/>
          <ac:spMkLst>
            <pc:docMk/>
            <pc:sldMk cId="18779260" sldId="299"/>
            <ac:spMk id="84" creationId="{9FB6A949-9BB3-401B-84EC-C2B075E4234F}"/>
          </ac:spMkLst>
        </pc:spChg>
        <pc:spChg chg="mod">
          <ac:chgData name="Dirk Wübben" userId="a27602df-5b54-480c-866c-64260ceb4949" providerId="ADAL" clId="{6384D003-2B9C-4703-BBC3-6469E285D43F}" dt="2025-03-20T10:11:09.732" v="1579"/>
          <ac:spMkLst>
            <pc:docMk/>
            <pc:sldMk cId="18779260" sldId="299"/>
            <ac:spMk id="85" creationId="{A6198013-AD1B-48E6-8A3E-06AAF43A9783}"/>
          </ac:spMkLst>
        </pc:spChg>
        <pc:spChg chg="mod">
          <ac:chgData name="Dirk Wübben" userId="a27602df-5b54-480c-866c-64260ceb4949" providerId="ADAL" clId="{6384D003-2B9C-4703-BBC3-6469E285D43F}" dt="2025-03-20T10:11:09.732" v="1579"/>
          <ac:spMkLst>
            <pc:docMk/>
            <pc:sldMk cId="18779260" sldId="299"/>
            <ac:spMk id="86" creationId="{FA854044-5863-411F-86E1-8257234953FC}"/>
          </ac:spMkLst>
        </pc:spChg>
        <pc:spChg chg="mod">
          <ac:chgData name="Dirk Wübben" userId="a27602df-5b54-480c-866c-64260ceb4949" providerId="ADAL" clId="{6384D003-2B9C-4703-BBC3-6469E285D43F}" dt="2025-03-20T10:11:09.732" v="1579"/>
          <ac:spMkLst>
            <pc:docMk/>
            <pc:sldMk cId="18779260" sldId="299"/>
            <ac:spMk id="87" creationId="{61B9EF45-D0E9-4A9C-A6C3-24D85BD3BC97}"/>
          </ac:spMkLst>
        </pc:spChg>
        <pc:spChg chg="mod">
          <ac:chgData name="Dirk Wübben" userId="a27602df-5b54-480c-866c-64260ceb4949" providerId="ADAL" clId="{6384D003-2B9C-4703-BBC3-6469E285D43F}" dt="2025-03-20T10:11:09.732" v="1579"/>
          <ac:spMkLst>
            <pc:docMk/>
            <pc:sldMk cId="18779260" sldId="299"/>
            <ac:spMk id="88" creationId="{41A56FC8-01D5-4BE8-8DCE-A5874B52DDCC}"/>
          </ac:spMkLst>
        </pc:spChg>
        <pc:spChg chg="mod">
          <ac:chgData name="Dirk Wübben" userId="a27602df-5b54-480c-866c-64260ceb4949" providerId="ADAL" clId="{6384D003-2B9C-4703-BBC3-6469E285D43F}" dt="2025-03-20T10:11:09.732" v="1579"/>
          <ac:spMkLst>
            <pc:docMk/>
            <pc:sldMk cId="18779260" sldId="299"/>
            <ac:spMk id="89" creationId="{FE8AF5D6-E34A-4BF5-AAF2-D731AA01408F}"/>
          </ac:spMkLst>
        </pc:spChg>
        <pc:spChg chg="mod">
          <ac:chgData name="Dirk Wübben" userId="a27602df-5b54-480c-866c-64260ceb4949" providerId="ADAL" clId="{6384D003-2B9C-4703-BBC3-6469E285D43F}" dt="2025-03-20T10:11:09.732" v="1579"/>
          <ac:spMkLst>
            <pc:docMk/>
            <pc:sldMk cId="18779260" sldId="299"/>
            <ac:spMk id="90" creationId="{77FB8DDC-015D-48F2-BF29-C23D047241D4}"/>
          </ac:spMkLst>
        </pc:spChg>
        <pc:spChg chg="mod">
          <ac:chgData name="Dirk Wübben" userId="a27602df-5b54-480c-866c-64260ceb4949" providerId="ADAL" clId="{6384D003-2B9C-4703-BBC3-6469E285D43F}" dt="2025-03-20T10:11:09.732" v="1579"/>
          <ac:spMkLst>
            <pc:docMk/>
            <pc:sldMk cId="18779260" sldId="299"/>
            <ac:spMk id="91" creationId="{4E9B8E9E-58E6-4FA6-B3BD-99945A45BBF2}"/>
          </ac:spMkLst>
        </pc:spChg>
        <pc:spChg chg="mod">
          <ac:chgData name="Dirk Wübben" userId="a27602df-5b54-480c-866c-64260ceb4949" providerId="ADAL" clId="{6384D003-2B9C-4703-BBC3-6469E285D43F}" dt="2025-03-20T10:11:09.732" v="1579"/>
          <ac:spMkLst>
            <pc:docMk/>
            <pc:sldMk cId="18779260" sldId="299"/>
            <ac:spMk id="92" creationId="{C314C5A5-A399-4868-8DDD-E15E1D3048E7}"/>
          </ac:spMkLst>
        </pc:spChg>
        <pc:spChg chg="mod">
          <ac:chgData name="Dirk Wübben" userId="a27602df-5b54-480c-866c-64260ceb4949" providerId="ADAL" clId="{6384D003-2B9C-4703-BBC3-6469E285D43F}" dt="2025-03-20T10:11:09.732" v="1579"/>
          <ac:spMkLst>
            <pc:docMk/>
            <pc:sldMk cId="18779260" sldId="299"/>
            <ac:spMk id="93" creationId="{AB3E8D63-DBF7-4D04-896D-670ED3D7402E}"/>
          </ac:spMkLst>
        </pc:spChg>
        <pc:spChg chg="mod">
          <ac:chgData name="Dirk Wübben" userId="a27602df-5b54-480c-866c-64260ceb4949" providerId="ADAL" clId="{6384D003-2B9C-4703-BBC3-6469E285D43F}" dt="2025-03-20T10:11:09.732" v="1579"/>
          <ac:spMkLst>
            <pc:docMk/>
            <pc:sldMk cId="18779260" sldId="299"/>
            <ac:spMk id="94" creationId="{68CED922-4AF3-43A1-B915-B0725A5FD8FF}"/>
          </ac:spMkLst>
        </pc:spChg>
        <pc:spChg chg="mod">
          <ac:chgData name="Dirk Wübben" userId="a27602df-5b54-480c-866c-64260ceb4949" providerId="ADAL" clId="{6384D003-2B9C-4703-BBC3-6469E285D43F}" dt="2025-03-20T10:11:09.732" v="1579"/>
          <ac:spMkLst>
            <pc:docMk/>
            <pc:sldMk cId="18779260" sldId="299"/>
            <ac:spMk id="95" creationId="{7DA31FA6-FB42-4C46-840F-06053A52C0A6}"/>
          </ac:spMkLst>
        </pc:spChg>
        <pc:spChg chg="mod">
          <ac:chgData name="Dirk Wübben" userId="a27602df-5b54-480c-866c-64260ceb4949" providerId="ADAL" clId="{6384D003-2B9C-4703-BBC3-6469E285D43F}" dt="2025-03-20T10:11:09.732" v="1579"/>
          <ac:spMkLst>
            <pc:docMk/>
            <pc:sldMk cId="18779260" sldId="299"/>
            <ac:spMk id="96" creationId="{311A6F52-51B2-432D-9877-DC91226EC6C7}"/>
          </ac:spMkLst>
        </pc:spChg>
        <pc:spChg chg="mod">
          <ac:chgData name="Dirk Wübben" userId="a27602df-5b54-480c-866c-64260ceb4949" providerId="ADAL" clId="{6384D003-2B9C-4703-BBC3-6469E285D43F}" dt="2025-03-20T10:11:09.732" v="1579"/>
          <ac:spMkLst>
            <pc:docMk/>
            <pc:sldMk cId="18779260" sldId="299"/>
            <ac:spMk id="97" creationId="{BAD7A518-FA86-461B-BC87-5AB278CF5FA7}"/>
          </ac:spMkLst>
        </pc:spChg>
        <pc:spChg chg="mod">
          <ac:chgData name="Dirk Wübben" userId="a27602df-5b54-480c-866c-64260ceb4949" providerId="ADAL" clId="{6384D003-2B9C-4703-BBC3-6469E285D43F}" dt="2025-03-20T10:11:09.732" v="1579"/>
          <ac:spMkLst>
            <pc:docMk/>
            <pc:sldMk cId="18779260" sldId="299"/>
            <ac:spMk id="98" creationId="{8B740CD3-0628-4FC2-A8E6-7B35B74683FA}"/>
          </ac:spMkLst>
        </pc:spChg>
        <pc:spChg chg="mod">
          <ac:chgData name="Dirk Wübben" userId="a27602df-5b54-480c-866c-64260ceb4949" providerId="ADAL" clId="{6384D003-2B9C-4703-BBC3-6469E285D43F}" dt="2025-03-20T10:11:09.732" v="1579"/>
          <ac:spMkLst>
            <pc:docMk/>
            <pc:sldMk cId="18779260" sldId="299"/>
            <ac:spMk id="99" creationId="{AF3B8B72-766A-4035-92E0-872DE61C686D}"/>
          </ac:spMkLst>
        </pc:spChg>
        <pc:spChg chg="mod">
          <ac:chgData name="Dirk Wübben" userId="a27602df-5b54-480c-866c-64260ceb4949" providerId="ADAL" clId="{6384D003-2B9C-4703-BBC3-6469E285D43F}" dt="2025-03-20T10:11:09.732" v="1579"/>
          <ac:spMkLst>
            <pc:docMk/>
            <pc:sldMk cId="18779260" sldId="299"/>
            <ac:spMk id="100" creationId="{93CCB773-6367-4E80-BA71-F5B644B85DCF}"/>
          </ac:spMkLst>
        </pc:spChg>
        <pc:spChg chg="mod">
          <ac:chgData name="Dirk Wübben" userId="a27602df-5b54-480c-866c-64260ceb4949" providerId="ADAL" clId="{6384D003-2B9C-4703-BBC3-6469E285D43F}" dt="2025-03-20T10:11:09.732" v="1579"/>
          <ac:spMkLst>
            <pc:docMk/>
            <pc:sldMk cId="18779260" sldId="299"/>
            <ac:spMk id="101" creationId="{353022CE-3A3B-4463-AD66-0A2128F2B60B}"/>
          </ac:spMkLst>
        </pc:spChg>
        <pc:spChg chg="mod">
          <ac:chgData name="Dirk Wübben" userId="a27602df-5b54-480c-866c-64260ceb4949" providerId="ADAL" clId="{6384D003-2B9C-4703-BBC3-6469E285D43F}" dt="2025-03-20T10:11:09.732" v="1579"/>
          <ac:spMkLst>
            <pc:docMk/>
            <pc:sldMk cId="18779260" sldId="299"/>
            <ac:spMk id="102" creationId="{350626A5-885A-4D34-B9E6-EEA306840A45}"/>
          </ac:spMkLst>
        </pc:spChg>
        <pc:spChg chg="mod">
          <ac:chgData name="Dirk Wübben" userId="a27602df-5b54-480c-866c-64260ceb4949" providerId="ADAL" clId="{6384D003-2B9C-4703-BBC3-6469E285D43F}" dt="2025-03-20T10:11:09.732" v="1579"/>
          <ac:spMkLst>
            <pc:docMk/>
            <pc:sldMk cId="18779260" sldId="299"/>
            <ac:spMk id="103" creationId="{7E447FD8-30F6-420A-ACDF-297D9C61F110}"/>
          </ac:spMkLst>
        </pc:spChg>
        <pc:spChg chg="mod">
          <ac:chgData name="Dirk Wübben" userId="a27602df-5b54-480c-866c-64260ceb4949" providerId="ADAL" clId="{6384D003-2B9C-4703-BBC3-6469E285D43F}" dt="2025-03-20T10:11:09.732" v="1579"/>
          <ac:spMkLst>
            <pc:docMk/>
            <pc:sldMk cId="18779260" sldId="299"/>
            <ac:spMk id="104" creationId="{EFD929C8-E3DD-4E25-9D14-B510BAAEC216}"/>
          </ac:spMkLst>
        </pc:spChg>
        <pc:spChg chg="mod">
          <ac:chgData name="Dirk Wübben" userId="a27602df-5b54-480c-866c-64260ceb4949" providerId="ADAL" clId="{6384D003-2B9C-4703-BBC3-6469E285D43F}" dt="2025-03-20T10:11:09.732" v="1579"/>
          <ac:spMkLst>
            <pc:docMk/>
            <pc:sldMk cId="18779260" sldId="299"/>
            <ac:spMk id="105" creationId="{70A5C8E6-D6E0-4149-BED3-FA2385CF04CF}"/>
          </ac:spMkLst>
        </pc:spChg>
        <pc:spChg chg="mod">
          <ac:chgData name="Dirk Wübben" userId="a27602df-5b54-480c-866c-64260ceb4949" providerId="ADAL" clId="{6384D003-2B9C-4703-BBC3-6469E285D43F}" dt="2025-03-20T10:11:09.732" v="1579"/>
          <ac:spMkLst>
            <pc:docMk/>
            <pc:sldMk cId="18779260" sldId="299"/>
            <ac:spMk id="106" creationId="{33038A43-0D9B-4512-B437-3529221CDEB8}"/>
          </ac:spMkLst>
        </pc:spChg>
        <pc:spChg chg="mod">
          <ac:chgData name="Dirk Wübben" userId="a27602df-5b54-480c-866c-64260ceb4949" providerId="ADAL" clId="{6384D003-2B9C-4703-BBC3-6469E285D43F}" dt="2025-03-20T10:11:09.732" v="1579"/>
          <ac:spMkLst>
            <pc:docMk/>
            <pc:sldMk cId="18779260" sldId="299"/>
            <ac:spMk id="107" creationId="{C9FF6BCD-FC56-4576-BC55-3A64562CA2C0}"/>
          </ac:spMkLst>
        </pc:spChg>
        <pc:spChg chg="mod">
          <ac:chgData name="Dirk Wübben" userId="a27602df-5b54-480c-866c-64260ceb4949" providerId="ADAL" clId="{6384D003-2B9C-4703-BBC3-6469E285D43F}" dt="2025-03-20T10:11:09.732" v="1579"/>
          <ac:spMkLst>
            <pc:docMk/>
            <pc:sldMk cId="18779260" sldId="299"/>
            <ac:spMk id="108" creationId="{913C49ED-DE75-4BFA-A9BF-6B91CC9A2860}"/>
          </ac:spMkLst>
        </pc:spChg>
        <pc:spChg chg="mod">
          <ac:chgData name="Dirk Wübben" userId="a27602df-5b54-480c-866c-64260ceb4949" providerId="ADAL" clId="{6384D003-2B9C-4703-BBC3-6469E285D43F}" dt="2025-03-20T10:11:09.732" v="1579"/>
          <ac:spMkLst>
            <pc:docMk/>
            <pc:sldMk cId="18779260" sldId="299"/>
            <ac:spMk id="109" creationId="{056C07C1-0C92-4A0F-A1EE-6020FFB83589}"/>
          </ac:spMkLst>
        </pc:spChg>
        <pc:spChg chg="mod">
          <ac:chgData name="Dirk Wübben" userId="a27602df-5b54-480c-866c-64260ceb4949" providerId="ADAL" clId="{6384D003-2B9C-4703-BBC3-6469E285D43F}" dt="2025-03-20T10:11:09.732" v="1579"/>
          <ac:spMkLst>
            <pc:docMk/>
            <pc:sldMk cId="18779260" sldId="299"/>
            <ac:spMk id="110" creationId="{1C5C346A-E8BB-40CD-B54F-EDDB2A67CAE6}"/>
          </ac:spMkLst>
        </pc:spChg>
        <pc:spChg chg="mod">
          <ac:chgData name="Dirk Wübben" userId="a27602df-5b54-480c-866c-64260ceb4949" providerId="ADAL" clId="{6384D003-2B9C-4703-BBC3-6469E285D43F}" dt="2025-03-20T10:11:09.732" v="1579"/>
          <ac:spMkLst>
            <pc:docMk/>
            <pc:sldMk cId="18779260" sldId="299"/>
            <ac:spMk id="111" creationId="{2D026327-1A11-4E18-8FC0-7C9A40064D3C}"/>
          </ac:spMkLst>
        </pc:spChg>
        <pc:spChg chg="mod">
          <ac:chgData name="Dirk Wübben" userId="a27602df-5b54-480c-866c-64260ceb4949" providerId="ADAL" clId="{6384D003-2B9C-4703-BBC3-6469E285D43F}" dt="2025-03-20T10:11:09.732" v="1579"/>
          <ac:spMkLst>
            <pc:docMk/>
            <pc:sldMk cId="18779260" sldId="299"/>
            <ac:spMk id="112" creationId="{56E952FC-FC8C-429D-83DE-D5D213335362}"/>
          </ac:spMkLst>
        </pc:spChg>
        <pc:spChg chg="mod">
          <ac:chgData name="Dirk Wübben" userId="a27602df-5b54-480c-866c-64260ceb4949" providerId="ADAL" clId="{6384D003-2B9C-4703-BBC3-6469E285D43F}" dt="2025-03-20T10:11:09.732" v="1579"/>
          <ac:spMkLst>
            <pc:docMk/>
            <pc:sldMk cId="18779260" sldId="299"/>
            <ac:spMk id="113" creationId="{72B35A8A-F6AB-40EB-80BE-1672D1D60518}"/>
          </ac:spMkLst>
        </pc:spChg>
        <pc:spChg chg="mod">
          <ac:chgData name="Dirk Wübben" userId="a27602df-5b54-480c-866c-64260ceb4949" providerId="ADAL" clId="{6384D003-2B9C-4703-BBC3-6469E285D43F}" dt="2025-03-20T10:11:09.732" v="1579"/>
          <ac:spMkLst>
            <pc:docMk/>
            <pc:sldMk cId="18779260" sldId="299"/>
            <ac:spMk id="114" creationId="{A35599E8-6FAD-46C1-A8B9-FC38F8ED2612}"/>
          </ac:spMkLst>
        </pc:spChg>
        <pc:spChg chg="mod">
          <ac:chgData name="Dirk Wübben" userId="a27602df-5b54-480c-866c-64260ceb4949" providerId="ADAL" clId="{6384D003-2B9C-4703-BBC3-6469E285D43F}" dt="2025-03-20T10:11:09.732" v="1579"/>
          <ac:spMkLst>
            <pc:docMk/>
            <pc:sldMk cId="18779260" sldId="299"/>
            <ac:spMk id="115" creationId="{71735288-6D1C-4F2D-8B0A-EED69538A587}"/>
          </ac:spMkLst>
        </pc:spChg>
        <pc:spChg chg="mod">
          <ac:chgData name="Dirk Wübben" userId="a27602df-5b54-480c-866c-64260ceb4949" providerId="ADAL" clId="{6384D003-2B9C-4703-BBC3-6469E285D43F}" dt="2025-03-20T10:11:09.732" v="1579"/>
          <ac:spMkLst>
            <pc:docMk/>
            <pc:sldMk cId="18779260" sldId="299"/>
            <ac:spMk id="116" creationId="{E2118698-FA16-46D5-BE9E-9F822D0BF567}"/>
          </ac:spMkLst>
        </pc:spChg>
        <pc:spChg chg="mod">
          <ac:chgData name="Dirk Wübben" userId="a27602df-5b54-480c-866c-64260ceb4949" providerId="ADAL" clId="{6384D003-2B9C-4703-BBC3-6469E285D43F}" dt="2025-03-20T10:11:09.732" v="1579"/>
          <ac:spMkLst>
            <pc:docMk/>
            <pc:sldMk cId="18779260" sldId="299"/>
            <ac:spMk id="118" creationId="{1DC5F754-AF34-46A0-A27D-2BBC29C310B0}"/>
          </ac:spMkLst>
        </pc:spChg>
        <pc:spChg chg="mod">
          <ac:chgData name="Dirk Wübben" userId="a27602df-5b54-480c-866c-64260ceb4949" providerId="ADAL" clId="{6384D003-2B9C-4703-BBC3-6469E285D43F}" dt="2025-03-20T10:11:09.732" v="1579"/>
          <ac:spMkLst>
            <pc:docMk/>
            <pc:sldMk cId="18779260" sldId="299"/>
            <ac:spMk id="119" creationId="{3D8CCFA6-07B0-431F-867E-C0E2EE651601}"/>
          </ac:spMkLst>
        </pc:spChg>
        <pc:spChg chg="mod">
          <ac:chgData name="Dirk Wübben" userId="a27602df-5b54-480c-866c-64260ceb4949" providerId="ADAL" clId="{6384D003-2B9C-4703-BBC3-6469E285D43F}" dt="2025-03-20T10:11:09.732" v="1579"/>
          <ac:spMkLst>
            <pc:docMk/>
            <pc:sldMk cId="18779260" sldId="299"/>
            <ac:spMk id="120" creationId="{2C2AD740-D2AE-45E8-AA87-DA690BED95E7}"/>
          </ac:spMkLst>
        </pc:spChg>
        <pc:spChg chg="mod">
          <ac:chgData name="Dirk Wübben" userId="a27602df-5b54-480c-866c-64260ceb4949" providerId="ADAL" clId="{6384D003-2B9C-4703-BBC3-6469E285D43F}" dt="2025-03-20T10:11:09.732" v="1579"/>
          <ac:spMkLst>
            <pc:docMk/>
            <pc:sldMk cId="18779260" sldId="299"/>
            <ac:spMk id="121" creationId="{F89F5BD9-08DF-4ECD-90AF-9F2D93283640}"/>
          </ac:spMkLst>
        </pc:spChg>
        <pc:spChg chg="mod">
          <ac:chgData name="Dirk Wübben" userId="a27602df-5b54-480c-866c-64260ceb4949" providerId="ADAL" clId="{6384D003-2B9C-4703-BBC3-6469E285D43F}" dt="2025-03-20T10:11:09.732" v="1579"/>
          <ac:spMkLst>
            <pc:docMk/>
            <pc:sldMk cId="18779260" sldId="299"/>
            <ac:spMk id="122" creationId="{95F68E1F-2DDF-42DC-9850-6BF92F404D3C}"/>
          </ac:spMkLst>
        </pc:spChg>
        <pc:spChg chg="mod">
          <ac:chgData name="Dirk Wübben" userId="a27602df-5b54-480c-866c-64260ceb4949" providerId="ADAL" clId="{6384D003-2B9C-4703-BBC3-6469E285D43F}" dt="2025-03-20T10:11:09.732" v="1579"/>
          <ac:spMkLst>
            <pc:docMk/>
            <pc:sldMk cId="18779260" sldId="299"/>
            <ac:spMk id="123" creationId="{D17052A1-9291-4C0C-954F-1AFED5EA9EFF}"/>
          </ac:spMkLst>
        </pc:spChg>
        <pc:spChg chg="mod">
          <ac:chgData name="Dirk Wübben" userId="a27602df-5b54-480c-866c-64260ceb4949" providerId="ADAL" clId="{6384D003-2B9C-4703-BBC3-6469E285D43F}" dt="2025-03-20T10:11:09.732" v="1579"/>
          <ac:spMkLst>
            <pc:docMk/>
            <pc:sldMk cId="18779260" sldId="299"/>
            <ac:spMk id="124" creationId="{3107F592-F7F3-4E22-891A-3C98C989078C}"/>
          </ac:spMkLst>
        </pc:spChg>
        <pc:spChg chg="mod">
          <ac:chgData name="Dirk Wübben" userId="a27602df-5b54-480c-866c-64260ceb4949" providerId="ADAL" clId="{6384D003-2B9C-4703-BBC3-6469E285D43F}" dt="2025-03-20T10:11:09.732" v="1579"/>
          <ac:spMkLst>
            <pc:docMk/>
            <pc:sldMk cId="18779260" sldId="299"/>
            <ac:spMk id="126" creationId="{BBF0762E-BE94-4BA6-B2F4-527D11D728F8}"/>
          </ac:spMkLst>
        </pc:spChg>
        <pc:spChg chg="mod">
          <ac:chgData name="Dirk Wübben" userId="a27602df-5b54-480c-866c-64260ceb4949" providerId="ADAL" clId="{6384D003-2B9C-4703-BBC3-6469E285D43F}" dt="2025-03-20T10:11:09.732" v="1579"/>
          <ac:spMkLst>
            <pc:docMk/>
            <pc:sldMk cId="18779260" sldId="299"/>
            <ac:spMk id="127" creationId="{BA8664C4-9AC1-4FFB-88B7-D9B9E9A7706C}"/>
          </ac:spMkLst>
        </pc:spChg>
        <pc:spChg chg="mod">
          <ac:chgData name="Dirk Wübben" userId="a27602df-5b54-480c-866c-64260ceb4949" providerId="ADAL" clId="{6384D003-2B9C-4703-BBC3-6469E285D43F}" dt="2025-03-20T10:11:09.732" v="1579"/>
          <ac:spMkLst>
            <pc:docMk/>
            <pc:sldMk cId="18779260" sldId="299"/>
            <ac:spMk id="128" creationId="{BE9A1178-907C-4DBD-9FDC-74A90D50734A}"/>
          </ac:spMkLst>
        </pc:spChg>
        <pc:spChg chg="mod">
          <ac:chgData name="Dirk Wübben" userId="a27602df-5b54-480c-866c-64260ceb4949" providerId="ADAL" clId="{6384D003-2B9C-4703-BBC3-6469E285D43F}" dt="2025-03-20T10:11:09.732" v="1579"/>
          <ac:spMkLst>
            <pc:docMk/>
            <pc:sldMk cId="18779260" sldId="299"/>
            <ac:spMk id="129" creationId="{F2D45E71-E9B6-4000-B4A8-54E993AD9E91}"/>
          </ac:spMkLst>
        </pc:spChg>
        <pc:spChg chg="mod">
          <ac:chgData name="Dirk Wübben" userId="a27602df-5b54-480c-866c-64260ceb4949" providerId="ADAL" clId="{6384D003-2B9C-4703-BBC3-6469E285D43F}" dt="2025-03-20T10:11:09.732" v="1579"/>
          <ac:spMkLst>
            <pc:docMk/>
            <pc:sldMk cId="18779260" sldId="299"/>
            <ac:spMk id="130" creationId="{9B835D51-6A15-4E14-954E-1C1243BA00AD}"/>
          </ac:spMkLst>
        </pc:spChg>
        <pc:spChg chg="mod">
          <ac:chgData name="Dirk Wübben" userId="a27602df-5b54-480c-866c-64260ceb4949" providerId="ADAL" clId="{6384D003-2B9C-4703-BBC3-6469E285D43F}" dt="2025-03-20T10:11:09.732" v="1579"/>
          <ac:spMkLst>
            <pc:docMk/>
            <pc:sldMk cId="18779260" sldId="299"/>
            <ac:spMk id="131" creationId="{E5C09C19-2C74-423A-9210-0DBC922679C3}"/>
          </ac:spMkLst>
        </pc:spChg>
        <pc:spChg chg="mod">
          <ac:chgData name="Dirk Wübben" userId="a27602df-5b54-480c-866c-64260ceb4949" providerId="ADAL" clId="{6384D003-2B9C-4703-BBC3-6469E285D43F}" dt="2025-03-20T10:11:09.732" v="1579"/>
          <ac:spMkLst>
            <pc:docMk/>
            <pc:sldMk cId="18779260" sldId="299"/>
            <ac:spMk id="132" creationId="{8FEF94BF-5BCF-4E3C-A250-11A87E9E5096}"/>
          </ac:spMkLst>
        </pc:spChg>
        <pc:spChg chg="mod">
          <ac:chgData name="Dirk Wübben" userId="a27602df-5b54-480c-866c-64260ceb4949" providerId="ADAL" clId="{6384D003-2B9C-4703-BBC3-6469E285D43F}" dt="2025-03-20T10:11:09.732" v="1579"/>
          <ac:spMkLst>
            <pc:docMk/>
            <pc:sldMk cId="18779260" sldId="299"/>
            <ac:spMk id="134" creationId="{68C1681D-064D-4446-89E6-473DD24BEEF5}"/>
          </ac:spMkLst>
        </pc:spChg>
        <pc:spChg chg="mod">
          <ac:chgData name="Dirk Wübben" userId="a27602df-5b54-480c-866c-64260ceb4949" providerId="ADAL" clId="{6384D003-2B9C-4703-BBC3-6469E285D43F}" dt="2025-03-20T10:11:09.732" v="1579"/>
          <ac:spMkLst>
            <pc:docMk/>
            <pc:sldMk cId="18779260" sldId="299"/>
            <ac:spMk id="135" creationId="{1D6C30A1-7089-43F8-812F-0B92593CFA1F}"/>
          </ac:spMkLst>
        </pc:spChg>
        <pc:spChg chg="mod">
          <ac:chgData name="Dirk Wübben" userId="a27602df-5b54-480c-866c-64260ceb4949" providerId="ADAL" clId="{6384D003-2B9C-4703-BBC3-6469E285D43F}" dt="2025-03-20T10:11:09.732" v="1579"/>
          <ac:spMkLst>
            <pc:docMk/>
            <pc:sldMk cId="18779260" sldId="299"/>
            <ac:spMk id="136" creationId="{20777C3A-634C-456A-9A72-27CE10F684C2}"/>
          </ac:spMkLst>
        </pc:spChg>
        <pc:spChg chg="mod">
          <ac:chgData name="Dirk Wübben" userId="a27602df-5b54-480c-866c-64260ceb4949" providerId="ADAL" clId="{6384D003-2B9C-4703-BBC3-6469E285D43F}" dt="2025-03-20T10:11:09.732" v="1579"/>
          <ac:spMkLst>
            <pc:docMk/>
            <pc:sldMk cId="18779260" sldId="299"/>
            <ac:spMk id="137" creationId="{4C99A42F-86EF-40C9-922A-9A857272CB60}"/>
          </ac:spMkLst>
        </pc:spChg>
        <pc:spChg chg="mod">
          <ac:chgData name="Dirk Wübben" userId="a27602df-5b54-480c-866c-64260ceb4949" providerId="ADAL" clId="{6384D003-2B9C-4703-BBC3-6469E285D43F}" dt="2025-03-20T10:11:09.732" v="1579"/>
          <ac:spMkLst>
            <pc:docMk/>
            <pc:sldMk cId="18779260" sldId="299"/>
            <ac:spMk id="138" creationId="{98C91C89-4370-43D5-A863-2577CE0B06A8}"/>
          </ac:spMkLst>
        </pc:spChg>
        <pc:spChg chg="mod">
          <ac:chgData name="Dirk Wübben" userId="a27602df-5b54-480c-866c-64260ceb4949" providerId="ADAL" clId="{6384D003-2B9C-4703-BBC3-6469E285D43F}" dt="2025-03-20T10:11:09.732" v="1579"/>
          <ac:spMkLst>
            <pc:docMk/>
            <pc:sldMk cId="18779260" sldId="299"/>
            <ac:spMk id="139" creationId="{36BD8EE8-5262-477E-AA8D-FB18EF3131CD}"/>
          </ac:spMkLst>
        </pc:spChg>
        <pc:spChg chg="mod">
          <ac:chgData name="Dirk Wübben" userId="a27602df-5b54-480c-866c-64260ceb4949" providerId="ADAL" clId="{6384D003-2B9C-4703-BBC3-6469E285D43F}" dt="2025-03-20T10:11:09.732" v="1579"/>
          <ac:spMkLst>
            <pc:docMk/>
            <pc:sldMk cId="18779260" sldId="299"/>
            <ac:spMk id="140" creationId="{115EF6AC-B078-4563-927E-306C074ACC25}"/>
          </ac:spMkLst>
        </pc:spChg>
        <pc:spChg chg="mod">
          <ac:chgData name="Dirk Wübben" userId="a27602df-5b54-480c-866c-64260ceb4949" providerId="ADAL" clId="{6384D003-2B9C-4703-BBC3-6469E285D43F}" dt="2025-03-20T10:11:09.732" v="1579"/>
          <ac:spMkLst>
            <pc:docMk/>
            <pc:sldMk cId="18779260" sldId="299"/>
            <ac:spMk id="141" creationId="{D09B9A51-B122-401B-90CF-EBF96AF80C3C}"/>
          </ac:spMkLst>
        </pc:spChg>
        <pc:spChg chg="mod">
          <ac:chgData name="Dirk Wübben" userId="a27602df-5b54-480c-866c-64260ceb4949" providerId="ADAL" clId="{6384D003-2B9C-4703-BBC3-6469E285D43F}" dt="2025-03-20T10:11:09.732" v="1579"/>
          <ac:spMkLst>
            <pc:docMk/>
            <pc:sldMk cId="18779260" sldId="299"/>
            <ac:spMk id="142" creationId="{58E9FB6B-AF91-4086-984F-24FA635D940F}"/>
          </ac:spMkLst>
        </pc:spChg>
        <pc:spChg chg="mod">
          <ac:chgData name="Dirk Wübben" userId="a27602df-5b54-480c-866c-64260ceb4949" providerId="ADAL" clId="{6384D003-2B9C-4703-BBC3-6469E285D43F}" dt="2025-03-20T10:11:09.732" v="1579"/>
          <ac:spMkLst>
            <pc:docMk/>
            <pc:sldMk cId="18779260" sldId="299"/>
            <ac:spMk id="145" creationId="{2142E2F1-ADAA-4CAA-8B15-A9264F56B010}"/>
          </ac:spMkLst>
        </pc:spChg>
        <pc:spChg chg="mod">
          <ac:chgData name="Dirk Wübben" userId="a27602df-5b54-480c-866c-64260ceb4949" providerId="ADAL" clId="{6384D003-2B9C-4703-BBC3-6469E285D43F}" dt="2025-03-20T10:11:09.732" v="1579"/>
          <ac:spMkLst>
            <pc:docMk/>
            <pc:sldMk cId="18779260" sldId="299"/>
            <ac:spMk id="146" creationId="{60575510-1BDD-4E9C-A186-5B1E13FBFEB1}"/>
          </ac:spMkLst>
        </pc:spChg>
        <pc:spChg chg="mod">
          <ac:chgData name="Dirk Wübben" userId="a27602df-5b54-480c-866c-64260ceb4949" providerId="ADAL" clId="{6384D003-2B9C-4703-BBC3-6469E285D43F}" dt="2025-03-20T10:11:09.732" v="1579"/>
          <ac:spMkLst>
            <pc:docMk/>
            <pc:sldMk cId="18779260" sldId="299"/>
            <ac:spMk id="147" creationId="{A18C0768-B8D3-43D7-9F11-F0A68EB96C20}"/>
          </ac:spMkLst>
        </pc:spChg>
        <pc:spChg chg="mod">
          <ac:chgData name="Dirk Wübben" userId="a27602df-5b54-480c-866c-64260ceb4949" providerId="ADAL" clId="{6384D003-2B9C-4703-BBC3-6469E285D43F}" dt="2025-03-20T10:11:09.732" v="1579"/>
          <ac:spMkLst>
            <pc:docMk/>
            <pc:sldMk cId="18779260" sldId="299"/>
            <ac:spMk id="148" creationId="{A7CED433-BCF0-4427-B350-CA8ADF04948A}"/>
          </ac:spMkLst>
        </pc:spChg>
        <pc:spChg chg="mod">
          <ac:chgData name="Dirk Wübben" userId="a27602df-5b54-480c-866c-64260ceb4949" providerId="ADAL" clId="{6384D003-2B9C-4703-BBC3-6469E285D43F}" dt="2025-03-20T10:11:09.732" v="1579"/>
          <ac:spMkLst>
            <pc:docMk/>
            <pc:sldMk cId="18779260" sldId="299"/>
            <ac:spMk id="149" creationId="{760E695F-77A9-484E-9F34-EB3446A3F0D0}"/>
          </ac:spMkLst>
        </pc:spChg>
        <pc:spChg chg="mod">
          <ac:chgData name="Dirk Wübben" userId="a27602df-5b54-480c-866c-64260ceb4949" providerId="ADAL" clId="{6384D003-2B9C-4703-BBC3-6469E285D43F}" dt="2025-03-20T10:11:09.732" v="1579"/>
          <ac:spMkLst>
            <pc:docMk/>
            <pc:sldMk cId="18779260" sldId="299"/>
            <ac:spMk id="150" creationId="{3B0C72A8-84CB-445F-97B4-7ADBF8B4821D}"/>
          </ac:spMkLst>
        </pc:spChg>
        <pc:spChg chg="mod">
          <ac:chgData name="Dirk Wübben" userId="a27602df-5b54-480c-866c-64260ceb4949" providerId="ADAL" clId="{6384D003-2B9C-4703-BBC3-6469E285D43F}" dt="2025-03-20T10:11:09.732" v="1579"/>
          <ac:spMkLst>
            <pc:docMk/>
            <pc:sldMk cId="18779260" sldId="299"/>
            <ac:spMk id="151" creationId="{004E2615-5BC3-4606-A06B-2216AEF70561}"/>
          </ac:spMkLst>
        </pc:spChg>
        <pc:spChg chg="mod">
          <ac:chgData name="Dirk Wübben" userId="a27602df-5b54-480c-866c-64260ceb4949" providerId="ADAL" clId="{6384D003-2B9C-4703-BBC3-6469E285D43F}" dt="2025-03-20T10:11:09.732" v="1579"/>
          <ac:spMkLst>
            <pc:docMk/>
            <pc:sldMk cId="18779260" sldId="299"/>
            <ac:spMk id="152" creationId="{AA18746E-958A-4AC0-9DE1-7631D0918CA8}"/>
          </ac:spMkLst>
        </pc:spChg>
        <pc:spChg chg="mod">
          <ac:chgData name="Dirk Wübben" userId="a27602df-5b54-480c-866c-64260ceb4949" providerId="ADAL" clId="{6384D003-2B9C-4703-BBC3-6469E285D43F}" dt="2025-03-20T10:11:09.732" v="1579"/>
          <ac:spMkLst>
            <pc:docMk/>
            <pc:sldMk cId="18779260" sldId="299"/>
            <ac:spMk id="153" creationId="{5C750CDE-A970-4EDE-A129-214171C6C79B}"/>
          </ac:spMkLst>
        </pc:spChg>
        <pc:spChg chg="mod">
          <ac:chgData name="Dirk Wübben" userId="a27602df-5b54-480c-866c-64260ceb4949" providerId="ADAL" clId="{6384D003-2B9C-4703-BBC3-6469E285D43F}" dt="2025-03-20T10:11:09.732" v="1579"/>
          <ac:spMkLst>
            <pc:docMk/>
            <pc:sldMk cId="18779260" sldId="299"/>
            <ac:spMk id="154" creationId="{5D0381E1-113F-4A15-A34B-D6A5C8EB60EA}"/>
          </ac:spMkLst>
        </pc:spChg>
        <pc:spChg chg="mod">
          <ac:chgData name="Dirk Wübben" userId="a27602df-5b54-480c-866c-64260ceb4949" providerId="ADAL" clId="{6384D003-2B9C-4703-BBC3-6469E285D43F}" dt="2025-03-20T10:11:09.732" v="1579"/>
          <ac:spMkLst>
            <pc:docMk/>
            <pc:sldMk cId="18779260" sldId="299"/>
            <ac:spMk id="155" creationId="{5EAAB14A-DBAB-471F-A198-EFD80E296C3C}"/>
          </ac:spMkLst>
        </pc:spChg>
        <pc:spChg chg="mod">
          <ac:chgData name="Dirk Wübben" userId="a27602df-5b54-480c-866c-64260ceb4949" providerId="ADAL" clId="{6384D003-2B9C-4703-BBC3-6469E285D43F}" dt="2025-03-20T10:11:09.732" v="1579"/>
          <ac:spMkLst>
            <pc:docMk/>
            <pc:sldMk cId="18779260" sldId="299"/>
            <ac:spMk id="156" creationId="{50461AC4-DB86-49A0-B36F-B3D29DAD63B8}"/>
          </ac:spMkLst>
        </pc:spChg>
        <pc:spChg chg="mod">
          <ac:chgData name="Dirk Wübben" userId="a27602df-5b54-480c-866c-64260ceb4949" providerId="ADAL" clId="{6384D003-2B9C-4703-BBC3-6469E285D43F}" dt="2025-03-20T11:42:37.653" v="1832" actId="1035"/>
          <ac:spMkLst>
            <pc:docMk/>
            <pc:sldMk cId="18779260" sldId="299"/>
            <ac:spMk id="157" creationId="{2AB41571-3F1A-4944-8451-3662048A31D0}"/>
          </ac:spMkLst>
        </pc:spChg>
        <pc:spChg chg="mod">
          <ac:chgData name="Dirk Wübben" userId="a27602df-5b54-480c-866c-64260ceb4949" providerId="ADAL" clId="{6384D003-2B9C-4703-BBC3-6469E285D43F}" dt="2025-03-20T10:11:09.732" v="1579"/>
          <ac:spMkLst>
            <pc:docMk/>
            <pc:sldMk cId="18779260" sldId="299"/>
            <ac:spMk id="158" creationId="{DAE98CE3-7355-46C0-B775-E0E710690F7B}"/>
          </ac:spMkLst>
        </pc:spChg>
        <pc:spChg chg="mod">
          <ac:chgData name="Dirk Wübben" userId="a27602df-5b54-480c-866c-64260ceb4949" providerId="ADAL" clId="{6384D003-2B9C-4703-BBC3-6469E285D43F}" dt="2025-03-20T10:11:09.732" v="1579"/>
          <ac:spMkLst>
            <pc:docMk/>
            <pc:sldMk cId="18779260" sldId="299"/>
            <ac:spMk id="159" creationId="{F26630E8-C19B-44C7-9E98-5BDF2AF9F69F}"/>
          </ac:spMkLst>
        </pc:spChg>
        <pc:spChg chg="mod">
          <ac:chgData name="Dirk Wübben" userId="a27602df-5b54-480c-866c-64260ceb4949" providerId="ADAL" clId="{6384D003-2B9C-4703-BBC3-6469E285D43F}" dt="2025-03-20T10:11:09.732" v="1579"/>
          <ac:spMkLst>
            <pc:docMk/>
            <pc:sldMk cId="18779260" sldId="299"/>
            <ac:spMk id="160" creationId="{72344F6A-EE32-47D5-B938-96CD478DE02C}"/>
          </ac:spMkLst>
        </pc:spChg>
        <pc:spChg chg="mod">
          <ac:chgData name="Dirk Wübben" userId="a27602df-5b54-480c-866c-64260ceb4949" providerId="ADAL" clId="{6384D003-2B9C-4703-BBC3-6469E285D43F}" dt="2025-03-20T10:11:09.732" v="1579"/>
          <ac:spMkLst>
            <pc:docMk/>
            <pc:sldMk cId="18779260" sldId="299"/>
            <ac:spMk id="161" creationId="{28597F71-CAA1-4E65-918D-D908F4FBE535}"/>
          </ac:spMkLst>
        </pc:spChg>
        <pc:spChg chg="mod">
          <ac:chgData name="Dirk Wübben" userId="a27602df-5b54-480c-866c-64260ceb4949" providerId="ADAL" clId="{6384D003-2B9C-4703-BBC3-6469E285D43F}" dt="2025-03-20T10:11:09.732" v="1579"/>
          <ac:spMkLst>
            <pc:docMk/>
            <pc:sldMk cId="18779260" sldId="299"/>
            <ac:spMk id="162" creationId="{5BB62ECD-B5AB-4CA5-8BEF-5CDCF8AAEF31}"/>
          </ac:spMkLst>
        </pc:spChg>
        <pc:spChg chg="mod">
          <ac:chgData name="Dirk Wübben" userId="a27602df-5b54-480c-866c-64260ceb4949" providerId="ADAL" clId="{6384D003-2B9C-4703-BBC3-6469E285D43F}" dt="2025-03-20T10:11:09.732" v="1579"/>
          <ac:spMkLst>
            <pc:docMk/>
            <pc:sldMk cId="18779260" sldId="299"/>
            <ac:spMk id="163" creationId="{DB7652D1-A38E-4995-AFED-9743A2074762}"/>
          </ac:spMkLst>
        </pc:spChg>
        <pc:spChg chg="mod">
          <ac:chgData name="Dirk Wübben" userId="a27602df-5b54-480c-866c-64260ceb4949" providerId="ADAL" clId="{6384D003-2B9C-4703-BBC3-6469E285D43F}" dt="2025-03-20T10:11:09.732" v="1579"/>
          <ac:spMkLst>
            <pc:docMk/>
            <pc:sldMk cId="18779260" sldId="299"/>
            <ac:spMk id="164" creationId="{943B2B1B-087F-4F8F-BA3A-251CCA429887}"/>
          </ac:spMkLst>
        </pc:spChg>
        <pc:spChg chg="mod">
          <ac:chgData name="Dirk Wübben" userId="a27602df-5b54-480c-866c-64260ceb4949" providerId="ADAL" clId="{6384D003-2B9C-4703-BBC3-6469E285D43F}" dt="2025-03-20T10:11:09.732" v="1579"/>
          <ac:spMkLst>
            <pc:docMk/>
            <pc:sldMk cId="18779260" sldId="299"/>
            <ac:spMk id="165" creationId="{266569B4-1391-4302-A96E-03856EF201A7}"/>
          </ac:spMkLst>
        </pc:spChg>
        <pc:spChg chg="mod">
          <ac:chgData name="Dirk Wübben" userId="a27602df-5b54-480c-866c-64260ceb4949" providerId="ADAL" clId="{6384D003-2B9C-4703-BBC3-6469E285D43F}" dt="2025-03-20T10:11:09.732" v="1579"/>
          <ac:spMkLst>
            <pc:docMk/>
            <pc:sldMk cId="18779260" sldId="299"/>
            <ac:spMk id="166" creationId="{6A71980F-B81F-4576-9B0E-1370A8F857CA}"/>
          </ac:spMkLst>
        </pc:spChg>
        <pc:spChg chg="mod">
          <ac:chgData name="Dirk Wübben" userId="a27602df-5b54-480c-866c-64260ceb4949" providerId="ADAL" clId="{6384D003-2B9C-4703-BBC3-6469E285D43F}" dt="2025-03-20T10:11:09.732" v="1579"/>
          <ac:spMkLst>
            <pc:docMk/>
            <pc:sldMk cId="18779260" sldId="299"/>
            <ac:spMk id="168" creationId="{91C7B5DF-B61D-468F-9107-1252A63954C5}"/>
          </ac:spMkLst>
        </pc:spChg>
        <pc:spChg chg="mod">
          <ac:chgData name="Dirk Wübben" userId="a27602df-5b54-480c-866c-64260ceb4949" providerId="ADAL" clId="{6384D003-2B9C-4703-BBC3-6469E285D43F}" dt="2025-03-20T10:11:09.732" v="1579"/>
          <ac:spMkLst>
            <pc:docMk/>
            <pc:sldMk cId="18779260" sldId="299"/>
            <ac:spMk id="169" creationId="{9BA885C5-8E8D-40FA-AEAC-FEE8A2E8FA85}"/>
          </ac:spMkLst>
        </pc:spChg>
        <pc:spChg chg="mod">
          <ac:chgData name="Dirk Wübben" userId="a27602df-5b54-480c-866c-64260ceb4949" providerId="ADAL" clId="{6384D003-2B9C-4703-BBC3-6469E285D43F}" dt="2025-03-20T10:11:09.732" v="1579"/>
          <ac:spMkLst>
            <pc:docMk/>
            <pc:sldMk cId="18779260" sldId="299"/>
            <ac:spMk id="170" creationId="{730E7AEC-3123-4390-8E04-85D150719CB3}"/>
          </ac:spMkLst>
        </pc:spChg>
        <pc:spChg chg="mod">
          <ac:chgData name="Dirk Wübben" userId="a27602df-5b54-480c-866c-64260ceb4949" providerId="ADAL" clId="{6384D003-2B9C-4703-BBC3-6469E285D43F}" dt="2025-03-20T10:11:09.732" v="1579"/>
          <ac:spMkLst>
            <pc:docMk/>
            <pc:sldMk cId="18779260" sldId="299"/>
            <ac:spMk id="171" creationId="{47FD4529-D91B-41E1-AC23-91CFD07294DE}"/>
          </ac:spMkLst>
        </pc:spChg>
        <pc:spChg chg="mod">
          <ac:chgData name="Dirk Wübben" userId="a27602df-5b54-480c-866c-64260ceb4949" providerId="ADAL" clId="{6384D003-2B9C-4703-BBC3-6469E285D43F}" dt="2025-03-20T10:11:09.732" v="1579"/>
          <ac:spMkLst>
            <pc:docMk/>
            <pc:sldMk cId="18779260" sldId="299"/>
            <ac:spMk id="172" creationId="{A8161F35-1371-4FDD-80F4-A39743CB793C}"/>
          </ac:spMkLst>
        </pc:spChg>
        <pc:spChg chg="mod">
          <ac:chgData name="Dirk Wübben" userId="a27602df-5b54-480c-866c-64260ceb4949" providerId="ADAL" clId="{6384D003-2B9C-4703-BBC3-6469E285D43F}" dt="2025-03-20T10:11:09.732" v="1579"/>
          <ac:spMkLst>
            <pc:docMk/>
            <pc:sldMk cId="18779260" sldId="299"/>
            <ac:spMk id="173" creationId="{042D9494-CCFA-4B94-B2CC-4F94550CF75E}"/>
          </ac:spMkLst>
        </pc:spChg>
        <pc:spChg chg="mod">
          <ac:chgData name="Dirk Wübben" userId="a27602df-5b54-480c-866c-64260ceb4949" providerId="ADAL" clId="{6384D003-2B9C-4703-BBC3-6469E285D43F}" dt="2025-03-20T10:11:09.732" v="1579"/>
          <ac:spMkLst>
            <pc:docMk/>
            <pc:sldMk cId="18779260" sldId="299"/>
            <ac:spMk id="174" creationId="{2D8E2F8C-B15D-4DD5-A6B1-636C382C8BB1}"/>
          </ac:spMkLst>
        </pc:spChg>
        <pc:spChg chg="add mod">
          <ac:chgData name="Dirk Wübben" userId="a27602df-5b54-480c-866c-64260ceb4949" providerId="ADAL" clId="{6384D003-2B9C-4703-BBC3-6469E285D43F}" dt="2025-03-20T10:11:09.732" v="1579"/>
          <ac:spMkLst>
            <pc:docMk/>
            <pc:sldMk cId="18779260" sldId="299"/>
            <ac:spMk id="177" creationId="{D2DA4255-B8FC-4813-BE5D-BC73A3AB8A4E}"/>
          </ac:spMkLst>
        </pc:spChg>
        <pc:spChg chg="mod">
          <ac:chgData name="Dirk Wübben" userId="a27602df-5b54-480c-866c-64260ceb4949" providerId="ADAL" clId="{6384D003-2B9C-4703-BBC3-6469E285D43F}" dt="2025-03-20T10:11:09.732" v="1579"/>
          <ac:spMkLst>
            <pc:docMk/>
            <pc:sldMk cId="18779260" sldId="299"/>
            <ac:spMk id="179" creationId="{EFB250E9-8718-4C73-BCDA-1A1B41A1FB02}"/>
          </ac:spMkLst>
        </pc:spChg>
        <pc:grpChg chg="mod">
          <ac:chgData name="Dirk Wübben" userId="a27602df-5b54-480c-866c-64260ceb4949" providerId="ADAL" clId="{6384D003-2B9C-4703-BBC3-6469E285D43F}" dt="2025-03-20T10:11:09.732" v="1579"/>
          <ac:grpSpMkLst>
            <pc:docMk/>
            <pc:sldMk cId="18779260" sldId="299"/>
            <ac:grpSpMk id="15" creationId="{FDD22C5A-1457-42E1-9419-33F79A8A2BC9}"/>
          </ac:grpSpMkLst>
        </pc:grpChg>
        <pc:grpChg chg="mod">
          <ac:chgData name="Dirk Wübben" userId="a27602df-5b54-480c-866c-64260ceb4949" providerId="ADAL" clId="{6384D003-2B9C-4703-BBC3-6469E285D43F}" dt="2025-03-20T10:11:09.732" v="1579"/>
          <ac:grpSpMkLst>
            <pc:docMk/>
            <pc:sldMk cId="18779260" sldId="299"/>
            <ac:grpSpMk id="44" creationId="{49F664DD-6EFF-45FF-BC20-EEE3A31B4612}"/>
          </ac:grpSpMkLst>
        </pc:grpChg>
        <pc:grpChg chg="mod">
          <ac:chgData name="Dirk Wübben" userId="a27602df-5b54-480c-866c-64260ceb4949" providerId="ADAL" clId="{6384D003-2B9C-4703-BBC3-6469E285D43F}" dt="2025-03-20T10:11:09.732" v="1579"/>
          <ac:grpSpMkLst>
            <pc:docMk/>
            <pc:sldMk cId="18779260" sldId="299"/>
            <ac:grpSpMk id="50" creationId="{C6F9BAEF-A730-4897-B173-206B0E698959}"/>
          </ac:grpSpMkLst>
        </pc:grpChg>
        <pc:grpChg chg="mod">
          <ac:chgData name="Dirk Wübben" userId="a27602df-5b54-480c-866c-64260ceb4949" providerId="ADAL" clId="{6384D003-2B9C-4703-BBC3-6469E285D43F}" dt="2025-03-20T10:11:09.732" v="1579"/>
          <ac:grpSpMkLst>
            <pc:docMk/>
            <pc:sldMk cId="18779260" sldId="299"/>
            <ac:grpSpMk id="56" creationId="{322052C9-D77F-46B8-B873-CC5A8664F29E}"/>
          </ac:grpSpMkLst>
        </pc:grpChg>
        <pc:grpChg chg="mod">
          <ac:chgData name="Dirk Wübben" userId="a27602df-5b54-480c-866c-64260ceb4949" providerId="ADAL" clId="{6384D003-2B9C-4703-BBC3-6469E285D43F}" dt="2025-03-20T10:11:09.732" v="1579"/>
          <ac:grpSpMkLst>
            <pc:docMk/>
            <pc:sldMk cId="18779260" sldId="299"/>
            <ac:grpSpMk id="61" creationId="{8558332E-981E-47F4-89FF-9A36AA210083}"/>
          </ac:grpSpMkLst>
        </pc:grpChg>
        <pc:grpChg chg="mod">
          <ac:chgData name="Dirk Wübben" userId="a27602df-5b54-480c-866c-64260ceb4949" providerId="ADAL" clId="{6384D003-2B9C-4703-BBC3-6469E285D43F}" dt="2025-03-20T10:11:09.732" v="1579"/>
          <ac:grpSpMkLst>
            <pc:docMk/>
            <pc:sldMk cId="18779260" sldId="299"/>
            <ac:grpSpMk id="64" creationId="{D6298CA3-950B-442E-8256-D69BF14452F5}"/>
          </ac:grpSpMkLst>
        </pc:grpChg>
        <pc:grpChg chg="mod">
          <ac:chgData name="Dirk Wübben" userId="a27602df-5b54-480c-866c-64260ceb4949" providerId="ADAL" clId="{6384D003-2B9C-4703-BBC3-6469E285D43F}" dt="2025-03-20T10:11:09.732" v="1579"/>
          <ac:grpSpMkLst>
            <pc:docMk/>
            <pc:sldMk cId="18779260" sldId="299"/>
            <ac:grpSpMk id="65" creationId="{D3A9BE4E-BA81-4C2A-BC93-56588E8285C2}"/>
          </ac:grpSpMkLst>
        </pc:grpChg>
        <pc:grpChg chg="mod">
          <ac:chgData name="Dirk Wübben" userId="a27602df-5b54-480c-866c-64260ceb4949" providerId="ADAL" clId="{6384D003-2B9C-4703-BBC3-6469E285D43F}" dt="2025-03-20T10:11:09.732" v="1579"/>
          <ac:grpSpMkLst>
            <pc:docMk/>
            <pc:sldMk cId="18779260" sldId="299"/>
            <ac:grpSpMk id="68" creationId="{AADCDD2D-1031-49B9-977A-5601830C11A5}"/>
          </ac:grpSpMkLst>
        </pc:grpChg>
        <pc:grpChg chg="mod">
          <ac:chgData name="Dirk Wübben" userId="a27602df-5b54-480c-866c-64260ceb4949" providerId="ADAL" clId="{6384D003-2B9C-4703-BBC3-6469E285D43F}" dt="2025-03-20T10:11:09.732" v="1579"/>
          <ac:grpSpMkLst>
            <pc:docMk/>
            <pc:sldMk cId="18779260" sldId="299"/>
            <ac:grpSpMk id="71" creationId="{FE025347-7CF9-4288-BD73-A93543CFF811}"/>
          </ac:grpSpMkLst>
        </pc:grpChg>
        <pc:grpChg chg="mod">
          <ac:chgData name="Dirk Wübben" userId="a27602df-5b54-480c-866c-64260ceb4949" providerId="ADAL" clId="{6384D003-2B9C-4703-BBC3-6469E285D43F}" dt="2025-03-20T10:11:09.732" v="1579"/>
          <ac:grpSpMkLst>
            <pc:docMk/>
            <pc:sldMk cId="18779260" sldId="299"/>
            <ac:grpSpMk id="117" creationId="{F119AA45-5DA2-4575-B9B3-19921EAD1BD3}"/>
          </ac:grpSpMkLst>
        </pc:grpChg>
        <pc:grpChg chg="mod">
          <ac:chgData name="Dirk Wübben" userId="a27602df-5b54-480c-866c-64260ceb4949" providerId="ADAL" clId="{6384D003-2B9C-4703-BBC3-6469E285D43F}" dt="2025-03-20T10:11:09.732" v="1579"/>
          <ac:grpSpMkLst>
            <pc:docMk/>
            <pc:sldMk cId="18779260" sldId="299"/>
            <ac:grpSpMk id="125" creationId="{76484DB5-CD9D-4ECA-B28C-8A8519EFEB22}"/>
          </ac:grpSpMkLst>
        </pc:grpChg>
        <pc:grpChg chg="mod">
          <ac:chgData name="Dirk Wübben" userId="a27602df-5b54-480c-866c-64260ceb4949" providerId="ADAL" clId="{6384D003-2B9C-4703-BBC3-6469E285D43F}" dt="2025-03-20T10:11:09.732" v="1579"/>
          <ac:grpSpMkLst>
            <pc:docMk/>
            <pc:sldMk cId="18779260" sldId="299"/>
            <ac:grpSpMk id="133" creationId="{41200680-50CB-4242-B4E9-69FF630D9F80}"/>
          </ac:grpSpMkLst>
        </pc:grpChg>
        <pc:grpChg chg="mod">
          <ac:chgData name="Dirk Wübben" userId="a27602df-5b54-480c-866c-64260ceb4949" providerId="ADAL" clId="{6384D003-2B9C-4703-BBC3-6469E285D43F}" dt="2025-03-20T10:11:09.732" v="1579"/>
          <ac:grpSpMkLst>
            <pc:docMk/>
            <pc:sldMk cId="18779260" sldId="299"/>
            <ac:grpSpMk id="143" creationId="{F568E026-0478-412B-9A8C-CE784D53D855}"/>
          </ac:grpSpMkLst>
        </pc:grpChg>
        <pc:grpChg chg="mod">
          <ac:chgData name="Dirk Wübben" userId="a27602df-5b54-480c-866c-64260ceb4949" providerId="ADAL" clId="{6384D003-2B9C-4703-BBC3-6469E285D43F}" dt="2025-03-20T10:11:09.732" v="1579"/>
          <ac:grpSpMkLst>
            <pc:docMk/>
            <pc:sldMk cId="18779260" sldId="299"/>
            <ac:grpSpMk id="144" creationId="{B30DB7C5-BC7F-4733-AFC4-287E32BF309A}"/>
          </ac:grpSpMkLst>
        </pc:grpChg>
        <pc:grpChg chg="mod">
          <ac:chgData name="Dirk Wübben" userId="a27602df-5b54-480c-866c-64260ceb4949" providerId="ADAL" clId="{6384D003-2B9C-4703-BBC3-6469E285D43F}" dt="2025-03-20T10:11:09.732" v="1579"/>
          <ac:grpSpMkLst>
            <pc:docMk/>
            <pc:sldMk cId="18779260" sldId="299"/>
            <ac:grpSpMk id="167" creationId="{7187D6E7-EF1F-465D-B8C6-F7E7B3F63D76}"/>
          </ac:grpSpMkLst>
        </pc:grpChg>
        <pc:picChg chg="mod">
          <ac:chgData name="Dirk Wübben" userId="a27602df-5b54-480c-866c-64260ceb4949" providerId="ADAL" clId="{6384D003-2B9C-4703-BBC3-6469E285D43F}" dt="2025-03-20T10:11:09.732" v="1579"/>
          <ac:picMkLst>
            <pc:docMk/>
            <pc:sldMk cId="18779260" sldId="299"/>
            <ac:picMk id="175" creationId="{989C481F-3EF5-4D36-A53A-10B47FECA216}"/>
          </ac:picMkLst>
        </pc:picChg>
        <pc:picChg chg="mod">
          <ac:chgData name="Dirk Wübben" userId="a27602df-5b54-480c-866c-64260ceb4949" providerId="ADAL" clId="{6384D003-2B9C-4703-BBC3-6469E285D43F}" dt="2025-03-20T10:11:09.732" v="1579"/>
          <ac:picMkLst>
            <pc:docMk/>
            <pc:sldMk cId="18779260" sldId="299"/>
            <ac:picMk id="176" creationId="{3C6761EC-5F34-4CB7-9E7A-3F0A2CD6091D}"/>
          </ac:picMkLst>
        </pc:picChg>
      </pc:sldChg>
      <pc:sldChg chg="modSp add del mod ord modTransition chgLayout">
        <pc:chgData name="Dirk Wübben" userId="a27602df-5b54-480c-866c-64260ceb4949" providerId="ADAL" clId="{6384D003-2B9C-4703-BBC3-6469E285D43F}" dt="2025-03-28T08:57:03.174" v="4311" actId="47"/>
        <pc:sldMkLst>
          <pc:docMk/>
          <pc:sldMk cId="2744747132" sldId="311"/>
        </pc:sldMkLst>
      </pc:sldChg>
      <pc:sldChg chg="addSp delSp modSp add mod modTransition modClrScheme chgLayout">
        <pc:chgData name="Dirk Wübben" userId="a27602df-5b54-480c-866c-64260ceb4949" providerId="ADAL" clId="{6384D003-2B9C-4703-BBC3-6469E285D43F}" dt="2025-03-28T07:48:09.876" v="2993"/>
        <pc:sldMkLst>
          <pc:docMk/>
          <pc:sldMk cId="4023978940" sldId="390"/>
        </pc:sldMkLst>
        <pc:spChg chg="add mod">
          <ac:chgData name="Dirk Wübben" userId="a27602df-5b54-480c-866c-64260ceb4949" providerId="ADAL" clId="{6384D003-2B9C-4703-BBC3-6469E285D43F}" dt="2025-03-24T17:44:22.306" v="2286" actId="6549"/>
          <ac:spMkLst>
            <pc:docMk/>
            <pc:sldMk cId="4023978940" sldId="390"/>
            <ac:spMk id="12" creationId="{81A4D76B-5D49-4488-9A17-536617689615}"/>
          </ac:spMkLst>
        </pc:spChg>
        <pc:spChg chg="add mod">
          <ac:chgData name="Dirk Wübben" userId="a27602df-5b54-480c-866c-64260ceb4949" providerId="ADAL" clId="{6384D003-2B9C-4703-BBC3-6469E285D43F}" dt="2025-03-20T10:11:09.732" v="1579"/>
          <ac:spMkLst>
            <pc:docMk/>
            <pc:sldMk cId="4023978940" sldId="390"/>
            <ac:spMk id="13" creationId="{7EF8DC10-D925-4902-9A39-85D83319E9F9}"/>
          </ac:spMkLst>
        </pc:spChg>
        <pc:spChg chg="add mod">
          <ac:chgData name="Dirk Wübben" userId="a27602df-5b54-480c-866c-64260ceb4949" providerId="ADAL" clId="{6384D003-2B9C-4703-BBC3-6469E285D43F}" dt="2025-03-20T10:11:09.732" v="1579"/>
          <ac:spMkLst>
            <pc:docMk/>
            <pc:sldMk cId="4023978940" sldId="390"/>
            <ac:spMk id="14" creationId="{7104968A-DC0A-4B32-AAAF-DFB25375AA36}"/>
          </ac:spMkLst>
        </pc:spChg>
        <pc:spChg chg="mod topLvl">
          <ac:chgData name="Dirk Wübben" userId="a27602df-5b54-480c-866c-64260ceb4949" providerId="ADAL" clId="{6384D003-2B9C-4703-BBC3-6469E285D43F}" dt="2025-03-20T10:11:09.732" v="1579"/>
          <ac:spMkLst>
            <pc:docMk/>
            <pc:sldMk cId="4023978940" sldId="390"/>
            <ac:spMk id="48" creationId="{EF156EDE-8C8F-4094-8F2C-404D2B948886}"/>
          </ac:spMkLst>
        </pc:spChg>
        <pc:spChg chg="mod topLvl">
          <ac:chgData name="Dirk Wübben" userId="a27602df-5b54-480c-866c-64260ceb4949" providerId="ADAL" clId="{6384D003-2B9C-4703-BBC3-6469E285D43F}" dt="2025-03-20T10:11:09.732" v="1579"/>
          <ac:spMkLst>
            <pc:docMk/>
            <pc:sldMk cId="4023978940" sldId="390"/>
            <ac:spMk id="96" creationId="{5829F2BE-F87E-4E82-8768-A76037D0AF84}"/>
          </ac:spMkLst>
        </pc:spChg>
        <pc:spChg chg="mod topLvl">
          <ac:chgData name="Dirk Wübben" userId="a27602df-5b54-480c-866c-64260ceb4949" providerId="ADAL" clId="{6384D003-2B9C-4703-BBC3-6469E285D43F}" dt="2025-03-26T07:22:37.550" v="2693" actId="20577"/>
          <ac:spMkLst>
            <pc:docMk/>
            <pc:sldMk cId="4023978940" sldId="390"/>
            <ac:spMk id="97" creationId="{1D518802-8292-4801-B1FF-CEDD616C13EB}"/>
          </ac:spMkLst>
        </pc:spChg>
        <pc:spChg chg="mod topLvl">
          <ac:chgData name="Dirk Wübben" userId="a27602df-5b54-480c-866c-64260ceb4949" providerId="ADAL" clId="{6384D003-2B9C-4703-BBC3-6469E285D43F}" dt="2025-03-26T07:22:31.452" v="2691" actId="20577"/>
          <ac:spMkLst>
            <pc:docMk/>
            <pc:sldMk cId="4023978940" sldId="390"/>
            <ac:spMk id="98" creationId="{E4ADD9C6-DB88-4035-9062-0AE6C6ADF80E}"/>
          </ac:spMkLst>
        </pc:spChg>
        <pc:spChg chg="mod topLvl">
          <ac:chgData name="Dirk Wübben" userId="a27602df-5b54-480c-866c-64260ceb4949" providerId="ADAL" clId="{6384D003-2B9C-4703-BBC3-6469E285D43F}" dt="2025-03-20T10:11:09.732" v="1579"/>
          <ac:spMkLst>
            <pc:docMk/>
            <pc:sldMk cId="4023978940" sldId="390"/>
            <ac:spMk id="100" creationId="{E80C310C-1110-433A-92C4-A70C08B75AC4}"/>
          </ac:spMkLst>
        </pc:spChg>
        <pc:spChg chg="mod topLvl">
          <ac:chgData name="Dirk Wübben" userId="a27602df-5b54-480c-866c-64260ceb4949" providerId="ADAL" clId="{6384D003-2B9C-4703-BBC3-6469E285D43F}" dt="2025-03-20T10:11:09.732" v="1579"/>
          <ac:spMkLst>
            <pc:docMk/>
            <pc:sldMk cId="4023978940" sldId="390"/>
            <ac:spMk id="101" creationId="{92A738FC-13DB-490A-81E7-99CB30BF3C78}"/>
          </ac:spMkLst>
        </pc:spChg>
        <pc:spChg chg="mod">
          <ac:chgData name="Dirk Wübben" userId="a27602df-5b54-480c-866c-64260ceb4949" providerId="ADAL" clId="{6384D003-2B9C-4703-BBC3-6469E285D43F}" dt="2025-03-20T10:11:09.732" v="1579"/>
          <ac:spMkLst>
            <pc:docMk/>
            <pc:sldMk cId="4023978940" sldId="390"/>
            <ac:spMk id="104" creationId="{481E0D79-7989-4888-9E05-6238CB733465}"/>
          </ac:spMkLst>
        </pc:spChg>
        <pc:spChg chg="mod">
          <ac:chgData name="Dirk Wübben" userId="a27602df-5b54-480c-866c-64260ceb4949" providerId="ADAL" clId="{6384D003-2B9C-4703-BBC3-6469E285D43F}" dt="2025-03-20T10:11:09.732" v="1579"/>
          <ac:spMkLst>
            <pc:docMk/>
            <pc:sldMk cId="4023978940" sldId="390"/>
            <ac:spMk id="105" creationId="{BD8E1C22-B23D-440B-A007-F6F137796D5E}"/>
          </ac:spMkLst>
        </pc:spChg>
        <pc:spChg chg="mod">
          <ac:chgData name="Dirk Wübben" userId="a27602df-5b54-480c-866c-64260ceb4949" providerId="ADAL" clId="{6384D003-2B9C-4703-BBC3-6469E285D43F}" dt="2025-03-20T10:11:09.732" v="1579"/>
          <ac:spMkLst>
            <pc:docMk/>
            <pc:sldMk cId="4023978940" sldId="390"/>
            <ac:spMk id="107" creationId="{2D382DB5-191B-4FD1-883F-CFF541B3E6E1}"/>
          </ac:spMkLst>
        </pc:spChg>
        <pc:spChg chg="mod">
          <ac:chgData name="Dirk Wübben" userId="a27602df-5b54-480c-866c-64260ceb4949" providerId="ADAL" clId="{6384D003-2B9C-4703-BBC3-6469E285D43F}" dt="2025-03-20T10:11:09.732" v="1579"/>
          <ac:spMkLst>
            <pc:docMk/>
            <pc:sldMk cId="4023978940" sldId="390"/>
            <ac:spMk id="108" creationId="{B0F319AE-2FB2-426C-9A36-66D58F724660}"/>
          </ac:spMkLst>
        </pc:spChg>
        <pc:spChg chg="mod">
          <ac:chgData name="Dirk Wübben" userId="a27602df-5b54-480c-866c-64260ceb4949" providerId="ADAL" clId="{6384D003-2B9C-4703-BBC3-6469E285D43F}" dt="2025-03-20T10:11:09.732" v="1579"/>
          <ac:spMkLst>
            <pc:docMk/>
            <pc:sldMk cId="4023978940" sldId="390"/>
            <ac:spMk id="109" creationId="{407F0284-4E48-4F57-906A-BC657764C450}"/>
          </ac:spMkLst>
        </pc:spChg>
        <pc:spChg chg="mod">
          <ac:chgData name="Dirk Wübben" userId="a27602df-5b54-480c-866c-64260ceb4949" providerId="ADAL" clId="{6384D003-2B9C-4703-BBC3-6469E285D43F}" dt="2025-03-20T10:11:09.732" v="1579"/>
          <ac:spMkLst>
            <pc:docMk/>
            <pc:sldMk cId="4023978940" sldId="390"/>
            <ac:spMk id="110" creationId="{ECFBD340-CAD1-4947-8E06-C552A4B38ABB}"/>
          </ac:spMkLst>
        </pc:spChg>
        <pc:spChg chg="mod">
          <ac:chgData name="Dirk Wübben" userId="a27602df-5b54-480c-866c-64260ceb4949" providerId="ADAL" clId="{6384D003-2B9C-4703-BBC3-6469E285D43F}" dt="2025-03-20T10:11:09.732" v="1579"/>
          <ac:spMkLst>
            <pc:docMk/>
            <pc:sldMk cId="4023978940" sldId="390"/>
            <ac:spMk id="111" creationId="{710E82D4-7344-4E54-9B23-23F998DAA092}"/>
          </ac:spMkLst>
        </pc:spChg>
        <pc:spChg chg="mod">
          <ac:chgData name="Dirk Wübben" userId="a27602df-5b54-480c-866c-64260ceb4949" providerId="ADAL" clId="{6384D003-2B9C-4703-BBC3-6469E285D43F}" dt="2025-03-20T10:11:09.732" v="1579"/>
          <ac:spMkLst>
            <pc:docMk/>
            <pc:sldMk cId="4023978940" sldId="390"/>
            <ac:spMk id="112" creationId="{F86FA827-B7C0-494C-BA72-0DDF1A5568B1}"/>
          </ac:spMkLst>
        </pc:spChg>
        <pc:spChg chg="mod">
          <ac:chgData name="Dirk Wübben" userId="a27602df-5b54-480c-866c-64260ceb4949" providerId="ADAL" clId="{6384D003-2B9C-4703-BBC3-6469E285D43F}" dt="2025-03-20T10:11:09.732" v="1579"/>
          <ac:spMkLst>
            <pc:docMk/>
            <pc:sldMk cId="4023978940" sldId="390"/>
            <ac:spMk id="113" creationId="{844D140F-78ED-45AF-9266-224E17A1298C}"/>
          </ac:spMkLst>
        </pc:spChg>
        <pc:spChg chg="mod">
          <ac:chgData name="Dirk Wübben" userId="a27602df-5b54-480c-866c-64260ceb4949" providerId="ADAL" clId="{6384D003-2B9C-4703-BBC3-6469E285D43F}" dt="2025-03-20T10:11:09.732" v="1579"/>
          <ac:spMkLst>
            <pc:docMk/>
            <pc:sldMk cId="4023978940" sldId="390"/>
            <ac:spMk id="114" creationId="{80297C24-989E-4260-B14A-2D15505C7F8D}"/>
          </ac:spMkLst>
        </pc:spChg>
        <pc:spChg chg="mod">
          <ac:chgData name="Dirk Wübben" userId="a27602df-5b54-480c-866c-64260ceb4949" providerId="ADAL" clId="{6384D003-2B9C-4703-BBC3-6469E285D43F}" dt="2025-03-20T10:11:09.732" v="1579"/>
          <ac:spMkLst>
            <pc:docMk/>
            <pc:sldMk cId="4023978940" sldId="390"/>
            <ac:spMk id="115" creationId="{AC00B55A-223B-4111-BF1F-66894B1DB9B8}"/>
          </ac:spMkLst>
        </pc:spChg>
        <pc:spChg chg="mod">
          <ac:chgData name="Dirk Wübben" userId="a27602df-5b54-480c-866c-64260ceb4949" providerId="ADAL" clId="{6384D003-2B9C-4703-BBC3-6469E285D43F}" dt="2025-03-20T10:11:09.732" v="1579"/>
          <ac:spMkLst>
            <pc:docMk/>
            <pc:sldMk cId="4023978940" sldId="390"/>
            <ac:spMk id="116" creationId="{D4F7DCA7-EBB5-44F1-8133-AF327E1880DC}"/>
          </ac:spMkLst>
        </pc:spChg>
        <pc:spChg chg="mod">
          <ac:chgData name="Dirk Wübben" userId="a27602df-5b54-480c-866c-64260ceb4949" providerId="ADAL" clId="{6384D003-2B9C-4703-BBC3-6469E285D43F}" dt="2025-03-20T10:11:09.732" v="1579"/>
          <ac:spMkLst>
            <pc:docMk/>
            <pc:sldMk cId="4023978940" sldId="390"/>
            <ac:spMk id="119" creationId="{2087BA3E-98EB-4CE3-BD4B-B44800CC6623}"/>
          </ac:spMkLst>
        </pc:spChg>
        <pc:spChg chg="mod">
          <ac:chgData name="Dirk Wübben" userId="a27602df-5b54-480c-866c-64260ceb4949" providerId="ADAL" clId="{6384D003-2B9C-4703-BBC3-6469E285D43F}" dt="2025-03-20T10:11:09.732" v="1579"/>
          <ac:spMkLst>
            <pc:docMk/>
            <pc:sldMk cId="4023978940" sldId="390"/>
            <ac:spMk id="120" creationId="{8695F563-340F-4DBE-80EB-0C9D19AB51AC}"/>
          </ac:spMkLst>
        </pc:spChg>
        <pc:spChg chg="mod">
          <ac:chgData name="Dirk Wübben" userId="a27602df-5b54-480c-866c-64260ceb4949" providerId="ADAL" clId="{6384D003-2B9C-4703-BBC3-6469E285D43F}" dt="2025-03-20T10:11:09.732" v="1579"/>
          <ac:spMkLst>
            <pc:docMk/>
            <pc:sldMk cId="4023978940" sldId="390"/>
            <ac:spMk id="121" creationId="{8ED72BF5-05F1-4C5A-B456-2EC23020D52D}"/>
          </ac:spMkLst>
        </pc:spChg>
        <pc:spChg chg="mod">
          <ac:chgData name="Dirk Wübben" userId="a27602df-5b54-480c-866c-64260ceb4949" providerId="ADAL" clId="{6384D003-2B9C-4703-BBC3-6469E285D43F}" dt="2025-03-20T10:11:09.732" v="1579"/>
          <ac:spMkLst>
            <pc:docMk/>
            <pc:sldMk cId="4023978940" sldId="390"/>
            <ac:spMk id="122" creationId="{F30F4CCC-3835-448C-B65A-988AB619B676}"/>
          </ac:spMkLst>
        </pc:spChg>
        <pc:spChg chg="add mod">
          <ac:chgData name="Dirk Wübben" userId="a27602df-5b54-480c-866c-64260ceb4949" providerId="ADAL" clId="{6384D003-2B9C-4703-BBC3-6469E285D43F}" dt="2025-03-20T10:11:09.732" v="1579"/>
          <ac:spMkLst>
            <pc:docMk/>
            <pc:sldMk cId="4023978940" sldId="390"/>
            <ac:spMk id="123" creationId="{4F1F5C1B-7D34-49B2-B7C5-2FEC4DC48252}"/>
          </ac:spMkLst>
        </pc:spChg>
        <pc:spChg chg="add mod">
          <ac:chgData name="Dirk Wübben" userId="a27602df-5b54-480c-866c-64260ceb4949" providerId="ADAL" clId="{6384D003-2B9C-4703-BBC3-6469E285D43F}" dt="2025-03-26T07:03:37.819" v="2587" actId="20577"/>
          <ac:spMkLst>
            <pc:docMk/>
            <pc:sldMk cId="4023978940" sldId="390"/>
            <ac:spMk id="124" creationId="{B83E3A8F-B2AF-430A-9C0A-A57B0FC99389}"/>
          </ac:spMkLst>
        </pc:spChg>
        <pc:spChg chg="add mod">
          <ac:chgData name="Dirk Wübben" userId="a27602df-5b54-480c-866c-64260ceb4949" providerId="ADAL" clId="{6384D003-2B9C-4703-BBC3-6469E285D43F}" dt="2025-03-26T07:02:58.167" v="2586" actId="207"/>
          <ac:spMkLst>
            <pc:docMk/>
            <pc:sldMk cId="4023978940" sldId="390"/>
            <ac:spMk id="127" creationId="{0D4D30B0-91F1-477C-B9FE-A7A26E76B1E5}"/>
          </ac:spMkLst>
        </pc:spChg>
        <pc:spChg chg="add mod">
          <ac:chgData name="Dirk Wübben" userId="a27602df-5b54-480c-866c-64260ceb4949" providerId="ADAL" clId="{6384D003-2B9C-4703-BBC3-6469E285D43F}" dt="2025-03-26T07:02:58.167" v="2586" actId="207"/>
          <ac:spMkLst>
            <pc:docMk/>
            <pc:sldMk cId="4023978940" sldId="390"/>
            <ac:spMk id="128" creationId="{13191AE0-5D1C-4E10-B09A-EC10A4260DC3}"/>
          </ac:spMkLst>
        </pc:spChg>
        <pc:spChg chg="add mod">
          <ac:chgData name="Dirk Wübben" userId="a27602df-5b54-480c-866c-64260ceb4949" providerId="ADAL" clId="{6384D003-2B9C-4703-BBC3-6469E285D43F}" dt="2025-03-26T07:02:58.167" v="2586" actId="207"/>
          <ac:spMkLst>
            <pc:docMk/>
            <pc:sldMk cId="4023978940" sldId="390"/>
            <ac:spMk id="129" creationId="{F617311F-24B6-4AF6-9F2F-0D71D0D1FEAA}"/>
          </ac:spMkLst>
        </pc:spChg>
        <pc:spChg chg="add mod">
          <ac:chgData name="Dirk Wübben" userId="a27602df-5b54-480c-866c-64260ceb4949" providerId="ADAL" clId="{6384D003-2B9C-4703-BBC3-6469E285D43F}" dt="2025-03-26T07:02:58.167" v="2586" actId="207"/>
          <ac:spMkLst>
            <pc:docMk/>
            <pc:sldMk cId="4023978940" sldId="390"/>
            <ac:spMk id="130" creationId="{283F29FD-DFD0-4859-968C-0D821304A356}"/>
          </ac:spMkLst>
        </pc:spChg>
        <pc:spChg chg="add mod">
          <ac:chgData name="Dirk Wübben" userId="a27602df-5b54-480c-866c-64260ceb4949" providerId="ADAL" clId="{6384D003-2B9C-4703-BBC3-6469E285D43F}" dt="2025-03-26T07:02:58.167" v="2586" actId="207"/>
          <ac:spMkLst>
            <pc:docMk/>
            <pc:sldMk cId="4023978940" sldId="390"/>
            <ac:spMk id="131" creationId="{841F6E44-759A-438E-B6BD-CAE0C234A435}"/>
          </ac:spMkLst>
        </pc:spChg>
        <pc:spChg chg="add mod">
          <ac:chgData name="Dirk Wübben" userId="a27602df-5b54-480c-866c-64260ceb4949" providerId="ADAL" clId="{6384D003-2B9C-4703-BBC3-6469E285D43F}" dt="2025-03-26T07:02:58.167" v="2586" actId="207"/>
          <ac:spMkLst>
            <pc:docMk/>
            <pc:sldMk cId="4023978940" sldId="390"/>
            <ac:spMk id="132" creationId="{5A144F9C-C009-46CB-BF49-D805EA150185}"/>
          </ac:spMkLst>
        </pc:spChg>
        <pc:grpChg chg="mod topLvl">
          <ac:chgData name="Dirk Wübben" userId="a27602df-5b54-480c-866c-64260ceb4949" providerId="ADAL" clId="{6384D003-2B9C-4703-BBC3-6469E285D43F}" dt="2025-03-20T10:11:09.732" v="1579"/>
          <ac:grpSpMkLst>
            <pc:docMk/>
            <pc:sldMk cId="4023978940" sldId="390"/>
            <ac:grpSpMk id="62" creationId="{DE4AE8F2-819B-4D97-8F02-121110ECC19F}"/>
          </ac:grpSpMkLst>
        </pc:grpChg>
        <pc:grpChg chg="mod topLvl">
          <ac:chgData name="Dirk Wübben" userId="a27602df-5b54-480c-866c-64260ceb4949" providerId="ADAL" clId="{6384D003-2B9C-4703-BBC3-6469E285D43F}" dt="2025-03-20T10:11:09.732" v="1579"/>
          <ac:grpSpMkLst>
            <pc:docMk/>
            <pc:sldMk cId="4023978940" sldId="390"/>
            <ac:grpSpMk id="63" creationId="{ABA8F433-8281-4901-B6CF-7AF3E0602FF4}"/>
          </ac:grpSpMkLst>
        </pc:grpChg>
        <pc:grpChg chg="mod topLvl">
          <ac:chgData name="Dirk Wübben" userId="a27602df-5b54-480c-866c-64260ceb4949" providerId="ADAL" clId="{6384D003-2B9C-4703-BBC3-6469E285D43F}" dt="2025-03-20T10:11:09.732" v="1579"/>
          <ac:grpSpMkLst>
            <pc:docMk/>
            <pc:sldMk cId="4023978940" sldId="390"/>
            <ac:grpSpMk id="64" creationId="{C085EF20-D4A2-4AD5-B02D-7D3E31D5C992}"/>
          </ac:grpSpMkLst>
        </pc:grpChg>
        <pc:grpChg chg="mod">
          <ac:chgData name="Dirk Wübben" userId="a27602df-5b54-480c-866c-64260ceb4949" providerId="ADAL" clId="{6384D003-2B9C-4703-BBC3-6469E285D43F}" dt="2025-03-20T10:11:09.732" v="1579"/>
          <ac:grpSpMkLst>
            <pc:docMk/>
            <pc:sldMk cId="4023978940" sldId="390"/>
            <ac:grpSpMk id="106" creationId="{D7A64AE0-F3A9-4E5A-8F32-422867294AF4}"/>
          </ac:grpSpMkLst>
        </pc:grpChg>
        <pc:grpChg chg="mod">
          <ac:chgData name="Dirk Wübben" userId="a27602df-5b54-480c-866c-64260ceb4949" providerId="ADAL" clId="{6384D003-2B9C-4703-BBC3-6469E285D43F}" dt="2025-03-20T10:11:09.732" v="1579"/>
          <ac:grpSpMkLst>
            <pc:docMk/>
            <pc:sldMk cId="4023978940" sldId="390"/>
            <ac:grpSpMk id="118" creationId="{6E36CC2B-25C8-4E01-B151-248EBC6DF0DC}"/>
          </ac:grpSpMkLst>
        </pc:grpChg>
        <pc:picChg chg="mod topLvl">
          <ac:chgData name="Dirk Wübben" userId="a27602df-5b54-480c-866c-64260ceb4949" providerId="ADAL" clId="{6384D003-2B9C-4703-BBC3-6469E285D43F}" dt="2025-03-20T10:11:09.732" v="1579"/>
          <ac:picMkLst>
            <pc:docMk/>
            <pc:sldMk cId="4023978940" sldId="390"/>
            <ac:picMk id="49" creationId="{A04759B6-B241-4430-891D-A79D6E8F4974}"/>
          </ac:picMkLst>
        </pc:picChg>
        <pc:picChg chg="add mod">
          <ac:chgData name="Dirk Wübben" userId="a27602df-5b54-480c-866c-64260ceb4949" providerId="ADAL" clId="{6384D003-2B9C-4703-BBC3-6469E285D43F}" dt="2025-03-24T17:42:57.024" v="2254" actId="14100"/>
          <ac:picMkLst>
            <pc:docMk/>
            <pc:sldMk cId="4023978940" sldId="390"/>
            <ac:picMk id="50" creationId="{9DF35788-55C7-4AEE-9962-6172F71D2917}"/>
          </ac:picMkLst>
        </pc:picChg>
        <pc:picChg chg="mod topLvl">
          <ac:chgData name="Dirk Wübben" userId="a27602df-5b54-480c-866c-64260ceb4949" providerId="ADAL" clId="{6384D003-2B9C-4703-BBC3-6469E285D43F}" dt="2025-03-20T10:11:09.732" v="1579"/>
          <ac:picMkLst>
            <pc:docMk/>
            <pc:sldMk cId="4023978940" sldId="390"/>
            <ac:picMk id="61" creationId="{3DA8645B-B61A-4B7B-8FF2-F313EBAD5D08}"/>
          </ac:picMkLst>
        </pc:picChg>
        <pc:picChg chg="mod topLvl">
          <ac:chgData name="Dirk Wübben" userId="a27602df-5b54-480c-866c-64260ceb4949" providerId="ADAL" clId="{6384D003-2B9C-4703-BBC3-6469E285D43F}" dt="2025-03-20T10:11:09.732" v="1579"/>
          <ac:picMkLst>
            <pc:docMk/>
            <pc:sldMk cId="4023978940" sldId="390"/>
            <ac:picMk id="94" creationId="{5D5A496B-9496-44CE-A21B-389F46162E86}"/>
          </ac:picMkLst>
        </pc:picChg>
        <pc:picChg chg="mod topLvl">
          <ac:chgData name="Dirk Wübben" userId="a27602df-5b54-480c-866c-64260ceb4949" providerId="ADAL" clId="{6384D003-2B9C-4703-BBC3-6469E285D43F}" dt="2025-03-20T10:11:09.732" v="1579"/>
          <ac:picMkLst>
            <pc:docMk/>
            <pc:sldMk cId="4023978940" sldId="390"/>
            <ac:picMk id="102" creationId="{624FC1FE-5C08-4F6E-B04D-C0C11314E7EF}"/>
          </ac:picMkLst>
        </pc:picChg>
        <pc:picChg chg="mod topLvl">
          <ac:chgData name="Dirk Wübben" userId="a27602df-5b54-480c-866c-64260ceb4949" providerId="ADAL" clId="{6384D003-2B9C-4703-BBC3-6469E285D43F}" dt="2025-03-20T10:11:09.732" v="1579"/>
          <ac:picMkLst>
            <pc:docMk/>
            <pc:sldMk cId="4023978940" sldId="390"/>
            <ac:picMk id="103" creationId="{B9A6215A-B854-4458-9F92-56D32D5EA59B}"/>
          </ac:picMkLst>
        </pc:picChg>
        <pc:picChg chg="mod">
          <ac:chgData name="Dirk Wübben" userId="a27602df-5b54-480c-866c-64260ceb4949" providerId="ADAL" clId="{6384D003-2B9C-4703-BBC3-6469E285D43F}" dt="2025-03-20T10:11:09.732" v="1579"/>
          <ac:picMkLst>
            <pc:docMk/>
            <pc:sldMk cId="4023978940" sldId="390"/>
            <ac:picMk id="117" creationId="{B88816C3-CE0D-4BF7-9676-CC93A815981E}"/>
          </ac:picMkLst>
        </pc:picChg>
        <pc:cxnChg chg="mod topLvl">
          <ac:chgData name="Dirk Wübben" userId="a27602df-5b54-480c-866c-64260ceb4949" providerId="ADAL" clId="{6384D003-2B9C-4703-BBC3-6469E285D43F}" dt="2025-03-20T10:11:09.732" v="1579"/>
          <ac:cxnSpMkLst>
            <pc:docMk/>
            <pc:sldMk cId="4023978940" sldId="390"/>
            <ac:cxnSpMk id="65" creationId="{E03D7AFC-3B76-4B19-8A6A-F77574B0B627}"/>
          </ac:cxnSpMkLst>
        </pc:cxnChg>
        <pc:cxnChg chg="mod topLvl">
          <ac:chgData name="Dirk Wübben" userId="a27602df-5b54-480c-866c-64260ceb4949" providerId="ADAL" clId="{6384D003-2B9C-4703-BBC3-6469E285D43F}" dt="2025-03-20T10:11:09.732" v="1579"/>
          <ac:cxnSpMkLst>
            <pc:docMk/>
            <pc:sldMk cId="4023978940" sldId="390"/>
            <ac:cxnSpMk id="66" creationId="{272455E0-5385-42CF-8195-B4712AEF9D74}"/>
          </ac:cxnSpMkLst>
        </pc:cxnChg>
        <pc:cxnChg chg="mod topLvl">
          <ac:chgData name="Dirk Wübben" userId="a27602df-5b54-480c-866c-64260ceb4949" providerId="ADAL" clId="{6384D003-2B9C-4703-BBC3-6469E285D43F}" dt="2025-03-20T10:11:09.732" v="1579"/>
          <ac:cxnSpMkLst>
            <pc:docMk/>
            <pc:sldMk cId="4023978940" sldId="390"/>
            <ac:cxnSpMk id="67" creationId="{27882E01-E184-4CF7-B2C2-D96C68CF41B8}"/>
          </ac:cxnSpMkLst>
        </pc:cxnChg>
        <pc:cxnChg chg="mod topLvl">
          <ac:chgData name="Dirk Wübben" userId="a27602df-5b54-480c-866c-64260ceb4949" providerId="ADAL" clId="{6384D003-2B9C-4703-BBC3-6469E285D43F}" dt="2025-03-20T10:11:09.732" v="1579"/>
          <ac:cxnSpMkLst>
            <pc:docMk/>
            <pc:sldMk cId="4023978940" sldId="390"/>
            <ac:cxnSpMk id="68" creationId="{1D4E4D45-D01E-43B4-BCBD-1E3CAE1D2186}"/>
          </ac:cxnSpMkLst>
        </pc:cxnChg>
      </pc:sldChg>
      <pc:sldChg chg="del">
        <pc:chgData name="Dirk Wübben" userId="a27602df-5b54-480c-866c-64260ceb4949" providerId="ADAL" clId="{6384D003-2B9C-4703-BBC3-6469E285D43F}" dt="2025-03-05T10:35:12.232" v="1" actId="47"/>
        <pc:sldMkLst>
          <pc:docMk/>
          <pc:sldMk cId="2277072009" sldId="409"/>
        </pc:sldMkLst>
      </pc:sldChg>
      <pc:sldChg chg="del">
        <pc:chgData name="Dirk Wübben" userId="a27602df-5b54-480c-866c-64260ceb4949" providerId="ADAL" clId="{6384D003-2B9C-4703-BBC3-6469E285D43F}" dt="2025-03-05T10:35:12.232" v="1" actId="47"/>
        <pc:sldMkLst>
          <pc:docMk/>
          <pc:sldMk cId="1903714414" sldId="416"/>
        </pc:sldMkLst>
      </pc:sldChg>
      <pc:sldChg chg="add del">
        <pc:chgData name="Dirk Wübben" userId="a27602df-5b54-480c-866c-64260ceb4949" providerId="ADAL" clId="{6384D003-2B9C-4703-BBC3-6469E285D43F}" dt="2025-03-20T09:01:33.498" v="1075"/>
        <pc:sldMkLst>
          <pc:docMk/>
          <pc:sldMk cId="3428888925" sldId="3881"/>
        </pc:sldMkLst>
      </pc:sldChg>
      <pc:sldChg chg="modSp mod modTransition">
        <pc:chgData name="Dirk Wübben" userId="a27602df-5b54-480c-866c-64260ceb4949" providerId="ADAL" clId="{6384D003-2B9C-4703-BBC3-6469E285D43F}" dt="2025-03-28T17:30:15.373" v="4762" actId="1035"/>
        <pc:sldMkLst>
          <pc:docMk/>
          <pc:sldMk cId="3162997244" sldId="2147375812"/>
        </pc:sldMkLst>
        <pc:spChg chg="mod">
          <ac:chgData name="Dirk Wübben" userId="a27602df-5b54-480c-866c-64260ceb4949" providerId="ADAL" clId="{6384D003-2B9C-4703-BBC3-6469E285D43F}" dt="2025-03-28T17:30:15.373" v="4762" actId="1035"/>
          <ac:spMkLst>
            <pc:docMk/>
            <pc:sldMk cId="3162997244" sldId="2147375812"/>
            <ac:spMk id="4" creationId="{41FCF3AD-47E7-ADB4-9B7E-6DBDFD145B95}"/>
          </ac:spMkLst>
        </pc:spChg>
        <pc:spChg chg="mod">
          <ac:chgData name="Dirk Wübben" userId="a27602df-5b54-480c-866c-64260ceb4949" providerId="ADAL" clId="{6384D003-2B9C-4703-BBC3-6469E285D43F}" dt="2025-03-28T17:30:15.373" v="4762" actId="1035"/>
          <ac:spMkLst>
            <pc:docMk/>
            <pc:sldMk cId="3162997244" sldId="2147375812"/>
            <ac:spMk id="9" creationId="{01384094-B263-E254-01B7-194CC6B0213E}"/>
          </ac:spMkLst>
        </pc:spChg>
        <pc:spChg chg="mod">
          <ac:chgData name="Dirk Wübben" userId="a27602df-5b54-480c-866c-64260ceb4949" providerId="ADAL" clId="{6384D003-2B9C-4703-BBC3-6469E285D43F}" dt="2025-03-28T17:30:15.373" v="4762" actId="1035"/>
          <ac:spMkLst>
            <pc:docMk/>
            <pc:sldMk cId="3162997244" sldId="2147375812"/>
            <ac:spMk id="10" creationId="{311628EE-46CD-7AFF-3EF2-17FF132A65DD}"/>
          </ac:spMkLst>
        </pc:spChg>
        <pc:spChg chg="mod">
          <ac:chgData name="Dirk Wübben" userId="a27602df-5b54-480c-866c-64260ceb4949" providerId="ADAL" clId="{6384D003-2B9C-4703-BBC3-6469E285D43F}" dt="2025-03-28T17:30:15.373" v="4762" actId="1035"/>
          <ac:spMkLst>
            <pc:docMk/>
            <pc:sldMk cId="3162997244" sldId="2147375812"/>
            <ac:spMk id="12" creationId="{DAAE7A1D-2CD6-F031-C19F-AF3F8E843732}"/>
          </ac:spMkLst>
        </pc:spChg>
        <pc:spChg chg="mod">
          <ac:chgData name="Dirk Wübben" userId="a27602df-5b54-480c-866c-64260ceb4949" providerId="ADAL" clId="{6384D003-2B9C-4703-BBC3-6469E285D43F}" dt="2025-03-28T17:30:15.373" v="4762" actId="1035"/>
          <ac:spMkLst>
            <pc:docMk/>
            <pc:sldMk cId="3162997244" sldId="2147375812"/>
            <ac:spMk id="13" creationId="{5993EE92-F2C2-453D-BE85-3BE80B558F72}"/>
          </ac:spMkLst>
        </pc:spChg>
        <pc:spChg chg="mod">
          <ac:chgData name="Dirk Wübben" userId="a27602df-5b54-480c-866c-64260ceb4949" providerId="ADAL" clId="{6384D003-2B9C-4703-BBC3-6469E285D43F}" dt="2025-03-28T17:30:15.373" v="4762" actId="1035"/>
          <ac:spMkLst>
            <pc:docMk/>
            <pc:sldMk cId="3162997244" sldId="2147375812"/>
            <ac:spMk id="14" creationId="{8C114293-1E02-4936-BC2A-AEB9C8337901}"/>
          </ac:spMkLst>
        </pc:spChg>
        <pc:spChg chg="mod">
          <ac:chgData name="Dirk Wübben" userId="a27602df-5b54-480c-866c-64260ceb4949" providerId="ADAL" clId="{6384D003-2B9C-4703-BBC3-6469E285D43F}" dt="2025-03-28T17:30:15.373" v="4762" actId="1035"/>
          <ac:spMkLst>
            <pc:docMk/>
            <pc:sldMk cId="3162997244" sldId="2147375812"/>
            <ac:spMk id="15" creationId="{B6ACC6E4-7D13-46A7-B9C2-9EAF3ECE7334}"/>
          </ac:spMkLst>
        </pc:spChg>
        <pc:spChg chg="mod">
          <ac:chgData name="Dirk Wübben" userId="a27602df-5b54-480c-866c-64260ceb4949" providerId="ADAL" clId="{6384D003-2B9C-4703-BBC3-6469E285D43F}" dt="2025-03-28T17:30:15.373" v="4762" actId="1035"/>
          <ac:spMkLst>
            <pc:docMk/>
            <pc:sldMk cId="3162997244" sldId="2147375812"/>
            <ac:spMk id="16" creationId="{0C9E7D30-948D-4585-9434-860EC0B1706C}"/>
          </ac:spMkLst>
        </pc:spChg>
        <pc:spChg chg="mod">
          <ac:chgData name="Dirk Wübben" userId="a27602df-5b54-480c-866c-64260ceb4949" providerId="ADAL" clId="{6384D003-2B9C-4703-BBC3-6469E285D43F}" dt="2025-03-28T17:30:15.373" v="4762" actId="1035"/>
          <ac:spMkLst>
            <pc:docMk/>
            <pc:sldMk cId="3162997244" sldId="2147375812"/>
            <ac:spMk id="17" creationId="{131F402D-43CF-4732-A776-745C347CF7B7}"/>
          </ac:spMkLst>
        </pc:spChg>
        <pc:spChg chg="mod">
          <ac:chgData name="Dirk Wübben" userId="a27602df-5b54-480c-866c-64260ceb4949" providerId="ADAL" clId="{6384D003-2B9C-4703-BBC3-6469E285D43F}" dt="2025-03-28T17:30:15.373" v="4762" actId="1035"/>
          <ac:spMkLst>
            <pc:docMk/>
            <pc:sldMk cId="3162997244" sldId="2147375812"/>
            <ac:spMk id="18" creationId="{2CCB23B1-80FF-493C-9770-70499CE2D13C}"/>
          </ac:spMkLst>
        </pc:spChg>
        <pc:spChg chg="mod">
          <ac:chgData name="Dirk Wübben" userId="a27602df-5b54-480c-866c-64260ceb4949" providerId="ADAL" clId="{6384D003-2B9C-4703-BBC3-6469E285D43F}" dt="2025-03-28T17:30:15.373" v="4762" actId="1035"/>
          <ac:spMkLst>
            <pc:docMk/>
            <pc:sldMk cId="3162997244" sldId="2147375812"/>
            <ac:spMk id="19" creationId="{C1C5D55D-45E1-4AD8-9CE8-48B68F00BB62}"/>
          </ac:spMkLst>
        </pc:spChg>
        <pc:spChg chg="mod">
          <ac:chgData name="Dirk Wübben" userId="a27602df-5b54-480c-866c-64260ceb4949" providerId="ADAL" clId="{6384D003-2B9C-4703-BBC3-6469E285D43F}" dt="2025-03-28T17:30:15.373" v="4762" actId="1035"/>
          <ac:spMkLst>
            <pc:docMk/>
            <pc:sldMk cId="3162997244" sldId="2147375812"/>
            <ac:spMk id="20" creationId="{AE4A48C3-4543-452E-A606-344C1132A75B}"/>
          </ac:spMkLst>
        </pc:spChg>
        <pc:spChg chg="mod">
          <ac:chgData name="Dirk Wübben" userId="a27602df-5b54-480c-866c-64260ceb4949" providerId="ADAL" clId="{6384D003-2B9C-4703-BBC3-6469E285D43F}" dt="2025-03-28T17:30:15.373" v="4762" actId="1035"/>
          <ac:spMkLst>
            <pc:docMk/>
            <pc:sldMk cId="3162997244" sldId="2147375812"/>
            <ac:spMk id="21" creationId="{08F2AE45-8728-4F32-8E8D-5F1C3BDE9458}"/>
          </ac:spMkLst>
        </pc:spChg>
        <pc:spChg chg="mod">
          <ac:chgData name="Dirk Wübben" userId="a27602df-5b54-480c-866c-64260ceb4949" providerId="ADAL" clId="{6384D003-2B9C-4703-BBC3-6469E285D43F}" dt="2025-03-28T17:30:15.373" v="4762" actId="1035"/>
          <ac:spMkLst>
            <pc:docMk/>
            <pc:sldMk cId="3162997244" sldId="2147375812"/>
            <ac:spMk id="22" creationId="{1A4F6687-7B3D-4598-95F2-9F9E3E27E843}"/>
          </ac:spMkLst>
        </pc:spChg>
        <pc:spChg chg="mod">
          <ac:chgData name="Dirk Wübben" userId="a27602df-5b54-480c-866c-64260ceb4949" providerId="ADAL" clId="{6384D003-2B9C-4703-BBC3-6469E285D43F}" dt="2025-03-28T17:30:15.373" v="4762" actId="1035"/>
          <ac:spMkLst>
            <pc:docMk/>
            <pc:sldMk cId="3162997244" sldId="2147375812"/>
            <ac:spMk id="23" creationId="{2510A3FD-BC98-481C-8D87-887921C231AF}"/>
          </ac:spMkLst>
        </pc:spChg>
        <pc:spChg chg="mod">
          <ac:chgData name="Dirk Wübben" userId="a27602df-5b54-480c-866c-64260ceb4949" providerId="ADAL" clId="{6384D003-2B9C-4703-BBC3-6469E285D43F}" dt="2025-03-28T17:30:15.373" v="4762" actId="1035"/>
          <ac:spMkLst>
            <pc:docMk/>
            <pc:sldMk cId="3162997244" sldId="2147375812"/>
            <ac:spMk id="24" creationId="{51EEA3C3-020E-4FF2-88C6-3A60EF3B5681}"/>
          </ac:spMkLst>
        </pc:spChg>
        <pc:spChg chg="mod">
          <ac:chgData name="Dirk Wübben" userId="a27602df-5b54-480c-866c-64260ceb4949" providerId="ADAL" clId="{6384D003-2B9C-4703-BBC3-6469E285D43F}" dt="2025-03-28T17:30:15.373" v="4762" actId="1035"/>
          <ac:spMkLst>
            <pc:docMk/>
            <pc:sldMk cId="3162997244" sldId="2147375812"/>
            <ac:spMk id="25" creationId="{AEC4421C-774E-4152-9ABF-3F7AA6010E25}"/>
          </ac:spMkLst>
        </pc:spChg>
        <pc:spChg chg="mod">
          <ac:chgData name="Dirk Wübben" userId="a27602df-5b54-480c-866c-64260ceb4949" providerId="ADAL" clId="{6384D003-2B9C-4703-BBC3-6469E285D43F}" dt="2025-03-28T17:30:15.373" v="4762" actId="1035"/>
          <ac:spMkLst>
            <pc:docMk/>
            <pc:sldMk cId="3162997244" sldId="2147375812"/>
            <ac:spMk id="28" creationId="{154AF600-B822-2B84-A5D5-84837CBC025B}"/>
          </ac:spMkLst>
        </pc:spChg>
        <pc:spChg chg="mod">
          <ac:chgData name="Dirk Wübben" userId="a27602df-5b54-480c-866c-64260ceb4949" providerId="ADAL" clId="{6384D003-2B9C-4703-BBC3-6469E285D43F}" dt="2025-03-28T17:30:15.373" v="4762" actId="1035"/>
          <ac:spMkLst>
            <pc:docMk/>
            <pc:sldMk cId="3162997244" sldId="2147375812"/>
            <ac:spMk id="30" creationId="{706C7336-85C4-23DE-A59C-DE1F65337A2C}"/>
          </ac:spMkLst>
        </pc:spChg>
        <pc:spChg chg="mod">
          <ac:chgData name="Dirk Wübben" userId="a27602df-5b54-480c-866c-64260ceb4949" providerId="ADAL" clId="{6384D003-2B9C-4703-BBC3-6469E285D43F}" dt="2025-03-28T17:30:15.373" v="4762" actId="1035"/>
          <ac:spMkLst>
            <pc:docMk/>
            <pc:sldMk cId="3162997244" sldId="2147375812"/>
            <ac:spMk id="31" creationId="{EBAAD09A-8390-2561-0D87-905CEE6FEF3F}"/>
          </ac:spMkLst>
        </pc:spChg>
        <pc:spChg chg="mod">
          <ac:chgData name="Dirk Wübben" userId="a27602df-5b54-480c-866c-64260ceb4949" providerId="ADAL" clId="{6384D003-2B9C-4703-BBC3-6469E285D43F}" dt="2025-03-28T17:30:15.373" v="4762" actId="1035"/>
          <ac:spMkLst>
            <pc:docMk/>
            <pc:sldMk cId="3162997244" sldId="2147375812"/>
            <ac:spMk id="32" creationId="{CF1343AD-F36C-7203-931B-88E90FD1EB65}"/>
          </ac:spMkLst>
        </pc:spChg>
        <pc:spChg chg="mod">
          <ac:chgData name="Dirk Wübben" userId="a27602df-5b54-480c-866c-64260ceb4949" providerId="ADAL" clId="{6384D003-2B9C-4703-BBC3-6469E285D43F}" dt="2025-03-28T17:30:15.373" v="4762" actId="1035"/>
          <ac:spMkLst>
            <pc:docMk/>
            <pc:sldMk cId="3162997244" sldId="2147375812"/>
            <ac:spMk id="33" creationId="{50126628-72C9-7CE8-F281-D7C8D301F183}"/>
          </ac:spMkLst>
        </pc:spChg>
        <pc:spChg chg="mod">
          <ac:chgData name="Dirk Wübben" userId="a27602df-5b54-480c-866c-64260ceb4949" providerId="ADAL" clId="{6384D003-2B9C-4703-BBC3-6469E285D43F}" dt="2025-03-28T17:30:15.373" v="4762" actId="1035"/>
          <ac:spMkLst>
            <pc:docMk/>
            <pc:sldMk cId="3162997244" sldId="2147375812"/>
            <ac:spMk id="34" creationId="{AD4C1675-E39D-4D10-A66F-C1AE80B9C6D3}"/>
          </ac:spMkLst>
        </pc:spChg>
        <pc:spChg chg="mod">
          <ac:chgData name="Dirk Wübben" userId="a27602df-5b54-480c-866c-64260ceb4949" providerId="ADAL" clId="{6384D003-2B9C-4703-BBC3-6469E285D43F}" dt="2025-03-28T17:30:15.373" v="4762" actId="1035"/>
          <ac:spMkLst>
            <pc:docMk/>
            <pc:sldMk cId="3162997244" sldId="2147375812"/>
            <ac:spMk id="35" creationId="{5BF6BFC9-34A9-41DF-9670-8056B77E931A}"/>
          </ac:spMkLst>
        </pc:spChg>
        <pc:spChg chg="mod">
          <ac:chgData name="Dirk Wübben" userId="a27602df-5b54-480c-866c-64260ceb4949" providerId="ADAL" clId="{6384D003-2B9C-4703-BBC3-6469E285D43F}" dt="2025-03-28T17:30:15.373" v="4762" actId="1035"/>
          <ac:spMkLst>
            <pc:docMk/>
            <pc:sldMk cId="3162997244" sldId="2147375812"/>
            <ac:spMk id="36" creationId="{8D4E8DBA-0EB8-43B8-8AF2-88F158F633EA}"/>
          </ac:spMkLst>
        </pc:spChg>
        <pc:spChg chg="mod">
          <ac:chgData name="Dirk Wübben" userId="a27602df-5b54-480c-866c-64260ceb4949" providerId="ADAL" clId="{6384D003-2B9C-4703-BBC3-6469E285D43F}" dt="2025-03-28T17:30:15.373" v="4762" actId="1035"/>
          <ac:spMkLst>
            <pc:docMk/>
            <pc:sldMk cId="3162997244" sldId="2147375812"/>
            <ac:spMk id="37" creationId="{D7D1DEDE-82F7-46CF-A5B5-E2BFFEA8F921}"/>
          </ac:spMkLst>
        </pc:spChg>
        <pc:spChg chg="mod">
          <ac:chgData name="Dirk Wübben" userId="a27602df-5b54-480c-866c-64260ceb4949" providerId="ADAL" clId="{6384D003-2B9C-4703-BBC3-6469E285D43F}" dt="2025-03-28T17:30:15.373" v="4762" actId="1035"/>
          <ac:spMkLst>
            <pc:docMk/>
            <pc:sldMk cId="3162997244" sldId="2147375812"/>
            <ac:spMk id="38" creationId="{C80E5638-0059-4BD8-B22A-A1FC674DB863}"/>
          </ac:spMkLst>
        </pc:spChg>
        <pc:spChg chg="mod">
          <ac:chgData name="Dirk Wübben" userId="a27602df-5b54-480c-866c-64260ceb4949" providerId="ADAL" clId="{6384D003-2B9C-4703-BBC3-6469E285D43F}" dt="2025-03-28T17:30:15.373" v="4762" actId="1035"/>
          <ac:spMkLst>
            <pc:docMk/>
            <pc:sldMk cId="3162997244" sldId="2147375812"/>
            <ac:spMk id="39" creationId="{79A2C66D-C2B2-64A0-207D-D89B15012DC5}"/>
          </ac:spMkLst>
        </pc:spChg>
        <pc:spChg chg="mod">
          <ac:chgData name="Dirk Wübben" userId="a27602df-5b54-480c-866c-64260ceb4949" providerId="ADAL" clId="{6384D003-2B9C-4703-BBC3-6469E285D43F}" dt="2025-03-28T17:30:15.373" v="4762" actId="1035"/>
          <ac:spMkLst>
            <pc:docMk/>
            <pc:sldMk cId="3162997244" sldId="2147375812"/>
            <ac:spMk id="40" creationId="{7BDB88F5-4027-BBDF-227A-0A8476F82CFD}"/>
          </ac:spMkLst>
        </pc:spChg>
        <pc:spChg chg="mod">
          <ac:chgData name="Dirk Wübben" userId="a27602df-5b54-480c-866c-64260ceb4949" providerId="ADAL" clId="{6384D003-2B9C-4703-BBC3-6469E285D43F}" dt="2025-03-28T17:30:15.373" v="4762" actId="1035"/>
          <ac:spMkLst>
            <pc:docMk/>
            <pc:sldMk cId="3162997244" sldId="2147375812"/>
            <ac:spMk id="41" creationId="{F07F27BD-FDB5-402D-9FF3-CC2F3AE1D190}"/>
          </ac:spMkLst>
        </pc:spChg>
        <pc:spChg chg="mod">
          <ac:chgData name="Dirk Wübben" userId="a27602df-5b54-480c-866c-64260ceb4949" providerId="ADAL" clId="{6384D003-2B9C-4703-BBC3-6469E285D43F}" dt="2025-03-28T17:30:15.373" v="4762" actId="1035"/>
          <ac:spMkLst>
            <pc:docMk/>
            <pc:sldMk cId="3162997244" sldId="2147375812"/>
            <ac:spMk id="42" creationId="{24D040E5-D0EC-6F02-6956-A672A98D7C8D}"/>
          </ac:spMkLst>
        </pc:spChg>
        <pc:spChg chg="mod">
          <ac:chgData name="Dirk Wübben" userId="a27602df-5b54-480c-866c-64260ceb4949" providerId="ADAL" clId="{6384D003-2B9C-4703-BBC3-6469E285D43F}" dt="2025-03-28T17:30:15.373" v="4762" actId="1035"/>
          <ac:spMkLst>
            <pc:docMk/>
            <pc:sldMk cId="3162997244" sldId="2147375812"/>
            <ac:spMk id="43" creationId="{AE3665CF-6759-47CC-8F73-DA481893EF23}"/>
          </ac:spMkLst>
        </pc:spChg>
        <pc:spChg chg="mod">
          <ac:chgData name="Dirk Wübben" userId="a27602df-5b54-480c-866c-64260ceb4949" providerId="ADAL" clId="{6384D003-2B9C-4703-BBC3-6469E285D43F}" dt="2025-03-28T17:30:15.373" v="4762" actId="1035"/>
          <ac:spMkLst>
            <pc:docMk/>
            <pc:sldMk cId="3162997244" sldId="2147375812"/>
            <ac:spMk id="44" creationId="{582499EB-2086-456F-94C0-763780F40A3C}"/>
          </ac:spMkLst>
        </pc:spChg>
        <pc:spChg chg="mod">
          <ac:chgData name="Dirk Wübben" userId="a27602df-5b54-480c-866c-64260ceb4949" providerId="ADAL" clId="{6384D003-2B9C-4703-BBC3-6469E285D43F}" dt="2025-03-28T17:30:15.373" v="4762" actId="1035"/>
          <ac:spMkLst>
            <pc:docMk/>
            <pc:sldMk cId="3162997244" sldId="2147375812"/>
            <ac:spMk id="45" creationId="{F4518943-0C56-46DA-B418-21B08546F92C}"/>
          </ac:spMkLst>
        </pc:spChg>
        <pc:spChg chg="mod">
          <ac:chgData name="Dirk Wübben" userId="a27602df-5b54-480c-866c-64260ceb4949" providerId="ADAL" clId="{6384D003-2B9C-4703-BBC3-6469E285D43F}" dt="2025-03-28T17:30:15.373" v="4762" actId="1035"/>
          <ac:spMkLst>
            <pc:docMk/>
            <pc:sldMk cId="3162997244" sldId="2147375812"/>
            <ac:spMk id="48" creationId="{063222F6-A74B-B755-B186-8242D20958B8}"/>
          </ac:spMkLst>
        </pc:spChg>
        <pc:spChg chg="mod">
          <ac:chgData name="Dirk Wübben" userId="a27602df-5b54-480c-866c-64260ceb4949" providerId="ADAL" clId="{6384D003-2B9C-4703-BBC3-6469E285D43F}" dt="2025-03-28T17:30:15.373" v="4762" actId="1035"/>
          <ac:spMkLst>
            <pc:docMk/>
            <pc:sldMk cId="3162997244" sldId="2147375812"/>
            <ac:spMk id="50" creationId="{44DBD6F9-FF15-E86D-D670-FE060FE18496}"/>
          </ac:spMkLst>
        </pc:spChg>
        <pc:spChg chg="mod">
          <ac:chgData name="Dirk Wübben" userId="a27602df-5b54-480c-866c-64260ceb4949" providerId="ADAL" clId="{6384D003-2B9C-4703-BBC3-6469E285D43F}" dt="2025-03-28T17:30:15.373" v="4762" actId="1035"/>
          <ac:spMkLst>
            <pc:docMk/>
            <pc:sldMk cId="3162997244" sldId="2147375812"/>
            <ac:spMk id="51" creationId="{799CA65C-E27C-01AA-639D-3D89CB989C7E}"/>
          </ac:spMkLst>
        </pc:spChg>
        <pc:spChg chg="mod">
          <ac:chgData name="Dirk Wübben" userId="a27602df-5b54-480c-866c-64260ceb4949" providerId="ADAL" clId="{6384D003-2B9C-4703-BBC3-6469E285D43F}" dt="2025-03-28T17:30:15.373" v="4762" actId="1035"/>
          <ac:spMkLst>
            <pc:docMk/>
            <pc:sldMk cId="3162997244" sldId="2147375812"/>
            <ac:spMk id="53" creationId="{32C507EC-92F4-853D-991C-CF6DC129DD75}"/>
          </ac:spMkLst>
        </pc:spChg>
        <pc:spChg chg="mod">
          <ac:chgData name="Dirk Wübben" userId="a27602df-5b54-480c-866c-64260ceb4949" providerId="ADAL" clId="{6384D003-2B9C-4703-BBC3-6469E285D43F}" dt="2025-03-28T17:30:15.373" v="4762" actId="1035"/>
          <ac:spMkLst>
            <pc:docMk/>
            <pc:sldMk cId="3162997244" sldId="2147375812"/>
            <ac:spMk id="54" creationId="{29ED6CEA-60C1-4F9E-7E8A-04FE6B1D81AF}"/>
          </ac:spMkLst>
        </pc:spChg>
        <pc:spChg chg="mod">
          <ac:chgData name="Dirk Wübben" userId="a27602df-5b54-480c-866c-64260ceb4949" providerId="ADAL" clId="{6384D003-2B9C-4703-BBC3-6469E285D43F}" dt="2025-03-28T17:30:15.373" v="4762" actId="1035"/>
          <ac:spMkLst>
            <pc:docMk/>
            <pc:sldMk cId="3162997244" sldId="2147375812"/>
            <ac:spMk id="55" creationId="{B94E010A-6258-43EE-A921-8994046196DD}"/>
          </ac:spMkLst>
        </pc:spChg>
        <pc:spChg chg="mod">
          <ac:chgData name="Dirk Wübben" userId="a27602df-5b54-480c-866c-64260ceb4949" providerId="ADAL" clId="{6384D003-2B9C-4703-BBC3-6469E285D43F}" dt="2025-03-28T17:30:15.373" v="4762" actId="1035"/>
          <ac:spMkLst>
            <pc:docMk/>
            <pc:sldMk cId="3162997244" sldId="2147375812"/>
            <ac:spMk id="57" creationId="{6A71C120-9BF7-4578-B162-4180C7C40620}"/>
          </ac:spMkLst>
        </pc:spChg>
        <pc:spChg chg="mod">
          <ac:chgData name="Dirk Wübben" userId="a27602df-5b54-480c-866c-64260ceb4949" providerId="ADAL" clId="{6384D003-2B9C-4703-BBC3-6469E285D43F}" dt="2025-03-28T17:30:15.373" v="4762" actId="1035"/>
          <ac:spMkLst>
            <pc:docMk/>
            <pc:sldMk cId="3162997244" sldId="2147375812"/>
            <ac:spMk id="58" creationId="{888B7949-AE26-4802-AF6D-7BB729620AE8}"/>
          </ac:spMkLst>
        </pc:spChg>
        <pc:spChg chg="mod">
          <ac:chgData name="Dirk Wübben" userId="a27602df-5b54-480c-866c-64260ceb4949" providerId="ADAL" clId="{6384D003-2B9C-4703-BBC3-6469E285D43F}" dt="2025-03-28T17:30:15.373" v="4762" actId="1035"/>
          <ac:spMkLst>
            <pc:docMk/>
            <pc:sldMk cId="3162997244" sldId="2147375812"/>
            <ac:spMk id="59" creationId="{CA62AE82-48B4-0D4A-8BAA-87A2251368AB}"/>
          </ac:spMkLst>
        </pc:spChg>
        <pc:spChg chg="mod">
          <ac:chgData name="Dirk Wübben" userId="a27602df-5b54-480c-866c-64260ceb4949" providerId="ADAL" clId="{6384D003-2B9C-4703-BBC3-6469E285D43F}" dt="2025-03-28T17:30:15.373" v="4762" actId="1035"/>
          <ac:spMkLst>
            <pc:docMk/>
            <pc:sldMk cId="3162997244" sldId="2147375812"/>
            <ac:spMk id="61" creationId="{1422ED0B-4A4F-DD88-8D9E-BD926D4FB030}"/>
          </ac:spMkLst>
        </pc:spChg>
        <pc:spChg chg="mod">
          <ac:chgData name="Dirk Wübben" userId="a27602df-5b54-480c-866c-64260ceb4949" providerId="ADAL" clId="{6384D003-2B9C-4703-BBC3-6469E285D43F}" dt="2025-03-28T17:30:15.373" v="4762" actId="1035"/>
          <ac:spMkLst>
            <pc:docMk/>
            <pc:sldMk cId="3162997244" sldId="2147375812"/>
            <ac:spMk id="65" creationId="{A36E8286-E3CB-4BE8-B945-ECC304152618}"/>
          </ac:spMkLst>
        </pc:spChg>
        <pc:spChg chg="mod">
          <ac:chgData name="Dirk Wübben" userId="a27602df-5b54-480c-866c-64260ceb4949" providerId="ADAL" clId="{6384D003-2B9C-4703-BBC3-6469E285D43F}" dt="2025-03-28T17:30:15.373" v="4762" actId="1035"/>
          <ac:spMkLst>
            <pc:docMk/>
            <pc:sldMk cId="3162997244" sldId="2147375812"/>
            <ac:spMk id="72" creationId="{7B23B9ED-077E-438C-955B-F7000776ABAD}"/>
          </ac:spMkLst>
        </pc:spChg>
        <pc:spChg chg="mod">
          <ac:chgData name="Dirk Wübben" userId="a27602df-5b54-480c-866c-64260ceb4949" providerId="ADAL" clId="{6384D003-2B9C-4703-BBC3-6469E285D43F}" dt="2025-03-28T17:30:15.373" v="4762" actId="1035"/>
          <ac:spMkLst>
            <pc:docMk/>
            <pc:sldMk cId="3162997244" sldId="2147375812"/>
            <ac:spMk id="74" creationId="{638D5E0A-CE8A-4DB7-B00B-3E388C5F73B6}"/>
          </ac:spMkLst>
        </pc:spChg>
        <pc:grpChg chg="mod">
          <ac:chgData name="Dirk Wübben" userId="a27602df-5b54-480c-866c-64260ceb4949" providerId="ADAL" clId="{6384D003-2B9C-4703-BBC3-6469E285D43F}" dt="2025-03-28T17:30:15.373" v="4762" actId="1035"/>
          <ac:grpSpMkLst>
            <pc:docMk/>
            <pc:sldMk cId="3162997244" sldId="2147375812"/>
            <ac:grpSpMk id="11" creationId="{87EDDDCD-271C-4855-AD03-9DFA7A64EB38}"/>
          </ac:grpSpMkLst>
        </pc:grpChg>
        <pc:grpChg chg="mod">
          <ac:chgData name="Dirk Wübben" userId="a27602df-5b54-480c-866c-64260ceb4949" providerId="ADAL" clId="{6384D003-2B9C-4703-BBC3-6469E285D43F}" dt="2025-03-28T17:30:15.373" v="4762" actId="1035"/>
          <ac:grpSpMkLst>
            <pc:docMk/>
            <pc:sldMk cId="3162997244" sldId="2147375812"/>
            <ac:grpSpMk id="29" creationId="{D9BB65EF-3C4C-6B66-4D52-AA58CA643AFD}"/>
          </ac:grpSpMkLst>
        </pc:grpChg>
        <pc:grpChg chg="mod">
          <ac:chgData name="Dirk Wübben" userId="a27602df-5b54-480c-866c-64260ceb4949" providerId="ADAL" clId="{6384D003-2B9C-4703-BBC3-6469E285D43F}" dt="2025-03-28T17:30:15.373" v="4762" actId="1035"/>
          <ac:grpSpMkLst>
            <pc:docMk/>
            <pc:sldMk cId="3162997244" sldId="2147375812"/>
            <ac:grpSpMk id="46" creationId="{220C73B8-C510-4214-A7D0-112D5E707E08}"/>
          </ac:grpSpMkLst>
        </pc:grpChg>
        <pc:grpChg chg="mod">
          <ac:chgData name="Dirk Wübben" userId="a27602df-5b54-480c-866c-64260ceb4949" providerId="ADAL" clId="{6384D003-2B9C-4703-BBC3-6469E285D43F}" dt="2025-03-28T17:30:15.373" v="4762" actId="1035"/>
          <ac:grpSpMkLst>
            <pc:docMk/>
            <pc:sldMk cId="3162997244" sldId="2147375812"/>
            <ac:grpSpMk id="47" creationId="{99E16967-EB42-44BC-88D0-ED9B2EF52B58}"/>
          </ac:grpSpMkLst>
        </pc:grpChg>
        <pc:picChg chg="mod">
          <ac:chgData name="Dirk Wübben" userId="a27602df-5b54-480c-866c-64260ceb4949" providerId="ADAL" clId="{6384D003-2B9C-4703-BBC3-6469E285D43F}" dt="2025-03-28T17:30:15.373" v="4762" actId="1035"/>
          <ac:picMkLst>
            <pc:docMk/>
            <pc:sldMk cId="3162997244" sldId="2147375812"/>
            <ac:picMk id="8" creationId="{07185AB3-7966-491E-B22C-6D89C507B6DB}"/>
          </ac:picMkLst>
        </pc:picChg>
        <pc:picChg chg="mod">
          <ac:chgData name="Dirk Wübben" userId="a27602df-5b54-480c-866c-64260ceb4949" providerId="ADAL" clId="{6384D003-2B9C-4703-BBC3-6469E285D43F}" dt="2025-03-28T17:30:15.373" v="4762" actId="1035"/>
          <ac:picMkLst>
            <pc:docMk/>
            <pc:sldMk cId="3162997244" sldId="2147375812"/>
            <ac:picMk id="27" creationId="{AEF3BBB2-C441-37E1-D2E3-6D495086F5E0}"/>
          </ac:picMkLst>
        </pc:picChg>
        <pc:picChg chg="mod">
          <ac:chgData name="Dirk Wübben" userId="a27602df-5b54-480c-866c-64260ceb4949" providerId="ADAL" clId="{6384D003-2B9C-4703-BBC3-6469E285D43F}" dt="2025-03-28T17:30:15.373" v="4762" actId="1035"/>
          <ac:picMkLst>
            <pc:docMk/>
            <pc:sldMk cId="3162997244" sldId="2147375812"/>
            <ac:picMk id="60" creationId="{2E3F43C5-C5AD-4879-9C21-677061E36F2F}"/>
          </ac:picMkLst>
        </pc:picChg>
        <pc:picChg chg="mod">
          <ac:chgData name="Dirk Wübben" userId="a27602df-5b54-480c-866c-64260ceb4949" providerId="ADAL" clId="{6384D003-2B9C-4703-BBC3-6469E285D43F}" dt="2025-03-28T17:30:15.373" v="4762" actId="1035"/>
          <ac:picMkLst>
            <pc:docMk/>
            <pc:sldMk cId="3162997244" sldId="2147375812"/>
            <ac:picMk id="62" creationId="{90915A41-3945-4E94-BAF4-7D2A634A905C}"/>
          </ac:picMkLst>
        </pc:picChg>
        <pc:cxnChg chg="mod">
          <ac:chgData name="Dirk Wübben" userId="a27602df-5b54-480c-866c-64260ceb4949" providerId="ADAL" clId="{6384D003-2B9C-4703-BBC3-6469E285D43F}" dt="2025-03-28T17:30:15.373" v="4762" actId="1035"/>
          <ac:cxnSpMkLst>
            <pc:docMk/>
            <pc:sldMk cId="3162997244" sldId="2147375812"/>
            <ac:cxnSpMk id="49" creationId="{AF34AC04-0A76-4FC4-8EFD-D5A25971E59D}"/>
          </ac:cxnSpMkLst>
        </pc:cxnChg>
        <pc:cxnChg chg="mod">
          <ac:chgData name="Dirk Wübben" userId="a27602df-5b54-480c-866c-64260ceb4949" providerId="ADAL" clId="{6384D003-2B9C-4703-BBC3-6469E285D43F}" dt="2025-03-28T17:30:15.373" v="4762" actId="1035"/>
          <ac:cxnSpMkLst>
            <pc:docMk/>
            <pc:sldMk cId="3162997244" sldId="2147375812"/>
            <ac:cxnSpMk id="52" creationId="{08786443-5011-4000-9390-F44B87868CDC}"/>
          </ac:cxnSpMkLst>
        </pc:cxnChg>
        <pc:cxnChg chg="mod">
          <ac:chgData name="Dirk Wübben" userId="a27602df-5b54-480c-866c-64260ceb4949" providerId="ADAL" clId="{6384D003-2B9C-4703-BBC3-6469E285D43F}" dt="2025-03-28T17:30:15.373" v="4762" actId="1035"/>
          <ac:cxnSpMkLst>
            <pc:docMk/>
            <pc:sldMk cId="3162997244" sldId="2147375812"/>
            <ac:cxnSpMk id="63" creationId="{79178AD3-6446-20EF-AEE2-674A04E82A7F}"/>
          </ac:cxnSpMkLst>
        </pc:cxnChg>
        <pc:cxnChg chg="mod">
          <ac:chgData name="Dirk Wübben" userId="a27602df-5b54-480c-866c-64260ceb4949" providerId="ADAL" clId="{6384D003-2B9C-4703-BBC3-6469E285D43F}" dt="2025-03-28T17:30:15.373" v="4762" actId="1035"/>
          <ac:cxnSpMkLst>
            <pc:docMk/>
            <pc:sldMk cId="3162997244" sldId="2147375812"/>
            <ac:cxnSpMk id="66" creationId="{3311B80B-EB31-4AFD-B7C6-CAEFDDDD6E91}"/>
          </ac:cxnSpMkLst>
        </pc:cxnChg>
        <pc:cxnChg chg="mod">
          <ac:chgData name="Dirk Wübben" userId="a27602df-5b54-480c-866c-64260ceb4949" providerId="ADAL" clId="{6384D003-2B9C-4703-BBC3-6469E285D43F}" dt="2025-03-28T17:30:15.373" v="4762" actId="1035"/>
          <ac:cxnSpMkLst>
            <pc:docMk/>
            <pc:sldMk cId="3162997244" sldId="2147375812"/>
            <ac:cxnSpMk id="68" creationId="{FA9447CA-ED95-4A8D-944C-B0BAB467B87D}"/>
          </ac:cxnSpMkLst>
        </pc:cxnChg>
      </pc:sldChg>
      <pc:sldChg chg="del">
        <pc:chgData name="Dirk Wübben" userId="a27602df-5b54-480c-866c-64260ceb4949" providerId="ADAL" clId="{6384D003-2B9C-4703-BBC3-6469E285D43F}" dt="2025-03-05T10:35:12.232" v="1" actId="47"/>
        <pc:sldMkLst>
          <pc:docMk/>
          <pc:sldMk cId="1090833609" sldId="2147472500"/>
        </pc:sldMkLst>
      </pc:sldChg>
      <pc:sldChg chg="del">
        <pc:chgData name="Dirk Wübben" userId="a27602df-5b54-480c-866c-64260ceb4949" providerId="ADAL" clId="{6384D003-2B9C-4703-BBC3-6469E285D43F}" dt="2025-03-05T10:35:12.232" v="1" actId="47"/>
        <pc:sldMkLst>
          <pc:docMk/>
          <pc:sldMk cId="2621753809" sldId="2147472509"/>
        </pc:sldMkLst>
      </pc:sldChg>
      <pc:sldChg chg="del">
        <pc:chgData name="Dirk Wübben" userId="a27602df-5b54-480c-866c-64260ceb4949" providerId="ADAL" clId="{6384D003-2B9C-4703-BBC3-6469E285D43F}" dt="2025-03-05T10:35:12.232" v="1" actId="47"/>
        <pc:sldMkLst>
          <pc:docMk/>
          <pc:sldMk cId="2780177838" sldId="2147472511"/>
        </pc:sldMkLst>
      </pc:sldChg>
      <pc:sldChg chg="del">
        <pc:chgData name="Dirk Wübben" userId="a27602df-5b54-480c-866c-64260ceb4949" providerId="ADAL" clId="{6384D003-2B9C-4703-BBC3-6469E285D43F}" dt="2025-03-05T10:35:12.232" v="1" actId="47"/>
        <pc:sldMkLst>
          <pc:docMk/>
          <pc:sldMk cId="3495942424" sldId="2147472513"/>
        </pc:sldMkLst>
      </pc:sldChg>
      <pc:sldChg chg="del">
        <pc:chgData name="Dirk Wübben" userId="a27602df-5b54-480c-866c-64260ceb4949" providerId="ADAL" clId="{6384D003-2B9C-4703-BBC3-6469E285D43F}" dt="2025-03-05T10:35:12.232" v="1" actId="47"/>
        <pc:sldMkLst>
          <pc:docMk/>
          <pc:sldMk cId="237492012" sldId="2147472535"/>
        </pc:sldMkLst>
      </pc:sldChg>
      <pc:sldChg chg="del">
        <pc:chgData name="Dirk Wübben" userId="a27602df-5b54-480c-866c-64260ceb4949" providerId="ADAL" clId="{6384D003-2B9C-4703-BBC3-6469E285D43F}" dt="2025-03-05T10:35:17.901" v="2" actId="47"/>
        <pc:sldMkLst>
          <pc:docMk/>
          <pc:sldMk cId="4177113034" sldId="2147472550"/>
        </pc:sldMkLst>
      </pc:sldChg>
      <pc:sldChg chg="del">
        <pc:chgData name="Dirk Wübben" userId="a27602df-5b54-480c-866c-64260ceb4949" providerId="ADAL" clId="{6384D003-2B9C-4703-BBC3-6469E285D43F}" dt="2025-03-05T10:35:17.901" v="2" actId="47"/>
        <pc:sldMkLst>
          <pc:docMk/>
          <pc:sldMk cId="4196284054" sldId="2147472557"/>
        </pc:sldMkLst>
      </pc:sldChg>
      <pc:sldChg chg="del">
        <pc:chgData name="Dirk Wübben" userId="a27602df-5b54-480c-866c-64260ceb4949" providerId="ADAL" clId="{6384D003-2B9C-4703-BBC3-6469E285D43F}" dt="2025-03-05T10:35:17.901" v="2" actId="47"/>
        <pc:sldMkLst>
          <pc:docMk/>
          <pc:sldMk cId="1463133876" sldId="2147472564"/>
        </pc:sldMkLst>
      </pc:sldChg>
      <pc:sldChg chg="del">
        <pc:chgData name="Dirk Wübben" userId="a27602df-5b54-480c-866c-64260ceb4949" providerId="ADAL" clId="{6384D003-2B9C-4703-BBC3-6469E285D43F}" dt="2025-03-05T10:35:17.901" v="2" actId="47"/>
        <pc:sldMkLst>
          <pc:docMk/>
          <pc:sldMk cId="100331075" sldId="2147472569"/>
        </pc:sldMkLst>
      </pc:sldChg>
      <pc:sldChg chg="del">
        <pc:chgData name="Dirk Wübben" userId="a27602df-5b54-480c-866c-64260ceb4949" providerId="ADAL" clId="{6384D003-2B9C-4703-BBC3-6469E285D43F}" dt="2025-03-05T10:35:17.901" v="2" actId="47"/>
        <pc:sldMkLst>
          <pc:docMk/>
          <pc:sldMk cId="3757828033" sldId="2147472570"/>
        </pc:sldMkLst>
      </pc:sldChg>
      <pc:sldChg chg="del">
        <pc:chgData name="Dirk Wübben" userId="a27602df-5b54-480c-866c-64260ceb4949" providerId="ADAL" clId="{6384D003-2B9C-4703-BBC3-6469E285D43F}" dt="2025-03-05T10:35:17.901" v="2" actId="47"/>
        <pc:sldMkLst>
          <pc:docMk/>
          <pc:sldMk cId="3618206413" sldId="2147472571"/>
        </pc:sldMkLst>
      </pc:sldChg>
      <pc:sldChg chg="del">
        <pc:chgData name="Dirk Wübben" userId="a27602df-5b54-480c-866c-64260ceb4949" providerId="ADAL" clId="{6384D003-2B9C-4703-BBC3-6469E285D43F}" dt="2025-03-05T10:35:17.901" v="2" actId="47"/>
        <pc:sldMkLst>
          <pc:docMk/>
          <pc:sldMk cId="3877753360" sldId="2147472573"/>
        </pc:sldMkLst>
      </pc:sldChg>
      <pc:sldChg chg="del">
        <pc:chgData name="Dirk Wübben" userId="a27602df-5b54-480c-866c-64260ceb4949" providerId="ADAL" clId="{6384D003-2B9C-4703-BBC3-6469E285D43F}" dt="2025-03-05T10:35:17.901" v="2" actId="47"/>
        <pc:sldMkLst>
          <pc:docMk/>
          <pc:sldMk cId="200456584" sldId="2147472574"/>
        </pc:sldMkLst>
      </pc:sldChg>
      <pc:sldChg chg="del">
        <pc:chgData name="Dirk Wübben" userId="a27602df-5b54-480c-866c-64260ceb4949" providerId="ADAL" clId="{6384D003-2B9C-4703-BBC3-6469E285D43F}" dt="2025-03-05T10:35:17.901" v="2" actId="47"/>
        <pc:sldMkLst>
          <pc:docMk/>
          <pc:sldMk cId="557879103" sldId="2147472576"/>
        </pc:sldMkLst>
      </pc:sldChg>
      <pc:sldChg chg="del">
        <pc:chgData name="Dirk Wübben" userId="a27602df-5b54-480c-866c-64260ceb4949" providerId="ADAL" clId="{6384D003-2B9C-4703-BBC3-6469E285D43F}" dt="2025-03-05T10:35:17.901" v="2" actId="47"/>
        <pc:sldMkLst>
          <pc:docMk/>
          <pc:sldMk cId="2543217205" sldId="2147472577"/>
        </pc:sldMkLst>
      </pc:sldChg>
      <pc:sldChg chg="del">
        <pc:chgData name="Dirk Wübben" userId="a27602df-5b54-480c-866c-64260ceb4949" providerId="ADAL" clId="{6384D003-2B9C-4703-BBC3-6469E285D43F}" dt="2025-03-05T10:35:17.901" v="2" actId="47"/>
        <pc:sldMkLst>
          <pc:docMk/>
          <pc:sldMk cId="1773030842" sldId="2147472582"/>
        </pc:sldMkLst>
      </pc:sldChg>
      <pc:sldChg chg="del">
        <pc:chgData name="Dirk Wübben" userId="a27602df-5b54-480c-866c-64260ceb4949" providerId="ADAL" clId="{6384D003-2B9C-4703-BBC3-6469E285D43F}" dt="2025-03-05T10:35:17.901" v="2" actId="47"/>
        <pc:sldMkLst>
          <pc:docMk/>
          <pc:sldMk cId="1714979313" sldId="2147472584"/>
        </pc:sldMkLst>
      </pc:sldChg>
      <pc:sldChg chg="del">
        <pc:chgData name="Dirk Wübben" userId="a27602df-5b54-480c-866c-64260ceb4949" providerId="ADAL" clId="{6384D003-2B9C-4703-BBC3-6469E285D43F}" dt="2025-03-05T10:35:17.901" v="2" actId="47"/>
        <pc:sldMkLst>
          <pc:docMk/>
          <pc:sldMk cId="3484443876" sldId="2147472585"/>
        </pc:sldMkLst>
      </pc:sldChg>
      <pc:sldChg chg="del">
        <pc:chgData name="Dirk Wübben" userId="a27602df-5b54-480c-866c-64260ceb4949" providerId="ADAL" clId="{6384D003-2B9C-4703-BBC3-6469E285D43F}" dt="2025-03-05T10:35:29.509" v="4" actId="47"/>
        <pc:sldMkLst>
          <pc:docMk/>
          <pc:sldMk cId="3648413544" sldId="2147476861"/>
        </pc:sldMkLst>
      </pc:sldChg>
      <pc:sldChg chg="del">
        <pc:chgData name="Dirk Wübben" userId="a27602df-5b54-480c-866c-64260ceb4949" providerId="ADAL" clId="{6384D003-2B9C-4703-BBC3-6469E285D43F}" dt="2025-03-05T10:35:12.232" v="1" actId="47"/>
        <pc:sldMkLst>
          <pc:docMk/>
          <pc:sldMk cId="2797061931" sldId="2147476881"/>
        </pc:sldMkLst>
      </pc:sldChg>
      <pc:sldChg chg="delSp modSp add del mod chgLayout">
        <pc:chgData name="Dirk Wübben" userId="a27602df-5b54-480c-866c-64260ceb4949" providerId="ADAL" clId="{6384D003-2B9C-4703-BBC3-6469E285D43F}" dt="2025-03-20T10:20:52.705" v="1763" actId="47"/>
        <pc:sldMkLst>
          <pc:docMk/>
          <pc:sldMk cId="4061239879" sldId="2147476885"/>
        </pc:sldMkLst>
      </pc:sldChg>
      <pc:sldChg chg="delSp modSp add del mod modClrScheme chgLayout">
        <pc:chgData name="Dirk Wübben" userId="a27602df-5b54-480c-866c-64260ceb4949" providerId="ADAL" clId="{6384D003-2B9C-4703-BBC3-6469E285D43F}" dt="2025-03-20T10:20:52.705" v="1763" actId="47"/>
        <pc:sldMkLst>
          <pc:docMk/>
          <pc:sldMk cId="2157805275" sldId="2147476886"/>
        </pc:sldMkLst>
      </pc:sldChg>
      <pc:sldChg chg="addSp delSp modSp add del mod ord modTransition modClrScheme chgLayout">
        <pc:chgData name="Dirk Wübben" userId="a27602df-5b54-480c-866c-64260ceb4949" providerId="ADAL" clId="{6384D003-2B9C-4703-BBC3-6469E285D43F}" dt="2025-03-28T08:57:03.174" v="4311" actId="47"/>
        <pc:sldMkLst>
          <pc:docMk/>
          <pc:sldMk cId="2385019165" sldId="2147476887"/>
        </pc:sldMkLst>
      </pc:sldChg>
      <pc:sldChg chg="delSp modSp add del mod chgLayout">
        <pc:chgData name="Dirk Wübben" userId="a27602df-5b54-480c-866c-64260ceb4949" providerId="ADAL" clId="{6384D003-2B9C-4703-BBC3-6469E285D43F}" dt="2025-03-20T10:21:38.872" v="1766" actId="47"/>
        <pc:sldMkLst>
          <pc:docMk/>
          <pc:sldMk cId="2229190627" sldId="2147476889"/>
        </pc:sldMkLst>
      </pc:sldChg>
      <pc:sldChg chg="add del ord modTransition">
        <pc:chgData name="Dirk Wübben" userId="a27602df-5b54-480c-866c-64260ceb4949" providerId="ADAL" clId="{6384D003-2B9C-4703-BBC3-6469E285D43F}" dt="2025-03-28T08:57:03.174" v="4311" actId="47"/>
        <pc:sldMkLst>
          <pc:docMk/>
          <pc:sldMk cId="1715062087" sldId="2147476890"/>
        </pc:sldMkLst>
      </pc:sldChg>
      <pc:sldChg chg="delSp modSp add del mod ord modTransition chgLayout">
        <pc:chgData name="Dirk Wübben" userId="a27602df-5b54-480c-866c-64260ceb4949" providerId="ADAL" clId="{6384D003-2B9C-4703-BBC3-6469E285D43F}" dt="2025-03-28T08:57:03.174" v="4311" actId="47"/>
        <pc:sldMkLst>
          <pc:docMk/>
          <pc:sldMk cId="1120021002" sldId="2147476899"/>
        </pc:sldMkLst>
      </pc:sldChg>
      <pc:sldChg chg="del">
        <pc:chgData name="Dirk Wübben" userId="a27602df-5b54-480c-866c-64260ceb4949" providerId="ADAL" clId="{6384D003-2B9C-4703-BBC3-6469E285D43F}" dt="2025-03-05T10:35:17.901" v="2" actId="47"/>
        <pc:sldMkLst>
          <pc:docMk/>
          <pc:sldMk cId="912650279" sldId="2147476917"/>
        </pc:sldMkLst>
      </pc:sldChg>
      <pc:sldChg chg="delSp modSp add del mod ord modTransition modClrScheme chgLayout">
        <pc:chgData name="Dirk Wübben" userId="a27602df-5b54-480c-866c-64260ceb4949" providerId="ADAL" clId="{6384D003-2B9C-4703-BBC3-6469E285D43F}" dt="2025-03-28T08:57:03.174" v="4311" actId="47"/>
        <pc:sldMkLst>
          <pc:docMk/>
          <pc:sldMk cId="484234549" sldId="2147476923"/>
        </pc:sldMkLst>
      </pc:sldChg>
      <pc:sldChg chg="modSp add del mod ord modTransition chgLayout">
        <pc:chgData name="Dirk Wübben" userId="a27602df-5b54-480c-866c-64260ceb4949" providerId="ADAL" clId="{6384D003-2B9C-4703-BBC3-6469E285D43F}" dt="2025-03-28T08:57:03.174" v="4311" actId="47"/>
        <pc:sldMkLst>
          <pc:docMk/>
          <pc:sldMk cId="3252231295" sldId="2147476925"/>
        </pc:sldMkLst>
      </pc:sldChg>
      <pc:sldChg chg="del">
        <pc:chgData name="Dirk Wübben" userId="a27602df-5b54-480c-866c-64260ceb4949" providerId="ADAL" clId="{6384D003-2B9C-4703-BBC3-6469E285D43F}" dt="2025-03-05T10:35:12.232" v="1" actId="47"/>
        <pc:sldMkLst>
          <pc:docMk/>
          <pc:sldMk cId="3366035886" sldId="2147476927"/>
        </pc:sldMkLst>
      </pc:sldChg>
      <pc:sldChg chg="modSp add del mod ord modTransition chgLayout">
        <pc:chgData name="Dirk Wübben" userId="a27602df-5b54-480c-866c-64260ceb4949" providerId="ADAL" clId="{6384D003-2B9C-4703-BBC3-6469E285D43F}" dt="2025-03-28T08:57:03.174" v="4311" actId="47"/>
        <pc:sldMkLst>
          <pc:docMk/>
          <pc:sldMk cId="736548607" sldId="2147476929"/>
        </pc:sldMkLst>
      </pc:sldChg>
      <pc:sldChg chg="del">
        <pc:chgData name="Dirk Wübben" userId="a27602df-5b54-480c-866c-64260ceb4949" providerId="ADAL" clId="{6384D003-2B9C-4703-BBC3-6469E285D43F}" dt="2025-03-05T10:35:17.901" v="2" actId="47"/>
        <pc:sldMkLst>
          <pc:docMk/>
          <pc:sldMk cId="2299871820" sldId="2147476929"/>
        </pc:sldMkLst>
      </pc:sldChg>
      <pc:sldChg chg="del">
        <pc:chgData name="Dirk Wübben" userId="a27602df-5b54-480c-866c-64260ceb4949" providerId="ADAL" clId="{6384D003-2B9C-4703-BBC3-6469E285D43F}" dt="2025-03-05T10:35:17.901" v="2" actId="47"/>
        <pc:sldMkLst>
          <pc:docMk/>
          <pc:sldMk cId="416337945" sldId="2147476934"/>
        </pc:sldMkLst>
      </pc:sldChg>
      <pc:sldChg chg="del">
        <pc:chgData name="Dirk Wübben" userId="a27602df-5b54-480c-866c-64260ceb4949" providerId="ADAL" clId="{6384D003-2B9C-4703-BBC3-6469E285D43F}" dt="2025-03-05T10:35:17.901" v="2" actId="47"/>
        <pc:sldMkLst>
          <pc:docMk/>
          <pc:sldMk cId="1139371620" sldId="2147476935"/>
        </pc:sldMkLst>
      </pc:sldChg>
      <pc:sldChg chg="del">
        <pc:chgData name="Dirk Wübben" userId="a27602df-5b54-480c-866c-64260ceb4949" providerId="ADAL" clId="{6384D003-2B9C-4703-BBC3-6469E285D43F}" dt="2025-03-05T10:35:17.901" v="2" actId="47"/>
        <pc:sldMkLst>
          <pc:docMk/>
          <pc:sldMk cId="922216803" sldId="2147476936"/>
        </pc:sldMkLst>
      </pc:sldChg>
      <pc:sldChg chg="del">
        <pc:chgData name="Dirk Wübben" userId="a27602df-5b54-480c-866c-64260ceb4949" providerId="ADAL" clId="{6384D003-2B9C-4703-BBC3-6469E285D43F}" dt="2025-03-05T10:35:17.901" v="2" actId="47"/>
        <pc:sldMkLst>
          <pc:docMk/>
          <pc:sldMk cId="3801953932" sldId="2147476937"/>
        </pc:sldMkLst>
      </pc:sldChg>
      <pc:sldChg chg="addSp delSp modSp add del mod ord modTransition chgLayout">
        <pc:chgData name="Dirk Wübben" userId="a27602df-5b54-480c-866c-64260ceb4949" providerId="ADAL" clId="{6384D003-2B9C-4703-BBC3-6469E285D43F}" dt="2025-03-28T08:57:03.174" v="4311" actId="47"/>
        <pc:sldMkLst>
          <pc:docMk/>
          <pc:sldMk cId="133921551" sldId="2147476938"/>
        </pc:sldMkLst>
      </pc:sldChg>
      <pc:sldChg chg="del">
        <pc:chgData name="Dirk Wübben" userId="a27602df-5b54-480c-866c-64260ceb4949" providerId="ADAL" clId="{6384D003-2B9C-4703-BBC3-6469E285D43F}" dt="2025-03-05T10:35:17.901" v="2" actId="47"/>
        <pc:sldMkLst>
          <pc:docMk/>
          <pc:sldMk cId="2477760750" sldId="2147476938"/>
        </pc:sldMkLst>
      </pc:sldChg>
      <pc:sldChg chg="addSp delSp modSp add del mod ord modTransition chgLayout">
        <pc:chgData name="Dirk Wübben" userId="a27602df-5b54-480c-866c-64260ceb4949" providerId="ADAL" clId="{6384D003-2B9C-4703-BBC3-6469E285D43F}" dt="2025-03-28T08:57:03.174" v="4311" actId="47"/>
        <pc:sldMkLst>
          <pc:docMk/>
          <pc:sldMk cId="882767959" sldId="2147476940"/>
        </pc:sldMkLst>
      </pc:sldChg>
      <pc:sldChg chg="del">
        <pc:chgData name="Dirk Wübben" userId="a27602df-5b54-480c-866c-64260ceb4949" providerId="ADAL" clId="{6384D003-2B9C-4703-BBC3-6469E285D43F}" dt="2025-03-05T10:35:17.901" v="2" actId="47"/>
        <pc:sldMkLst>
          <pc:docMk/>
          <pc:sldMk cId="1077208484" sldId="2147476942"/>
        </pc:sldMkLst>
      </pc:sldChg>
      <pc:sldChg chg="del">
        <pc:chgData name="Dirk Wübben" userId="a27602df-5b54-480c-866c-64260ceb4949" providerId="ADAL" clId="{6384D003-2B9C-4703-BBC3-6469E285D43F}" dt="2025-03-05T10:35:17.901" v="2" actId="47"/>
        <pc:sldMkLst>
          <pc:docMk/>
          <pc:sldMk cId="1527545129" sldId="2147476945"/>
        </pc:sldMkLst>
      </pc:sldChg>
      <pc:sldChg chg="del">
        <pc:chgData name="Dirk Wübben" userId="a27602df-5b54-480c-866c-64260ceb4949" providerId="ADAL" clId="{6384D003-2B9C-4703-BBC3-6469E285D43F}" dt="2025-03-05T10:35:17.901" v="2" actId="47"/>
        <pc:sldMkLst>
          <pc:docMk/>
          <pc:sldMk cId="781642020" sldId="2147476946"/>
        </pc:sldMkLst>
      </pc:sldChg>
      <pc:sldChg chg="del">
        <pc:chgData name="Dirk Wübben" userId="a27602df-5b54-480c-866c-64260ceb4949" providerId="ADAL" clId="{6384D003-2B9C-4703-BBC3-6469E285D43F}" dt="2025-03-05T10:35:17.901" v="2" actId="47"/>
        <pc:sldMkLst>
          <pc:docMk/>
          <pc:sldMk cId="1015288669" sldId="2147476947"/>
        </pc:sldMkLst>
      </pc:sldChg>
      <pc:sldChg chg="del">
        <pc:chgData name="Dirk Wübben" userId="a27602df-5b54-480c-866c-64260ceb4949" providerId="ADAL" clId="{6384D003-2B9C-4703-BBC3-6469E285D43F}" dt="2025-03-05T10:35:17.901" v="2" actId="47"/>
        <pc:sldMkLst>
          <pc:docMk/>
          <pc:sldMk cId="1443366484" sldId="2147476948"/>
        </pc:sldMkLst>
      </pc:sldChg>
      <pc:sldChg chg="modSp add del mod chgLayout">
        <pc:chgData name="Dirk Wübben" userId="a27602df-5b54-480c-866c-64260ceb4949" providerId="ADAL" clId="{6384D003-2B9C-4703-BBC3-6469E285D43F}" dt="2025-03-20T10:21:38.872" v="1766" actId="47"/>
        <pc:sldMkLst>
          <pc:docMk/>
          <pc:sldMk cId="1778306888" sldId="2147476948"/>
        </pc:sldMkLst>
      </pc:sldChg>
      <pc:sldChg chg="del">
        <pc:chgData name="Dirk Wübben" userId="a27602df-5b54-480c-866c-64260ceb4949" providerId="ADAL" clId="{6384D003-2B9C-4703-BBC3-6469E285D43F}" dt="2025-03-05T10:35:17.901" v="2" actId="47"/>
        <pc:sldMkLst>
          <pc:docMk/>
          <pc:sldMk cId="854581518" sldId="2147476949"/>
        </pc:sldMkLst>
      </pc:sldChg>
      <pc:sldChg chg="del">
        <pc:chgData name="Dirk Wübben" userId="a27602df-5b54-480c-866c-64260ceb4949" providerId="ADAL" clId="{6384D003-2B9C-4703-BBC3-6469E285D43F}" dt="2025-03-05T10:35:12.232" v="1" actId="47"/>
        <pc:sldMkLst>
          <pc:docMk/>
          <pc:sldMk cId="2367264706" sldId="2147476950"/>
        </pc:sldMkLst>
      </pc:sldChg>
      <pc:sldChg chg="del">
        <pc:chgData name="Dirk Wübben" userId="a27602df-5b54-480c-866c-64260ceb4949" providerId="ADAL" clId="{6384D003-2B9C-4703-BBC3-6469E285D43F}" dt="2025-03-05T10:35:12.232" v="1" actId="47"/>
        <pc:sldMkLst>
          <pc:docMk/>
          <pc:sldMk cId="1056595544" sldId="2147476951"/>
        </pc:sldMkLst>
      </pc:sldChg>
      <pc:sldChg chg="del modTransition">
        <pc:chgData name="Dirk Wübben" userId="a27602df-5b54-480c-866c-64260ceb4949" providerId="ADAL" clId="{6384D003-2B9C-4703-BBC3-6469E285D43F}" dt="2025-03-28T08:54:52.455" v="4306" actId="47"/>
        <pc:sldMkLst>
          <pc:docMk/>
          <pc:sldMk cId="1812134370" sldId="2147476951"/>
        </pc:sldMkLst>
      </pc:sldChg>
      <pc:sldChg chg="del">
        <pc:chgData name="Dirk Wübben" userId="a27602df-5b54-480c-866c-64260ceb4949" providerId="ADAL" clId="{6384D003-2B9C-4703-BBC3-6469E285D43F}" dt="2025-03-05T10:35:12.232" v="1" actId="47"/>
        <pc:sldMkLst>
          <pc:docMk/>
          <pc:sldMk cId="488269668" sldId="2147476952"/>
        </pc:sldMkLst>
      </pc:sldChg>
      <pc:sldChg chg="del">
        <pc:chgData name="Dirk Wübben" userId="a27602df-5b54-480c-866c-64260ceb4949" providerId="ADAL" clId="{6384D003-2B9C-4703-BBC3-6469E285D43F}" dt="2025-03-05T10:35:12.232" v="1" actId="47"/>
        <pc:sldMkLst>
          <pc:docMk/>
          <pc:sldMk cId="1993869608" sldId="2147476955"/>
        </pc:sldMkLst>
      </pc:sldChg>
      <pc:sldChg chg="del">
        <pc:chgData name="Dirk Wübben" userId="a27602df-5b54-480c-866c-64260ceb4949" providerId="ADAL" clId="{6384D003-2B9C-4703-BBC3-6469E285D43F}" dt="2025-03-05T10:35:12.232" v="1" actId="47"/>
        <pc:sldMkLst>
          <pc:docMk/>
          <pc:sldMk cId="4016747754" sldId="2147476956"/>
        </pc:sldMkLst>
      </pc:sldChg>
      <pc:sldChg chg="del">
        <pc:chgData name="Dirk Wübben" userId="a27602df-5b54-480c-866c-64260ceb4949" providerId="ADAL" clId="{6384D003-2B9C-4703-BBC3-6469E285D43F}" dt="2025-03-05T10:35:17.901" v="2" actId="47"/>
        <pc:sldMkLst>
          <pc:docMk/>
          <pc:sldMk cId="2512753512" sldId="2147476958"/>
        </pc:sldMkLst>
      </pc:sldChg>
      <pc:sldChg chg="addSp delSp modSp add del mod ord modTransition modClrScheme chgLayout">
        <pc:chgData name="Dirk Wübben" userId="a27602df-5b54-480c-866c-64260ceb4949" providerId="ADAL" clId="{6384D003-2B9C-4703-BBC3-6469E285D43F}" dt="2025-03-28T08:57:03.174" v="4311" actId="47"/>
        <pc:sldMkLst>
          <pc:docMk/>
          <pc:sldMk cId="3216846148" sldId="2147476958"/>
        </pc:sldMkLst>
      </pc:sldChg>
      <pc:sldChg chg="del">
        <pc:chgData name="Dirk Wübben" userId="a27602df-5b54-480c-866c-64260ceb4949" providerId="ADAL" clId="{6384D003-2B9C-4703-BBC3-6469E285D43F}" dt="2025-03-05T10:35:17.901" v="2" actId="47"/>
        <pc:sldMkLst>
          <pc:docMk/>
          <pc:sldMk cId="3362133976" sldId="2147476959"/>
        </pc:sldMkLst>
      </pc:sldChg>
      <pc:sldChg chg="del">
        <pc:chgData name="Dirk Wübben" userId="a27602df-5b54-480c-866c-64260ceb4949" providerId="ADAL" clId="{6384D003-2B9C-4703-BBC3-6469E285D43F}" dt="2025-03-05T10:35:17.901" v="2" actId="47"/>
        <pc:sldMkLst>
          <pc:docMk/>
          <pc:sldMk cId="2275402349" sldId="2147476960"/>
        </pc:sldMkLst>
      </pc:sldChg>
      <pc:sldChg chg="del">
        <pc:chgData name="Dirk Wübben" userId="a27602df-5b54-480c-866c-64260ceb4949" providerId="ADAL" clId="{6384D003-2B9C-4703-BBC3-6469E285D43F}" dt="2025-03-05T10:35:17.901" v="2" actId="47"/>
        <pc:sldMkLst>
          <pc:docMk/>
          <pc:sldMk cId="3225395690" sldId="2147476961"/>
        </pc:sldMkLst>
      </pc:sldChg>
      <pc:sldChg chg="del modTransition">
        <pc:chgData name="Dirk Wübben" userId="a27602df-5b54-480c-866c-64260ceb4949" providerId="ADAL" clId="{6384D003-2B9C-4703-BBC3-6469E285D43F}" dt="2025-03-28T08:57:03.174" v="4311" actId="47"/>
        <pc:sldMkLst>
          <pc:docMk/>
          <pc:sldMk cId="3334546825" sldId="2147476962"/>
        </pc:sldMkLst>
      </pc:sldChg>
      <pc:sldChg chg="del modTransition">
        <pc:chgData name="Dirk Wübben" userId="a27602df-5b54-480c-866c-64260ceb4949" providerId="ADAL" clId="{6384D003-2B9C-4703-BBC3-6469E285D43F}" dt="2025-03-28T08:57:03.174" v="4311" actId="47"/>
        <pc:sldMkLst>
          <pc:docMk/>
          <pc:sldMk cId="2724399991" sldId="2147476963"/>
        </pc:sldMkLst>
      </pc:sldChg>
      <pc:sldChg chg="del">
        <pc:chgData name="Dirk Wübben" userId="a27602df-5b54-480c-866c-64260ceb4949" providerId="ADAL" clId="{6384D003-2B9C-4703-BBC3-6469E285D43F}" dt="2025-03-05T10:35:17.901" v="2" actId="47"/>
        <pc:sldMkLst>
          <pc:docMk/>
          <pc:sldMk cId="3377633737" sldId="2147476963"/>
        </pc:sldMkLst>
      </pc:sldChg>
      <pc:sldChg chg="del">
        <pc:chgData name="Dirk Wübben" userId="a27602df-5b54-480c-866c-64260ceb4949" providerId="ADAL" clId="{6384D003-2B9C-4703-BBC3-6469E285D43F}" dt="2025-03-05T10:35:17.901" v="2" actId="47"/>
        <pc:sldMkLst>
          <pc:docMk/>
          <pc:sldMk cId="2771563822" sldId="2147476964"/>
        </pc:sldMkLst>
      </pc:sldChg>
      <pc:sldChg chg="del">
        <pc:chgData name="Dirk Wübben" userId="a27602df-5b54-480c-866c-64260ceb4949" providerId="ADAL" clId="{6384D003-2B9C-4703-BBC3-6469E285D43F}" dt="2025-03-05T10:35:17.901" v="2" actId="47"/>
        <pc:sldMkLst>
          <pc:docMk/>
          <pc:sldMk cId="623368216" sldId="2147476965"/>
        </pc:sldMkLst>
      </pc:sldChg>
      <pc:sldChg chg="del">
        <pc:chgData name="Dirk Wübben" userId="a27602df-5b54-480c-866c-64260ceb4949" providerId="ADAL" clId="{6384D003-2B9C-4703-BBC3-6469E285D43F}" dt="2025-03-05T10:35:17.901" v="2" actId="47"/>
        <pc:sldMkLst>
          <pc:docMk/>
          <pc:sldMk cId="2073582900" sldId="2147476966"/>
        </pc:sldMkLst>
      </pc:sldChg>
      <pc:sldChg chg="del">
        <pc:chgData name="Dirk Wübben" userId="a27602df-5b54-480c-866c-64260ceb4949" providerId="ADAL" clId="{6384D003-2B9C-4703-BBC3-6469E285D43F}" dt="2025-03-05T10:35:17.901" v="2" actId="47"/>
        <pc:sldMkLst>
          <pc:docMk/>
          <pc:sldMk cId="313851721" sldId="2147476967"/>
        </pc:sldMkLst>
      </pc:sldChg>
      <pc:sldChg chg="del">
        <pc:chgData name="Dirk Wübben" userId="a27602df-5b54-480c-866c-64260ceb4949" providerId="ADAL" clId="{6384D003-2B9C-4703-BBC3-6469E285D43F}" dt="2025-03-05T10:35:17.901" v="2" actId="47"/>
        <pc:sldMkLst>
          <pc:docMk/>
          <pc:sldMk cId="3470027343" sldId="2147476968"/>
        </pc:sldMkLst>
      </pc:sldChg>
      <pc:sldChg chg="del">
        <pc:chgData name="Dirk Wübben" userId="a27602df-5b54-480c-866c-64260ceb4949" providerId="ADAL" clId="{6384D003-2B9C-4703-BBC3-6469E285D43F}" dt="2025-03-05T10:35:17.901" v="2" actId="47"/>
        <pc:sldMkLst>
          <pc:docMk/>
          <pc:sldMk cId="3721334223" sldId="2147476969"/>
        </pc:sldMkLst>
      </pc:sldChg>
      <pc:sldChg chg="del">
        <pc:chgData name="Dirk Wübben" userId="a27602df-5b54-480c-866c-64260ceb4949" providerId="ADAL" clId="{6384D003-2B9C-4703-BBC3-6469E285D43F}" dt="2025-03-05T10:35:17.901" v="2" actId="47"/>
        <pc:sldMkLst>
          <pc:docMk/>
          <pc:sldMk cId="3370915096" sldId="2147476970"/>
        </pc:sldMkLst>
      </pc:sldChg>
      <pc:sldChg chg="del">
        <pc:chgData name="Dirk Wübben" userId="a27602df-5b54-480c-866c-64260ceb4949" providerId="ADAL" clId="{6384D003-2B9C-4703-BBC3-6469E285D43F}" dt="2025-03-05T10:35:17.901" v="2" actId="47"/>
        <pc:sldMkLst>
          <pc:docMk/>
          <pc:sldMk cId="1350914574" sldId="2147476971"/>
        </pc:sldMkLst>
      </pc:sldChg>
      <pc:sldChg chg="del">
        <pc:chgData name="Dirk Wübben" userId="a27602df-5b54-480c-866c-64260ceb4949" providerId="ADAL" clId="{6384D003-2B9C-4703-BBC3-6469E285D43F}" dt="2025-03-05T10:35:17.901" v="2" actId="47"/>
        <pc:sldMkLst>
          <pc:docMk/>
          <pc:sldMk cId="3791343366" sldId="2147476972"/>
        </pc:sldMkLst>
      </pc:sldChg>
      <pc:sldChg chg="del">
        <pc:chgData name="Dirk Wübben" userId="a27602df-5b54-480c-866c-64260ceb4949" providerId="ADAL" clId="{6384D003-2B9C-4703-BBC3-6469E285D43F}" dt="2025-03-05T10:35:17.901" v="2" actId="47"/>
        <pc:sldMkLst>
          <pc:docMk/>
          <pc:sldMk cId="2936859291" sldId="2147476973"/>
        </pc:sldMkLst>
      </pc:sldChg>
      <pc:sldChg chg="del">
        <pc:chgData name="Dirk Wübben" userId="a27602df-5b54-480c-866c-64260ceb4949" providerId="ADAL" clId="{6384D003-2B9C-4703-BBC3-6469E285D43F}" dt="2025-03-05T10:35:17.901" v="2" actId="47"/>
        <pc:sldMkLst>
          <pc:docMk/>
          <pc:sldMk cId="3112257751" sldId="2147476974"/>
        </pc:sldMkLst>
      </pc:sldChg>
      <pc:sldChg chg="del">
        <pc:chgData name="Dirk Wübben" userId="a27602df-5b54-480c-866c-64260ceb4949" providerId="ADAL" clId="{6384D003-2B9C-4703-BBC3-6469E285D43F}" dt="2025-03-05T10:35:17.901" v="2" actId="47"/>
        <pc:sldMkLst>
          <pc:docMk/>
          <pc:sldMk cId="3188796602" sldId="2147476975"/>
        </pc:sldMkLst>
      </pc:sldChg>
      <pc:sldChg chg="del">
        <pc:chgData name="Dirk Wübben" userId="a27602df-5b54-480c-866c-64260ceb4949" providerId="ADAL" clId="{6384D003-2B9C-4703-BBC3-6469E285D43F}" dt="2025-03-05T10:35:17.901" v="2" actId="47"/>
        <pc:sldMkLst>
          <pc:docMk/>
          <pc:sldMk cId="681780769" sldId="2147476976"/>
        </pc:sldMkLst>
      </pc:sldChg>
      <pc:sldChg chg="del">
        <pc:chgData name="Dirk Wübben" userId="a27602df-5b54-480c-866c-64260ceb4949" providerId="ADAL" clId="{6384D003-2B9C-4703-BBC3-6469E285D43F}" dt="2025-03-05T10:35:17.901" v="2" actId="47"/>
        <pc:sldMkLst>
          <pc:docMk/>
          <pc:sldMk cId="2744120505" sldId="2147476977"/>
        </pc:sldMkLst>
      </pc:sldChg>
      <pc:sldChg chg="del">
        <pc:chgData name="Dirk Wübben" userId="a27602df-5b54-480c-866c-64260ceb4949" providerId="ADAL" clId="{6384D003-2B9C-4703-BBC3-6469E285D43F}" dt="2025-03-05T10:35:17.901" v="2" actId="47"/>
        <pc:sldMkLst>
          <pc:docMk/>
          <pc:sldMk cId="363272874" sldId="2147476978"/>
        </pc:sldMkLst>
      </pc:sldChg>
      <pc:sldChg chg="del">
        <pc:chgData name="Dirk Wübben" userId="a27602df-5b54-480c-866c-64260ceb4949" providerId="ADAL" clId="{6384D003-2B9C-4703-BBC3-6469E285D43F}" dt="2025-03-05T10:35:17.901" v="2" actId="47"/>
        <pc:sldMkLst>
          <pc:docMk/>
          <pc:sldMk cId="1599539662" sldId="2147476979"/>
        </pc:sldMkLst>
      </pc:sldChg>
      <pc:sldChg chg="del">
        <pc:chgData name="Dirk Wübben" userId="a27602df-5b54-480c-866c-64260ceb4949" providerId="ADAL" clId="{6384D003-2B9C-4703-BBC3-6469E285D43F}" dt="2025-03-05T10:35:17.901" v="2" actId="47"/>
        <pc:sldMkLst>
          <pc:docMk/>
          <pc:sldMk cId="249829350" sldId="2147476980"/>
        </pc:sldMkLst>
      </pc:sldChg>
      <pc:sldChg chg="del">
        <pc:chgData name="Dirk Wübben" userId="a27602df-5b54-480c-866c-64260ceb4949" providerId="ADAL" clId="{6384D003-2B9C-4703-BBC3-6469E285D43F}" dt="2025-03-05T10:35:17.901" v="2" actId="47"/>
        <pc:sldMkLst>
          <pc:docMk/>
          <pc:sldMk cId="2809023513" sldId="2147476981"/>
        </pc:sldMkLst>
      </pc:sldChg>
      <pc:sldChg chg="del">
        <pc:chgData name="Dirk Wübben" userId="a27602df-5b54-480c-866c-64260ceb4949" providerId="ADAL" clId="{6384D003-2B9C-4703-BBC3-6469E285D43F}" dt="2025-03-05T10:35:17.901" v="2" actId="47"/>
        <pc:sldMkLst>
          <pc:docMk/>
          <pc:sldMk cId="904841449" sldId="2147476982"/>
        </pc:sldMkLst>
      </pc:sldChg>
      <pc:sldChg chg="del">
        <pc:chgData name="Dirk Wübben" userId="a27602df-5b54-480c-866c-64260ceb4949" providerId="ADAL" clId="{6384D003-2B9C-4703-BBC3-6469E285D43F}" dt="2025-03-05T10:35:17.901" v="2" actId="47"/>
        <pc:sldMkLst>
          <pc:docMk/>
          <pc:sldMk cId="1121141307" sldId="2147476983"/>
        </pc:sldMkLst>
      </pc:sldChg>
      <pc:sldChg chg="del">
        <pc:chgData name="Dirk Wübben" userId="a27602df-5b54-480c-866c-64260ceb4949" providerId="ADAL" clId="{6384D003-2B9C-4703-BBC3-6469E285D43F}" dt="2025-03-05T10:35:17.901" v="2" actId="47"/>
        <pc:sldMkLst>
          <pc:docMk/>
          <pc:sldMk cId="2328013493" sldId="2147476984"/>
        </pc:sldMkLst>
      </pc:sldChg>
      <pc:sldChg chg="del">
        <pc:chgData name="Dirk Wübben" userId="a27602df-5b54-480c-866c-64260ceb4949" providerId="ADAL" clId="{6384D003-2B9C-4703-BBC3-6469E285D43F}" dt="2025-03-05T10:35:17.901" v="2" actId="47"/>
        <pc:sldMkLst>
          <pc:docMk/>
          <pc:sldMk cId="212962849" sldId="2147476985"/>
        </pc:sldMkLst>
      </pc:sldChg>
      <pc:sldChg chg="del">
        <pc:chgData name="Dirk Wübben" userId="a27602df-5b54-480c-866c-64260ceb4949" providerId="ADAL" clId="{6384D003-2B9C-4703-BBC3-6469E285D43F}" dt="2025-03-05T10:35:17.901" v="2" actId="47"/>
        <pc:sldMkLst>
          <pc:docMk/>
          <pc:sldMk cId="165004909" sldId="2147476987"/>
        </pc:sldMkLst>
      </pc:sldChg>
      <pc:sldChg chg="del">
        <pc:chgData name="Dirk Wübben" userId="a27602df-5b54-480c-866c-64260ceb4949" providerId="ADAL" clId="{6384D003-2B9C-4703-BBC3-6469E285D43F}" dt="2025-03-05T10:35:12.232" v="1" actId="47"/>
        <pc:sldMkLst>
          <pc:docMk/>
          <pc:sldMk cId="15061299" sldId="2147476989"/>
        </pc:sldMkLst>
      </pc:sldChg>
      <pc:sldChg chg="del">
        <pc:chgData name="Dirk Wübben" userId="a27602df-5b54-480c-866c-64260ceb4949" providerId="ADAL" clId="{6384D003-2B9C-4703-BBC3-6469E285D43F}" dt="2025-03-05T10:35:12.232" v="1" actId="47"/>
        <pc:sldMkLst>
          <pc:docMk/>
          <pc:sldMk cId="1345907750" sldId="2147476990"/>
        </pc:sldMkLst>
      </pc:sldChg>
      <pc:sldChg chg="del">
        <pc:chgData name="Dirk Wübben" userId="a27602df-5b54-480c-866c-64260ceb4949" providerId="ADAL" clId="{6384D003-2B9C-4703-BBC3-6469E285D43F}" dt="2025-03-05T10:35:17.901" v="2" actId="47"/>
        <pc:sldMkLst>
          <pc:docMk/>
          <pc:sldMk cId="61090754" sldId="2147476991"/>
        </pc:sldMkLst>
      </pc:sldChg>
      <pc:sldChg chg="del">
        <pc:chgData name="Dirk Wübben" userId="a27602df-5b54-480c-866c-64260ceb4949" providerId="ADAL" clId="{6384D003-2B9C-4703-BBC3-6469E285D43F}" dt="2025-03-05T10:35:17.901" v="2" actId="47"/>
        <pc:sldMkLst>
          <pc:docMk/>
          <pc:sldMk cId="2089713754" sldId="2147476992"/>
        </pc:sldMkLst>
      </pc:sldChg>
      <pc:sldChg chg="del">
        <pc:chgData name="Dirk Wübben" userId="a27602df-5b54-480c-866c-64260ceb4949" providerId="ADAL" clId="{6384D003-2B9C-4703-BBC3-6469E285D43F}" dt="2025-03-05T10:35:17.901" v="2" actId="47"/>
        <pc:sldMkLst>
          <pc:docMk/>
          <pc:sldMk cId="1427111811" sldId="2147476993"/>
        </pc:sldMkLst>
      </pc:sldChg>
      <pc:sldChg chg="del">
        <pc:chgData name="Dirk Wübben" userId="a27602df-5b54-480c-866c-64260ceb4949" providerId="ADAL" clId="{6384D003-2B9C-4703-BBC3-6469E285D43F}" dt="2025-03-05T10:35:17.901" v="2" actId="47"/>
        <pc:sldMkLst>
          <pc:docMk/>
          <pc:sldMk cId="1721652904" sldId="2147476994"/>
        </pc:sldMkLst>
      </pc:sldChg>
      <pc:sldChg chg="del">
        <pc:chgData name="Dirk Wübben" userId="a27602df-5b54-480c-866c-64260ceb4949" providerId="ADAL" clId="{6384D003-2B9C-4703-BBC3-6469E285D43F}" dt="2025-03-05T10:35:12.232" v="1" actId="47"/>
        <pc:sldMkLst>
          <pc:docMk/>
          <pc:sldMk cId="2269296956" sldId="2147476995"/>
        </pc:sldMkLst>
      </pc:sldChg>
      <pc:sldChg chg="del">
        <pc:chgData name="Dirk Wübben" userId="a27602df-5b54-480c-866c-64260ceb4949" providerId="ADAL" clId="{6384D003-2B9C-4703-BBC3-6469E285D43F}" dt="2025-03-05T10:35:17.901" v="2" actId="47"/>
        <pc:sldMkLst>
          <pc:docMk/>
          <pc:sldMk cId="1159854652" sldId="2147476996"/>
        </pc:sldMkLst>
      </pc:sldChg>
      <pc:sldChg chg="del">
        <pc:chgData name="Dirk Wübben" userId="a27602df-5b54-480c-866c-64260ceb4949" providerId="ADAL" clId="{6384D003-2B9C-4703-BBC3-6469E285D43F}" dt="2025-03-05T10:35:17.901" v="2" actId="47"/>
        <pc:sldMkLst>
          <pc:docMk/>
          <pc:sldMk cId="589856088" sldId="2147476997"/>
        </pc:sldMkLst>
      </pc:sldChg>
      <pc:sldChg chg="del">
        <pc:chgData name="Dirk Wübben" userId="a27602df-5b54-480c-866c-64260ceb4949" providerId="ADAL" clId="{6384D003-2B9C-4703-BBC3-6469E285D43F}" dt="2025-03-05T10:35:17.901" v="2" actId="47"/>
        <pc:sldMkLst>
          <pc:docMk/>
          <pc:sldMk cId="1408280310" sldId="2147476998"/>
        </pc:sldMkLst>
      </pc:sldChg>
      <pc:sldChg chg="del">
        <pc:chgData name="Dirk Wübben" userId="a27602df-5b54-480c-866c-64260ceb4949" providerId="ADAL" clId="{6384D003-2B9C-4703-BBC3-6469E285D43F}" dt="2025-03-05T10:35:17.901" v="2" actId="47"/>
        <pc:sldMkLst>
          <pc:docMk/>
          <pc:sldMk cId="3893516391" sldId="2147476999"/>
        </pc:sldMkLst>
      </pc:sldChg>
      <pc:sldChg chg="del">
        <pc:chgData name="Dirk Wübben" userId="a27602df-5b54-480c-866c-64260ceb4949" providerId="ADAL" clId="{6384D003-2B9C-4703-BBC3-6469E285D43F}" dt="2025-03-05T10:35:17.901" v="2" actId="47"/>
        <pc:sldMkLst>
          <pc:docMk/>
          <pc:sldMk cId="1866808408" sldId="2147477000"/>
        </pc:sldMkLst>
      </pc:sldChg>
      <pc:sldChg chg="del">
        <pc:chgData name="Dirk Wübben" userId="a27602df-5b54-480c-866c-64260ceb4949" providerId="ADAL" clId="{6384D003-2B9C-4703-BBC3-6469E285D43F}" dt="2025-03-05T10:35:12.232" v="1" actId="47"/>
        <pc:sldMkLst>
          <pc:docMk/>
          <pc:sldMk cId="2336060805" sldId="2147477001"/>
        </pc:sldMkLst>
      </pc:sldChg>
      <pc:sldChg chg="del">
        <pc:chgData name="Dirk Wübben" userId="a27602df-5b54-480c-866c-64260ceb4949" providerId="ADAL" clId="{6384D003-2B9C-4703-BBC3-6469E285D43F}" dt="2025-03-05T10:35:12.232" v="1" actId="47"/>
        <pc:sldMkLst>
          <pc:docMk/>
          <pc:sldMk cId="59811078" sldId="2147477002"/>
        </pc:sldMkLst>
      </pc:sldChg>
      <pc:sldChg chg="del">
        <pc:chgData name="Dirk Wübben" userId="a27602df-5b54-480c-866c-64260ceb4949" providerId="ADAL" clId="{6384D003-2B9C-4703-BBC3-6469E285D43F}" dt="2025-03-05T10:35:12.232" v="1" actId="47"/>
        <pc:sldMkLst>
          <pc:docMk/>
          <pc:sldMk cId="2354313391" sldId="2147477003"/>
        </pc:sldMkLst>
      </pc:sldChg>
      <pc:sldChg chg="del">
        <pc:chgData name="Dirk Wübben" userId="a27602df-5b54-480c-866c-64260ceb4949" providerId="ADAL" clId="{6384D003-2B9C-4703-BBC3-6469E285D43F}" dt="2025-03-05T10:35:12.232" v="1" actId="47"/>
        <pc:sldMkLst>
          <pc:docMk/>
          <pc:sldMk cId="2527005023" sldId="2147477009"/>
        </pc:sldMkLst>
      </pc:sldChg>
      <pc:sldChg chg="del">
        <pc:chgData name="Dirk Wübben" userId="a27602df-5b54-480c-866c-64260ceb4949" providerId="ADAL" clId="{6384D003-2B9C-4703-BBC3-6469E285D43F}" dt="2025-03-05T10:35:17.901" v="2" actId="47"/>
        <pc:sldMkLst>
          <pc:docMk/>
          <pc:sldMk cId="884866988" sldId="2147477010"/>
        </pc:sldMkLst>
      </pc:sldChg>
      <pc:sldChg chg="del">
        <pc:chgData name="Dirk Wübben" userId="a27602df-5b54-480c-866c-64260ceb4949" providerId="ADAL" clId="{6384D003-2B9C-4703-BBC3-6469E285D43F}" dt="2025-03-05T10:35:17.901" v="2" actId="47"/>
        <pc:sldMkLst>
          <pc:docMk/>
          <pc:sldMk cId="40389287" sldId="2147477011"/>
        </pc:sldMkLst>
      </pc:sldChg>
      <pc:sldChg chg="del">
        <pc:chgData name="Dirk Wübben" userId="a27602df-5b54-480c-866c-64260ceb4949" providerId="ADAL" clId="{6384D003-2B9C-4703-BBC3-6469E285D43F}" dt="2025-03-05T10:35:17.901" v="2" actId="47"/>
        <pc:sldMkLst>
          <pc:docMk/>
          <pc:sldMk cId="1499435670" sldId="2147477012"/>
        </pc:sldMkLst>
      </pc:sldChg>
      <pc:sldChg chg="del">
        <pc:chgData name="Dirk Wübben" userId="a27602df-5b54-480c-866c-64260ceb4949" providerId="ADAL" clId="{6384D003-2B9C-4703-BBC3-6469E285D43F}" dt="2025-03-05T10:35:17.901" v="2" actId="47"/>
        <pc:sldMkLst>
          <pc:docMk/>
          <pc:sldMk cId="1772872158" sldId="2147477013"/>
        </pc:sldMkLst>
      </pc:sldChg>
      <pc:sldChg chg="del">
        <pc:chgData name="Dirk Wübben" userId="a27602df-5b54-480c-866c-64260ceb4949" providerId="ADAL" clId="{6384D003-2B9C-4703-BBC3-6469E285D43F}" dt="2025-03-05T10:35:17.901" v="2" actId="47"/>
        <pc:sldMkLst>
          <pc:docMk/>
          <pc:sldMk cId="3438802940" sldId="2147477014"/>
        </pc:sldMkLst>
      </pc:sldChg>
      <pc:sldChg chg="del">
        <pc:chgData name="Dirk Wübben" userId="a27602df-5b54-480c-866c-64260ceb4949" providerId="ADAL" clId="{6384D003-2B9C-4703-BBC3-6469E285D43F}" dt="2025-03-05T10:35:12.232" v="1" actId="47"/>
        <pc:sldMkLst>
          <pc:docMk/>
          <pc:sldMk cId="4062828998" sldId="2147477015"/>
        </pc:sldMkLst>
      </pc:sldChg>
      <pc:sldChg chg="del">
        <pc:chgData name="Dirk Wübben" userId="a27602df-5b54-480c-866c-64260ceb4949" providerId="ADAL" clId="{6384D003-2B9C-4703-BBC3-6469E285D43F}" dt="2025-03-05T10:35:12.232" v="1" actId="47"/>
        <pc:sldMkLst>
          <pc:docMk/>
          <pc:sldMk cId="763565366" sldId="2147477016"/>
        </pc:sldMkLst>
      </pc:sldChg>
      <pc:sldChg chg="modSp new add del">
        <pc:chgData name="Dirk Wübben" userId="a27602df-5b54-480c-866c-64260ceb4949" providerId="ADAL" clId="{6384D003-2B9C-4703-BBC3-6469E285D43F}" dt="2025-03-20T10:25:10.039" v="1788" actId="47"/>
        <pc:sldMkLst>
          <pc:docMk/>
          <pc:sldMk cId="1807684934" sldId="2147477017"/>
        </pc:sldMkLst>
      </pc:sldChg>
      <pc:sldChg chg="addSp delSp modSp new del mod modClrScheme chgLayout">
        <pc:chgData name="Dirk Wübben" userId="a27602df-5b54-480c-866c-64260ceb4949" providerId="ADAL" clId="{6384D003-2B9C-4703-BBC3-6469E285D43F}" dt="2025-03-20T10:25:10.039" v="1788" actId="47"/>
        <pc:sldMkLst>
          <pc:docMk/>
          <pc:sldMk cId="1916707699" sldId="2147477018"/>
        </pc:sldMkLst>
      </pc:sldChg>
      <pc:sldChg chg="addSp delSp modSp mod modTransition modClrScheme chgLayout">
        <pc:chgData name="Dirk Wübben" userId="a27602df-5b54-480c-866c-64260ceb4949" providerId="ADAL" clId="{6384D003-2B9C-4703-BBC3-6469E285D43F}" dt="2025-03-28T07:48:09.876" v="2993"/>
        <pc:sldMkLst>
          <pc:docMk/>
          <pc:sldMk cId="3918639821" sldId="2147477019"/>
        </pc:sldMkLst>
        <pc:spChg chg="mod ord">
          <ac:chgData name="Dirk Wübben" userId="a27602df-5b54-480c-866c-64260ceb4949" providerId="ADAL" clId="{6384D003-2B9C-4703-BBC3-6469E285D43F}" dt="2025-03-25T11:45:01.950" v="2452" actId="700"/>
          <ac:spMkLst>
            <pc:docMk/>
            <pc:sldMk cId="3918639821" sldId="2147477019"/>
            <ac:spMk id="2" creationId="{6E67447F-64BC-A060-1E84-F524D6BDDF47}"/>
          </ac:spMkLst>
        </pc:spChg>
        <pc:spChg chg="add del mod ord">
          <ac:chgData name="Dirk Wübben" userId="a27602df-5b54-480c-866c-64260ceb4949" providerId="ADAL" clId="{6384D003-2B9C-4703-BBC3-6469E285D43F}" dt="2025-03-25T11:45:01.950" v="2452" actId="700"/>
          <ac:spMkLst>
            <pc:docMk/>
            <pc:sldMk cId="3918639821" sldId="2147477019"/>
            <ac:spMk id="6" creationId="{967E905D-1807-4264-B30D-F95730D3DD23}"/>
          </ac:spMkLst>
        </pc:spChg>
        <pc:picChg chg="add mod">
          <ac:chgData name="Dirk Wübben" userId="a27602df-5b54-480c-866c-64260ceb4949" providerId="ADAL" clId="{6384D003-2B9C-4703-BBC3-6469E285D43F}" dt="2025-03-25T15:18:44.658" v="2556" actId="14100"/>
          <ac:picMkLst>
            <pc:docMk/>
            <pc:sldMk cId="3918639821" sldId="2147477019"/>
            <ac:picMk id="5" creationId="{E1CA6B72-40B3-4973-9551-80ED85C8CC17}"/>
          </ac:picMkLst>
        </pc:picChg>
      </pc:sldChg>
      <pc:sldChg chg="addSp modSp mod modTransition">
        <pc:chgData name="Dirk Wübben" userId="a27602df-5b54-480c-866c-64260ceb4949" providerId="ADAL" clId="{6384D003-2B9C-4703-BBC3-6469E285D43F}" dt="2025-03-28T07:48:09.876" v="2993"/>
        <pc:sldMkLst>
          <pc:docMk/>
          <pc:sldMk cId="1981480036" sldId="2147477020"/>
        </pc:sldMkLst>
        <pc:spChg chg="mod">
          <ac:chgData name="Dirk Wübben" userId="a27602df-5b54-480c-866c-64260ceb4949" providerId="ADAL" clId="{6384D003-2B9C-4703-BBC3-6469E285D43F}" dt="2025-03-20T10:26:11.408" v="1814" actId="113"/>
          <ac:spMkLst>
            <pc:docMk/>
            <pc:sldMk cId="1981480036" sldId="2147477020"/>
            <ac:spMk id="2" creationId="{262D5F6B-5BF0-B37C-D70B-86AB33F51D08}"/>
          </ac:spMkLst>
        </pc:spChg>
        <pc:spChg chg="mod">
          <ac:chgData name="Dirk Wübben" userId="a27602df-5b54-480c-866c-64260ceb4949" providerId="ADAL" clId="{6384D003-2B9C-4703-BBC3-6469E285D43F}" dt="2025-03-20T10:11:09.732" v="1579"/>
          <ac:spMkLst>
            <pc:docMk/>
            <pc:sldMk cId="1981480036" sldId="2147477020"/>
            <ac:spMk id="3" creationId="{C363908A-4267-394E-3BE5-35C19668102A}"/>
          </ac:spMkLst>
        </pc:spChg>
        <pc:picChg chg="add mod">
          <ac:chgData name="Dirk Wübben" userId="a27602df-5b54-480c-866c-64260ceb4949" providerId="ADAL" clId="{6384D003-2B9C-4703-BBC3-6469E285D43F}" dt="2025-03-25T15:18:25.769" v="2552" actId="1076"/>
          <ac:picMkLst>
            <pc:docMk/>
            <pc:sldMk cId="1981480036" sldId="2147477020"/>
            <ac:picMk id="4" creationId="{5E8F2DC2-4C5E-48A8-9AA9-BFD31E65AA80}"/>
          </ac:picMkLst>
        </pc:picChg>
      </pc:sldChg>
      <pc:sldChg chg="addSp delSp modSp new del mod modClrScheme chgLayout">
        <pc:chgData name="Dirk Wübben" userId="a27602df-5b54-480c-866c-64260ceb4949" providerId="ADAL" clId="{6384D003-2B9C-4703-BBC3-6469E285D43F}" dt="2025-03-17T14:02:38.214" v="942" actId="47"/>
        <pc:sldMkLst>
          <pc:docMk/>
          <pc:sldMk cId="591985399" sldId="2147477021"/>
        </pc:sldMkLst>
      </pc:sldChg>
      <pc:sldChg chg="addSp delSp modSp new mod modTransition modClrScheme chgLayout">
        <pc:chgData name="Dirk Wübben" userId="a27602df-5b54-480c-866c-64260ceb4949" providerId="ADAL" clId="{6384D003-2B9C-4703-BBC3-6469E285D43F}" dt="2025-03-20T11:52:11.619" v="1972"/>
        <pc:sldMkLst>
          <pc:docMk/>
          <pc:sldMk cId="3089069018" sldId="2147477022"/>
        </pc:sldMkLst>
      </pc:sldChg>
      <pc:sldChg chg="addSp delSp modSp new mod modTransition modClrScheme chgLayout">
        <pc:chgData name="Dirk Wübben" userId="a27602df-5b54-480c-866c-64260ceb4949" providerId="ADAL" clId="{6384D003-2B9C-4703-BBC3-6469E285D43F}" dt="2025-03-28T07:48:09.876" v="2993"/>
        <pc:sldMkLst>
          <pc:docMk/>
          <pc:sldMk cId="2867360075" sldId="2147477023"/>
        </pc:sldMkLst>
        <pc:spChg chg="add mod ord">
          <ac:chgData name="Dirk Wübben" userId="a27602df-5b54-480c-866c-64260ceb4949" providerId="ADAL" clId="{6384D003-2B9C-4703-BBC3-6469E285D43F}" dt="2025-03-20T10:11:09.732" v="1579"/>
          <ac:spMkLst>
            <pc:docMk/>
            <pc:sldMk cId="2867360075" sldId="2147477023"/>
            <ac:spMk id="4" creationId="{24562EDF-572B-467F-AB80-A4CF18E58417}"/>
          </ac:spMkLst>
        </pc:spChg>
        <pc:spChg chg="add mod ord">
          <ac:chgData name="Dirk Wübben" userId="a27602df-5b54-480c-866c-64260ceb4949" providerId="ADAL" clId="{6384D003-2B9C-4703-BBC3-6469E285D43F}" dt="2025-03-20T10:11:09.732" v="1579"/>
          <ac:spMkLst>
            <pc:docMk/>
            <pc:sldMk cId="2867360075" sldId="2147477023"/>
            <ac:spMk id="5" creationId="{6644065C-808A-4A27-8E30-920147FCA632}"/>
          </ac:spMkLst>
        </pc:spChg>
        <pc:picChg chg="add mod">
          <ac:chgData name="Dirk Wübben" userId="a27602df-5b54-480c-866c-64260ceb4949" providerId="ADAL" clId="{6384D003-2B9C-4703-BBC3-6469E285D43F}" dt="2025-03-25T15:19:25.136" v="2563" actId="14100"/>
          <ac:picMkLst>
            <pc:docMk/>
            <pc:sldMk cId="2867360075" sldId="2147477023"/>
            <ac:picMk id="6" creationId="{D774758C-0346-4CEB-ADD3-3E650C8B9520}"/>
          </ac:picMkLst>
        </pc:picChg>
      </pc:sldChg>
      <pc:sldChg chg="addSp modSp add mod modTransition">
        <pc:chgData name="Dirk Wübben" userId="a27602df-5b54-480c-866c-64260ceb4949" providerId="ADAL" clId="{6384D003-2B9C-4703-BBC3-6469E285D43F}" dt="2025-03-28T07:48:09.876" v="2993"/>
        <pc:sldMkLst>
          <pc:docMk/>
          <pc:sldMk cId="1272416299" sldId="2147477024"/>
        </pc:sldMkLst>
        <pc:spChg chg="mod">
          <ac:chgData name="Dirk Wübben" userId="a27602df-5b54-480c-866c-64260ceb4949" providerId="ADAL" clId="{6384D003-2B9C-4703-BBC3-6469E285D43F}" dt="2025-03-20T10:11:09.732" v="1579"/>
          <ac:spMkLst>
            <pc:docMk/>
            <pc:sldMk cId="1272416299" sldId="2147477024"/>
            <ac:spMk id="4" creationId="{24562EDF-572B-467F-AB80-A4CF18E58417}"/>
          </ac:spMkLst>
        </pc:spChg>
        <pc:spChg chg="mod">
          <ac:chgData name="Dirk Wübben" userId="a27602df-5b54-480c-866c-64260ceb4949" providerId="ADAL" clId="{6384D003-2B9C-4703-BBC3-6469E285D43F}" dt="2025-03-20T10:11:09.732" v="1579"/>
          <ac:spMkLst>
            <pc:docMk/>
            <pc:sldMk cId="1272416299" sldId="2147477024"/>
            <ac:spMk id="5" creationId="{6644065C-808A-4A27-8E30-920147FCA632}"/>
          </ac:spMkLst>
        </pc:spChg>
        <pc:picChg chg="add mod">
          <ac:chgData name="Dirk Wübben" userId="a27602df-5b54-480c-866c-64260ceb4949" providerId="ADAL" clId="{6384D003-2B9C-4703-BBC3-6469E285D43F}" dt="2025-03-25T15:19:49.896" v="2570" actId="14100"/>
          <ac:picMkLst>
            <pc:docMk/>
            <pc:sldMk cId="1272416299" sldId="2147477024"/>
            <ac:picMk id="6" creationId="{AE81CDFB-FE81-4998-A3C8-FF53347F2E15}"/>
          </ac:picMkLst>
        </pc:picChg>
      </pc:sldChg>
      <pc:sldChg chg="addSp delSp modSp add del mod modClrScheme chgLayout">
        <pc:chgData name="Dirk Wübben" userId="a27602df-5b54-480c-866c-64260ceb4949" providerId="ADAL" clId="{6384D003-2B9C-4703-BBC3-6469E285D43F}" dt="2025-03-17T13:37:01.391" v="434" actId="47"/>
        <pc:sldMkLst>
          <pc:docMk/>
          <pc:sldMk cId="2124574468" sldId="2147477025"/>
        </pc:sldMkLst>
      </pc:sldChg>
      <pc:sldChg chg="addSp delSp modSp new del mod modClrScheme chgLayout">
        <pc:chgData name="Dirk Wübben" userId="a27602df-5b54-480c-866c-64260ceb4949" providerId="ADAL" clId="{6384D003-2B9C-4703-BBC3-6469E285D43F}" dt="2025-03-20T11:47:33.730" v="1909" actId="47"/>
        <pc:sldMkLst>
          <pc:docMk/>
          <pc:sldMk cId="4217844185" sldId="2147477025"/>
        </pc:sldMkLst>
      </pc:sldChg>
      <pc:sldChg chg="addSp modSp new del mod modTransition">
        <pc:chgData name="Dirk Wübben" userId="a27602df-5b54-480c-866c-64260ceb4949" providerId="ADAL" clId="{6384D003-2B9C-4703-BBC3-6469E285D43F}" dt="2025-03-28T08:57:03.174" v="4311" actId="47"/>
        <pc:sldMkLst>
          <pc:docMk/>
          <pc:sldMk cId="2146140212" sldId="2147477026"/>
        </pc:sldMkLst>
      </pc:sldChg>
      <pc:sldChg chg="addSp modSp new del mod">
        <pc:chgData name="Dirk Wübben" userId="a27602df-5b54-480c-866c-64260ceb4949" providerId="ADAL" clId="{6384D003-2B9C-4703-BBC3-6469E285D43F}" dt="2025-03-20T10:28:42.556" v="1829" actId="47"/>
        <pc:sldMkLst>
          <pc:docMk/>
          <pc:sldMk cId="1170200564" sldId="2147477027"/>
        </pc:sldMkLst>
      </pc:sldChg>
      <pc:sldChg chg="addSp delSp modSp del mod modClrScheme chgLayout">
        <pc:chgData name="Dirk Wübben" userId="a27602df-5b54-480c-866c-64260ceb4949" providerId="ADAL" clId="{6384D003-2B9C-4703-BBC3-6469E285D43F}" dt="2025-03-20T11:49:44.168" v="1935" actId="47"/>
        <pc:sldMkLst>
          <pc:docMk/>
          <pc:sldMk cId="4234122540" sldId="2147477028"/>
        </pc:sldMkLst>
      </pc:sldChg>
      <pc:sldChg chg="addSp delSp modSp new mod ord modTransition modClrScheme chgLayout">
        <pc:chgData name="Dirk Wübben" userId="a27602df-5b54-480c-866c-64260ceb4949" providerId="ADAL" clId="{6384D003-2B9C-4703-BBC3-6469E285D43F}" dt="2025-03-28T07:48:09.876" v="2993"/>
        <pc:sldMkLst>
          <pc:docMk/>
          <pc:sldMk cId="3498027820" sldId="2147477029"/>
        </pc:sldMkLst>
        <pc:spChg chg="mod ord">
          <ac:chgData name="Dirk Wübben" userId="a27602df-5b54-480c-866c-64260ceb4949" providerId="ADAL" clId="{6384D003-2B9C-4703-BBC3-6469E285D43F}" dt="2025-03-20T10:11:09.732" v="1579"/>
          <ac:spMkLst>
            <pc:docMk/>
            <pc:sldMk cId="3498027820" sldId="2147477029"/>
            <ac:spMk id="2" creationId="{201D0F38-4964-4495-9ACC-732FA7F40AC9}"/>
          </ac:spMkLst>
        </pc:spChg>
        <pc:spChg chg="add mod ord">
          <ac:chgData name="Dirk Wübben" userId="a27602df-5b54-480c-866c-64260ceb4949" providerId="ADAL" clId="{6384D003-2B9C-4703-BBC3-6469E285D43F}" dt="2025-03-20T11:43:54.984" v="1872" actId="171"/>
          <ac:spMkLst>
            <pc:docMk/>
            <pc:sldMk cId="3498027820" sldId="2147477029"/>
            <ac:spMk id="3" creationId="{CEE4DB3A-DFBB-4CB4-80FC-30394AB2CCD2}"/>
          </ac:spMkLst>
        </pc:spChg>
        <pc:spChg chg="add mod ord">
          <ac:chgData name="Dirk Wübben" userId="a27602df-5b54-480c-866c-64260ceb4949" providerId="ADAL" clId="{6384D003-2B9C-4703-BBC3-6469E285D43F}" dt="2025-03-26T07:16:25.463" v="2612" actId="6549"/>
          <ac:spMkLst>
            <pc:docMk/>
            <pc:sldMk cId="3498027820" sldId="2147477029"/>
            <ac:spMk id="4" creationId="{E5B1FA61-1764-4203-B88B-2D8E9B423A2A}"/>
          </ac:spMkLst>
        </pc:spChg>
        <pc:spChg chg="mod">
          <ac:chgData name="Dirk Wübben" userId="a27602df-5b54-480c-866c-64260ceb4949" providerId="ADAL" clId="{6384D003-2B9C-4703-BBC3-6469E285D43F}" dt="2025-03-20T10:11:09.732" v="1579"/>
          <ac:spMkLst>
            <pc:docMk/>
            <pc:sldMk cId="3498027820" sldId="2147477029"/>
            <ac:spMk id="20" creationId="{6DF25862-2B4E-41B2-9F96-E1F9D01AEB37}"/>
          </ac:spMkLst>
        </pc:spChg>
        <pc:spChg chg="mod">
          <ac:chgData name="Dirk Wübben" userId="a27602df-5b54-480c-866c-64260ceb4949" providerId="ADAL" clId="{6384D003-2B9C-4703-BBC3-6469E285D43F}" dt="2025-03-20T10:11:09.732" v="1579"/>
          <ac:spMkLst>
            <pc:docMk/>
            <pc:sldMk cId="3498027820" sldId="2147477029"/>
            <ac:spMk id="21" creationId="{76055B77-08F5-4D3E-857D-A010E2A9D633}"/>
          </ac:spMkLst>
        </pc:spChg>
        <pc:spChg chg="mod">
          <ac:chgData name="Dirk Wübben" userId="a27602df-5b54-480c-866c-64260ceb4949" providerId="ADAL" clId="{6384D003-2B9C-4703-BBC3-6469E285D43F}" dt="2025-03-20T10:11:09.732" v="1579"/>
          <ac:spMkLst>
            <pc:docMk/>
            <pc:sldMk cId="3498027820" sldId="2147477029"/>
            <ac:spMk id="22" creationId="{8CCBCA71-EDB0-4837-A255-80DBE2911266}"/>
          </ac:spMkLst>
        </pc:spChg>
        <pc:spChg chg="mod">
          <ac:chgData name="Dirk Wübben" userId="a27602df-5b54-480c-866c-64260ceb4949" providerId="ADAL" clId="{6384D003-2B9C-4703-BBC3-6469E285D43F}" dt="2025-03-20T10:11:09.732" v="1579"/>
          <ac:spMkLst>
            <pc:docMk/>
            <pc:sldMk cId="3498027820" sldId="2147477029"/>
            <ac:spMk id="23" creationId="{9D968FBD-3D2A-4339-8EF6-5E7E5C36E3D8}"/>
          </ac:spMkLst>
        </pc:spChg>
        <pc:spChg chg="mod">
          <ac:chgData name="Dirk Wübben" userId="a27602df-5b54-480c-866c-64260ceb4949" providerId="ADAL" clId="{6384D003-2B9C-4703-BBC3-6469E285D43F}" dt="2025-03-20T10:11:09.732" v="1579"/>
          <ac:spMkLst>
            <pc:docMk/>
            <pc:sldMk cId="3498027820" sldId="2147477029"/>
            <ac:spMk id="25" creationId="{137416A3-E806-43F1-967E-FEB7398F0B0F}"/>
          </ac:spMkLst>
        </pc:spChg>
        <pc:spChg chg="mod">
          <ac:chgData name="Dirk Wübben" userId="a27602df-5b54-480c-866c-64260ceb4949" providerId="ADAL" clId="{6384D003-2B9C-4703-BBC3-6469E285D43F}" dt="2025-03-20T10:11:09.732" v="1579"/>
          <ac:spMkLst>
            <pc:docMk/>
            <pc:sldMk cId="3498027820" sldId="2147477029"/>
            <ac:spMk id="27" creationId="{928801C3-6F39-424F-96AC-16CA186D3D2B}"/>
          </ac:spMkLst>
        </pc:spChg>
        <pc:spChg chg="mod">
          <ac:chgData name="Dirk Wübben" userId="a27602df-5b54-480c-866c-64260ceb4949" providerId="ADAL" clId="{6384D003-2B9C-4703-BBC3-6469E285D43F}" dt="2025-03-20T10:11:09.732" v="1579"/>
          <ac:spMkLst>
            <pc:docMk/>
            <pc:sldMk cId="3498027820" sldId="2147477029"/>
            <ac:spMk id="28" creationId="{D9BABC4D-41F8-4003-8B5B-6CC9CFF6911C}"/>
          </ac:spMkLst>
        </pc:spChg>
        <pc:spChg chg="mod">
          <ac:chgData name="Dirk Wübben" userId="a27602df-5b54-480c-866c-64260ceb4949" providerId="ADAL" clId="{6384D003-2B9C-4703-BBC3-6469E285D43F}" dt="2025-03-20T10:11:09.732" v="1579"/>
          <ac:spMkLst>
            <pc:docMk/>
            <pc:sldMk cId="3498027820" sldId="2147477029"/>
            <ac:spMk id="30" creationId="{7A8BF1D0-EDF6-4A5B-8050-83664D888DA2}"/>
          </ac:spMkLst>
        </pc:spChg>
        <pc:spChg chg="mod">
          <ac:chgData name="Dirk Wübben" userId="a27602df-5b54-480c-866c-64260ceb4949" providerId="ADAL" clId="{6384D003-2B9C-4703-BBC3-6469E285D43F}" dt="2025-03-20T10:11:09.732" v="1579"/>
          <ac:spMkLst>
            <pc:docMk/>
            <pc:sldMk cId="3498027820" sldId="2147477029"/>
            <ac:spMk id="31" creationId="{419862E9-383F-4794-AFFC-A6788406C8FA}"/>
          </ac:spMkLst>
        </pc:spChg>
        <pc:spChg chg="mod">
          <ac:chgData name="Dirk Wübben" userId="a27602df-5b54-480c-866c-64260ceb4949" providerId="ADAL" clId="{6384D003-2B9C-4703-BBC3-6469E285D43F}" dt="2025-03-20T10:11:09.732" v="1579"/>
          <ac:spMkLst>
            <pc:docMk/>
            <pc:sldMk cId="3498027820" sldId="2147477029"/>
            <ac:spMk id="33" creationId="{50BCCFC3-88F9-4B92-B558-A16846EA9CC6}"/>
          </ac:spMkLst>
        </pc:spChg>
        <pc:spChg chg="mod">
          <ac:chgData name="Dirk Wübben" userId="a27602df-5b54-480c-866c-64260ceb4949" providerId="ADAL" clId="{6384D003-2B9C-4703-BBC3-6469E285D43F}" dt="2025-03-20T10:11:09.732" v="1579"/>
          <ac:spMkLst>
            <pc:docMk/>
            <pc:sldMk cId="3498027820" sldId="2147477029"/>
            <ac:spMk id="34" creationId="{C95959DA-EBCF-45C5-897B-B98D9FDF2D13}"/>
          </ac:spMkLst>
        </pc:spChg>
        <pc:spChg chg="mod">
          <ac:chgData name="Dirk Wübben" userId="a27602df-5b54-480c-866c-64260ceb4949" providerId="ADAL" clId="{6384D003-2B9C-4703-BBC3-6469E285D43F}" dt="2025-03-20T10:11:09.732" v="1579"/>
          <ac:spMkLst>
            <pc:docMk/>
            <pc:sldMk cId="3498027820" sldId="2147477029"/>
            <ac:spMk id="53" creationId="{EA01FA85-BE99-4587-BA5A-0BC272C0E591}"/>
          </ac:spMkLst>
        </pc:spChg>
        <pc:spChg chg="mod">
          <ac:chgData name="Dirk Wübben" userId="a27602df-5b54-480c-866c-64260ceb4949" providerId="ADAL" clId="{6384D003-2B9C-4703-BBC3-6469E285D43F}" dt="2025-03-20T10:11:09.732" v="1579"/>
          <ac:spMkLst>
            <pc:docMk/>
            <pc:sldMk cId="3498027820" sldId="2147477029"/>
            <ac:spMk id="55" creationId="{B94BDA6E-3A54-4983-A3FB-E90A75F6EFBB}"/>
          </ac:spMkLst>
        </pc:spChg>
        <pc:spChg chg="mod">
          <ac:chgData name="Dirk Wübben" userId="a27602df-5b54-480c-866c-64260ceb4949" providerId="ADAL" clId="{6384D003-2B9C-4703-BBC3-6469E285D43F}" dt="2025-03-20T10:11:09.732" v="1579"/>
          <ac:spMkLst>
            <pc:docMk/>
            <pc:sldMk cId="3498027820" sldId="2147477029"/>
            <ac:spMk id="57" creationId="{8FA669C0-019D-4019-9013-7D3F9F7B9E1E}"/>
          </ac:spMkLst>
        </pc:spChg>
        <pc:spChg chg="mod">
          <ac:chgData name="Dirk Wübben" userId="a27602df-5b54-480c-866c-64260ceb4949" providerId="ADAL" clId="{6384D003-2B9C-4703-BBC3-6469E285D43F}" dt="2025-03-20T10:11:09.732" v="1579"/>
          <ac:spMkLst>
            <pc:docMk/>
            <pc:sldMk cId="3498027820" sldId="2147477029"/>
            <ac:spMk id="58" creationId="{0B7F3E26-DF8E-47A5-9AA1-B0E68EC01201}"/>
          </ac:spMkLst>
        </pc:spChg>
        <pc:spChg chg="mod">
          <ac:chgData name="Dirk Wübben" userId="a27602df-5b54-480c-866c-64260ceb4949" providerId="ADAL" clId="{6384D003-2B9C-4703-BBC3-6469E285D43F}" dt="2025-03-20T10:11:09.732" v="1579"/>
          <ac:spMkLst>
            <pc:docMk/>
            <pc:sldMk cId="3498027820" sldId="2147477029"/>
            <ac:spMk id="59" creationId="{26FB7C10-E89B-4957-9E13-BE59C7E9B426}"/>
          </ac:spMkLst>
        </pc:spChg>
        <pc:spChg chg="mod">
          <ac:chgData name="Dirk Wübben" userId="a27602df-5b54-480c-866c-64260ceb4949" providerId="ADAL" clId="{6384D003-2B9C-4703-BBC3-6469E285D43F}" dt="2025-03-20T10:11:09.732" v="1579"/>
          <ac:spMkLst>
            <pc:docMk/>
            <pc:sldMk cId="3498027820" sldId="2147477029"/>
            <ac:spMk id="60" creationId="{CF4BD580-801F-4403-81B6-287A9AF8CFB8}"/>
          </ac:spMkLst>
        </pc:spChg>
        <pc:spChg chg="mod">
          <ac:chgData name="Dirk Wübben" userId="a27602df-5b54-480c-866c-64260ceb4949" providerId="ADAL" clId="{6384D003-2B9C-4703-BBC3-6469E285D43F}" dt="2025-03-20T10:11:09.732" v="1579"/>
          <ac:spMkLst>
            <pc:docMk/>
            <pc:sldMk cId="3498027820" sldId="2147477029"/>
            <ac:spMk id="61" creationId="{46CF83CC-5C62-461B-8CA1-A3D0F5C98597}"/>
          </ac:spMkLst>
        </pc:spChg>
        <pc:spChg chg="mod">
          <ac:chgData name="Dirk Wübben" userId="a27602df-5b54-480c-866c-64260ceb4949" providerId="ADAL" clId="{6384D003-2B9C-4703-BBC3-6469E285D43F}" dt="2025-03-20T10:11:09.732" v="1579"/>
          <ac:spMkLst>
            <pc:docMk/>
            <pc:sldMk cId="3498027820" sldId="2147477029"/>
            <ac:spMk id="80" creationId="{B70881FA-929D-4FFD-9697-2315FABDC21D}"/>
          </ac:spMkLst>
        </pc:spChg>
        <pc:spChg chg="mod">
          <ac:chgData name="Dirk Wübben" userId="a27602df-5b54-480c-866c-64260ceb4949" providerId="ADAL" clId="{6384D003-2B9C-4703-BBC3-6469E285D43F}" dt="2025-03-20T10:11:09.732" v="1579"/>
          <ac:spMkLst>
            <pc:docMk/>
            <pc:sldMk cId="3498027820" sldId="2147477029"/>
            <ac:spMk id="81" creationId="{4493F4D9-0780-4E66-82D3-0464EE65E19C}"/>
          </ac:spMkLst>
        </pc:spChg>
        <pc:grpChg chg="add mod">
          <ac:chgData name="Dirk Wübben" userId="a27602df-5b54-480c-866c-64260ceb4949" providerId="ADAL" clId="{6384D003-2B9C-4703-BBC3-6469E285D43F}" dt="2025-03-20T10:11:09.732" v="1579"/>
          <ac:grpSpMkLst>
            <pc:docMk/>
            <pc:sldMk cId="3498027820" sldId="2147477029"/>
            <ac:grpSpMk id="7" creationId="{9B723A7B-CEAE-4483-A852-2F4A8E30F867}"/>
          </ac:grpSpMkLst>
        </pc:grpChg>
        <pc:graphicFrameChg chg="add mod">
          <ac:chgData name="Dirk Wübben" userId="a27602df-5b54-480c-866c-64260ceb4949" providerId="ADAL" clId="{6384D003-2B9C-4703-BBC3-6469E285D43F}" dt="2025-03-26T07:16:42.989" v="2616" actId="20577"/>
          <ac:graphicFrameMkLst>
            <pc:docMk/>
            <pc:sldMk cId="3498027820" sldId="2147477029"/>
            <ac:graphicFrameMk id="6" creationId="{A27AE488-C595-463C-8D0B-08C6F24996CA}"/>
          </ac:graphicFrameMkLst>
        </pc:graphicFrameChg>
        <pc:picChg chg="mod">
          <ac:chgData name="Dirk Wübben" userId="a27602df-5b54-480c-866c-64260ceb4949" providerId="ADAL" clId="{6384D003-2B9C-4703-BBC3-6469E285D43F}" dt="2025-03-20T10:11:09.732" v="1579"/>
          <ac:picMkLst>
            <pc:docMk/>
            <pc:sldMk cId="3498027820" sldId="2147477029"/>
            <ac:picMk id="8" creationId="{95498A07-5F62-4FA2-B7AD-B92DAAD253E5}"/>
          </ac:picMkLst>
        </pc:picChg>
        <pc:picChg chg="mod">
          <ac:chgData name="Dirk Wübben" userId="a27602df-5b54-480c-866c-64260ceb4949" providerId="ADAL" clId="{6384D003-2B9C-4703-BBC3-6469E285D43F}" dt="2025-03-20T10:11:09.732" v="1579"/>
          <ac:picMkLst>
            <pc:docMk/>
            <pc:sldMk cId="3498027820" sldId="2147477029"/>
            <ac:picMk id="9" creationId="{D1F989F4-C470-4E7C-9C90-9CB8F5CF1F53}"/>
          </ac:picMkLst>
        </pc:picChg>
        <pc:picChg chg="mod">
          <ac:chgData name="Dirk Wübben" userId="a27602df-5b54-480c-866c-64260ceb4949" providerId="ADAL" clId="{6384D003-2B9C-4703-BBC3-6469E285D43F}" dt="2025-03-20T10:11:09.732" v="1579"/>
          <ac:picMkLst>
            <pc:docMk/>
            <pc:sldMk cId="3498027820" sldId="2147477029"/>
            <ac:picMk id="10" creationId="{C3229356-9EE3-4536-8494-804C5F8AB8C0}"/>
          </ac:picMkLst>
        </pc:picChg>
        <pc:picChg chg="mod">
          <ac:chgData name="Dirk Wübben" userId="a27602df-5b54-480c-866c-64260ceb4949" providerId="ADAL" clId="{6384D003-2B9C-4703-BBC3-6469E285D43F}" dt="2025-03-20T10:11:09.732" v="1579"/>
          <ac:picMkLst>
            <pc:docMk/>
            <pc:sldMk cId="3498027820" sldId="2147477029"/>
            <ac:picMk id="11" creationId="{530969E3-AF96-4DD2-B72B-C198BB408179}"/>
          </ac:picMkLst>
        </pc:picChg>
        <pc:picChg chg="mod">
          <ac:chgData name="Dirk Wübben" userId="a27602df-5b54-480c-866c-64260ceb4949" providerId="ADAL" clId="{6384D003-2B9C-4703-BBC3-6469E285D43F}" dt="2025-03-20T10:11:09.732" v="1579"/>
          <ac:picMkLst>
            <pc:docMk/>
            <pc:sldMk cId="3498027820" sldId="2147477029"/>
            <ac:picMk id="12" creationId="{A0F12D9C-805B-4384-9BEB-ABAE9E0FA258}"/>
          </ac:picMkLst>
        </pc:picChg>
        <pc:picChg chg="mod">
          <ac:chgData name="Dirk Wübben" userId="a27602df-5b54-480c-866c-64260ceb4949" providerId="ADAL" clId="{6384D003-2B9C-4703-BBC3-6469E285D43F}" dt="2025-03-20T10:11:09.732" v="1579"/>
          <ac:picMkLst>
            <pc:docMk/>
            <pc:sldMk cId="3498027820" sldId="2147477029"/>
            <ac:picMk id="13" creationId="{4C77252B-D6DA-4ABC-8227-507C3C0F35B6}"/>
          </ac:picMkLst>
        </pc:picChg>
        <pc:picChg chg="mod">
          <ac:chgData name="Dirk Wübben" userId="a27602df-5b54-480c-866c-64260ceb4949" providerId="ADAL" clId="{6384D003-2B9C-4703-BBC3-6469E285D43F}" dt="2025-03-20T10:11:09.732" v="1579"/>
          <ac:picMkLst>
            <pc:docMk/>
            <pc:sldMk cId="3498027820" sldId="2147477029"/>
            <ac:picMk id="14" creationId="{10D478AD-B71D-4B6F-9772-045B002EC892}"/>
          </ac:picMkLst>
        </pc:picChg>
        <pc:picChg chg="mod">
          <ac:chgData name="Dirk Wübben" userId="a27602df-5b54-480c-866c-64260ceb4949" providerId="ADAL" clId="{6384D003-2B9C-4703-BBC3-6469E285D43F}" dt="2025-03-20T10:11:09.732" v="1579"/>
          <ac:picMkLst>
            <pc:docMk/>
            <pc:sldMk cId="3498027820" sldId="2147477029"/>
            <ac:picMk id="15" creationId="{00D1A24F-F2A2-45D6-B59F-FC7D0145CC7B}"/>
          </ac:picMkLst>
        </pc:picChg>
        <pc:picChg chg="mod">
          <ac:chgData name="Dirk Wübben" userId="a27602df-5b54-480c-866c-64260ceb4949" providerId="ADAL" clId="{6384D003-2B9C-4703-BBC3-6469E285D43F}" dt="2025-03-20T10:11:09.732" v="1579"/>
          <ac:picMkLst>
            <pc:docMk/>
            <pc:sldMk cId="3498027820" sldId="2147477029"/>
            <ac:picMk id="16" creationId="{394B743C-2295-46E5-8388-535A41AD900C}"/>
          </ac:picMkLst>
        </pc:picChg>
        <pc:picChg chg="mod">
          <ac:chgData name="Dirk Wübben" userId="a27602df-5b54-480c-866c-64260ceb4949" providerId="ADAL" clId="{6384D003-2B9C-4703-BBC3-6469E285D43F}" dt="2025-03-20T10:11:09.732" v="1579"/>
          <ac:picMkLst>
            <pc:docMk/>
            <pc:sldMk cId="3498027820" sldId="2147477029"/>
            <ac:picMk id="17" creationId="{6690FFB7-0554-43EA-B797-FB98F2198EFF}"/>
          </ac:picMkLst>
        </pc:picChg>
        <pc:picChg chg="mod">
          <ac:chgData name="Dirk Wübben" userId="a27602df-5b54-480c-866c-64260ceb4949" providerId="ADAL" clId="{6384D003-2B9C-4703-BBC3-6469E285D43F}" dt="2025-03-20T10:11:09.732" v="1579"/>
          <ac:picMkLst>
            <pc:docMk/>
            <pc:sldMk cId="3498027820" sldId="2147477029"/>
            <ac:picMk id="18" creationId="{0C908D76-18F5-4B04-9974-BCF5D5A262A8}"/>
          </ac:picMkLst>
        </pc:picChg>
        <pc:picChg chg="mod">
          <ac:chgData name="Dirk Wübben" userId="a27602df-5b54-480c-866c-64260ceb4949" providerId="ADAL" clId="{6384D003-2B9C-4703-BBC3-6469E285D43F}" dt="2025-03-20T10:11:09.732" v="1579"/>
          <ac:picMkLst>
            <pc:docMk/>
            <pc:sldMk cId="3498027820" sldId="2147477029"/>
            <ac:picMk id="19" creationId="{5E4FB26D-2A61-4611-92E9-1E9588B8CA81}"/>
          </ac:picMkLst>
        </pc:picChg>
        <pc:picChg chg="mod">
          <ac:chgData name="Dirk Wübben" userId="a27602df-5b54-480c-866c-64260ceb4949" providerId="ADAL" clId="{6384D003-2B9C-4703-BBC3-6469E285D43F}" dt="2025-03-20T10:11:09.732" v="1579"/>
          <ac:picMkLst>
            <pc:docMk/>
            <pc:sldMk cId="3498027820" sldId="2147477029"/>
            <ac:picMk id="24" creationId="{6DD39876-42FB-4443-A71C-6F739FB8E396}"/>
          </ac:picMkLst>
        </pc:picChg>
        <pc:picChg chg="mod">
          <ac:chgData name="Dirk Wübben" userId="a27602df-5b54-480c-866c-64260ceb4949" providerId="ADAL" clId="{6384D003-2B9C-4703-BBC3-6469E285D43F}" dt="2025-03-20T10:11:09.732" v="1579"/>
          <ac:picMkLst>
            <pc:docMk/>
            <pc:sldMk cId="3498027820" sldId="2147477029"/>
            <ac:picMk id="29" creationId="{D29C0118-04D5-49A4-BC46-1FECA6D96AED}"/>
          </ac:picMkLst>
        </pc:picChg>
        <pc:picChg chg="mod">
          <ac:chgData name="Dirk Wübben" userId="a27602df-5b54-480c-866c-64260ceb4949" providerId="ADAL" clId="{6384D003-2B9C-4703-BBC3-6469E285D43F}" dt="2025-03-20T10:11:09.732" v="1579"/>
          <ac:picMkLst>
            <pc:docMk/>
            <pc:sldMk cId="3498027820" sldId="2147477029"/>
            <ac:picMk id="35" creationId="{10A851D1-8671-4D1D-9912-FB22870CB522}"/>
          </ac:picMkLst>
        </pc:picChg>
        <pc:picChg chg="mod">
          <ac:chgData name="Dirk Wübben" userId="a27602df-5b54-480c-866c-64260ceb4949" providerId="ADAL" clId="{6384D003-2B9C-4703-BBC3-6469E285D43F}" dt="2025-03-20T10:11:09.732" v="1579"/>
          <ac:picMkLst>
            <pc:docMk/>
            <pc:sldMk cId="3498027820" sldId="2147477029"/>
            <ac:picMk id="37" creationId="{F8B3D14A-BCCE-41AF-9F1E-7B94839DCB70}"/>
          </ac:picMkLst>
        </pc:picChg>
        <pc:picChg chg="mod">
          <ac:chgData name="Dirk Wübben" userId="a27602df-5b54-480c-866c-64260ceb4949" providerId="ADAL" clId="{6384D003-2B9C-4703-BBC3-6469E285D43F}" dt="2025-03-20T10:11:09.732" v="1579"/>
          <ac:picMkLst>
            <pc:docMk/>
            <pc:sldMk cId="3498027820" sldId="2147477029"/>
            <ac:picMk id="48" creationId="{CB79FDD4-F358-4EA8-ADD6-6ED24A7856C4}"/>
          </ac:picMkLst>
        </pc:picChg>
        <pc:picChg chg="mod">
          <ac:chgData name="Dirk Wübben" userId="a27602df-5b54-480c-866c-64260ceb4949" providerId="ADAL" clId="{6384D003-2B9C-4703-BBC3-6469E285D43F}" dt="2025-03-20T10:11:09.732" v="1579"/>
          <ac:picMkLst>
            <pc:docMk/>
            <pc:sldMk cId="3498027820" sldId="2147477029"/>
            <ac:picMk id="49" creationId="{C2A71904-9473-4064-AC83-7A3CD9556028}"/>
          </ac:picMkLst>
        </pc:picChg>
        <pc:picChg chg="mod">
          <ac:chgData name="Dirk Wübben" userId="a27602df-5b54-480c-866c-64260ceb4949" providerId="ADAL" clId="{6384D003-2B9C-4703-BBC3-6469E285D43F}" dt="2025-03-20T10:11:09.732" v="1579"/>
          <ac:picMkLst>
            <pc:docMk/>
            <pc:sldMk cId="3498027820" sldId="2147477029"/>
            <ac:picMk id="54" creationId="{C6C8E225-D98B-4ACA-A259-6EADBBF85FCE}"/>
          </ac:picMkLst>
        </pc:picChg>
        <pc:picChg chg="mod">
          <ac:chgData name="Dirk Wübben" userId="a27602df-5b54-480c-866c-64260ceb4949" providerId="ADAL" clId="{6384D003-2B9C-4703-BBC3-6469E285D43F}" dt="2025-03-20T10:11:09.732" v="1579"/>
          <ac:picMkLst>
            <pc:docMk/>
            <pc:sldMk cId="3498027820" sldId="2147477029"/>
            <ac:picMk id="56" creationId="{9FCD5AEE-3CCB-4B11-A701-3776219BF6E2}"/>
          </ac:picMkLst>
        </pc:picChg>
        <pc:picChg chg="mod">
          <ac:chgData name="Dirk Wübben" userId="a27602df-5b54-480c-866c-64260ceb4949" providerId="ADAL" clId="{6384D003-2B9C-4703-BBC3-6469E285D43F}" dt="2025-03-20T10:11:09.732" v="1579"/>
          <ac:picMkLst>
            <pc:docMk/>
            <pc:sldMk cId="3498027820" sldId="2147477029"/>
            <ac:picMk id="66" creationId="{DA9D57D2-BDA3-4CD9-920E-D5A73EB71729}"/>
          </ac:picMkLst>
        </pc:picChg>
        <pc:picChg chg="mod">
          <ac:chgData name="Dirk Wübben" userId="a27602df-5b54-480c-866c-64260ceb4949" providerId="ADAL" clId="{6384D003-2B9C-4703-BBC3-6469E285D43F}" dt="2025-03-20T10:11:09.732" v="1579"/>
          <ac:picMkLst>
            <pc:docMk/>
            <pc:sldMk cId="3498027820" sldId="2147477029"/>
            <ac:picMk id="67" creationId="{F36BADB7-8797-4F69-AC0A-BD27E8E6FAFF}"/>
          </ac:picMkLst>
        </pc:picChg>
        <pc:picChg chg="mod">
          <ac:chgData name="Dirk Wübben" userId="a27602df-5b54-480c-866c-64260ceb4949" providerId="ADAL" clId="{6384D003-2B9C-4703-BBC3-6469E285D43F}" dt="2025-03-20T10:11:09.732" v="1579"/>
          <ac:picMkLst>
            <pc:docMk/>
            <pc:sldMk cId="3498027820" sldId="2147477029"/>
            <ac:picMk id="68" creationId="{2083B0A8-1399-4512-9433-E2BDDB88D575}"/>
          </ac:picMkLst>
        </pc:picChg>
        <pc:picChg chg="mod">
          <ac:chgData name="Dirk Wübben" userId="a27602df-5b54-480c-866c-64260ceb4949" providerId="ADAL" clId="{6384D003-2B9C-4703-BBC3-6469E285D43F}" dt="2025-03-20T10:11:09.732" v="1579"/>
          <ac:picMkLst>
            <pc:docMk/>
            <pc:sldMk cId="3498027820" sldId="2147477029"/>
            <ac:picMk id="69" creationId="{AF263A33-1D71-4259-907D-A388194E8241}"/>
          </ac:picMkLst>
        </pc:picChg>
        <pc:picChg chg="mod">
          <ac:chgData name="Dirk Wübben" userId="a27602df-5b54-480c-866c-64260ceb4949" providerId="ADAL" clId="{6384D003-2B9C-4703-BBC3-6469E285D43F}" dt="2025-03-20T10:11:09.732" v="1579"/>
          <ac:picMkLst>
            <pc:docMk/>
            <pc:sldMk cId="3498027820" sldId="2147477029"/>
            <ac:picMk id="70" creationId="{2048B851-269B-4DDC-9083-BAE2DC9F9574}"/>
          </ac:picMkLst>
        </pc:picChg>
        <pc:picChg chg="mod">
          <ac:chgData name="Dirk Wübben" userId="a27602df-5b54-480c-866c-64260ceb4949" providerId="ADAL" clId="{6384D003-2B9C-4703-BBC3-6469E285D43F}" dt="2025-03-20T10:11:09.732" v="1579"/>
          <ac:picMkLst>
            <pc:docMk/>
            <pc:sldMk cId="3498027820" sldId="2147477029"/>
            <ac:picMk id="71" creationId="{6EEFAEC4-7714-4332-9D5A-AD6300D1A1EF}"/>
          </ac:picMkLst>
        </pc:picChg>
        <pc:picChg chg="mod">
          <ac:chgData name="Dirk Wübben" userId="a27602df-5b54-480c-866c-64260ceb4949" providerId="ADAL" clId="{6384D003-2B9C-4703-BBC3-6469E285D43F}" dt="2025-03-20T10:11:09.732" v="1579"/>
          <ac:picMkLst>
            <pc:docMk/>
            <pc:sldMk cId="3498027820" sldId="2147477029"/>
            <ac:picMk id="72" creationId="{C43D3E26-54DE-49CA-8C97-E3D11B6B319A}"/>
          </ac:picMkLst>
        </pc:picChg>
        <pc:picChg chg="mod">
          <ac:chgData name="Dirk Wübben" userId="a27602df-5b54-480c-866c-64260ceb4949" providerId="ADAL" clId="{6384D003-2B9C-4703-BBC3-6469E285D43F}" dt="2025-03-20T10:11:09.732" v="1579"/>
          <ac:picMkLst>
            <pc:docMk/>
            <pc:sldMk cId="3498027820" sldId="2147477029"/>
            <ac:picMk id="73" creationId="{B1FBCF29-CDA6-4D89-B5F2-226505DEDF19}"/>
          </ac:picMkLst>
        </pc:picChg>
        <pc:picChg chg="mod">
          <ac:chgData name="Dirk Wübben" userId="a27602df-5b54-480c-866c-64260ceb4949" providerId="ADAL" clId="{6384D003-2B9C-4703-BBC3-6469E285D43F}" dt="2025-03-20T10:11:09.732" v="1579"/>
          <ac:picMkLst>
            <pc:docMk/>
            <pc:sldMk cId="3498027820" sldId="2147477029"/>
            <ac:picMk id="75" creationId="{A4E438BB-7BC1-490A-81D5-5EEE864F80EA}"/>
          </ac:picMkLst>
        </pc:picChg>
        <pc:picChg chg="mod">
          <ac:chgData name="Dirk Wübben" userId="a27602df-5b54-480c-866c-64260ceb4949" providerId="ADAL" clId="{6384D003-2B9C-4703-BBC3-6469E285D43F}" dt="2025-03-20T10:11:09.732" v="1579"/>
          <ac:picMkLst>
            <pc:docMk/>
            <pc:sldMk cId="3498027820" sldId="2147477029"/>
            <ac:picMk id="76" creationId="{1D728E0C-E58A-4168-BDB6-379BCD1BE80F}"/>
          </ac:picMkLst>
        </pc:picChg>
        <pc:picChg chg="mod">
          <ac:chgData name="Dirk Wübben" userId="a27602df-5b54-480c-866c-64260ceb4949" providerId="ADAL" clId="{6384D003-2B9C-4703-BBC3-6469E285D43F}" dt="2025-03-20T10:11:09.732" v="1579"/>
          <ac:picMkLst>
            <pc:docMk/>
            <pc:sldMk cId="3498027820" sldId="2147477029"/>
            <ac:picMk id="79" creationId="{00ABE114-E82B-40DB-A449-1588D26E1D91}"/>
          </ac:picMkLst>
        </pc:picChg>
        <pc:cxnChg chg="mod">
          <ac:chgData name="Dirk Wübben" userId="a27602df-5b54-480c-866c-64260ceb4949" providerId="ADAL" clId="{6384D003-2B9C-4703-BBC3-6469E285D43F}" dt="2025-03-20T10:11:09.732" v="1579"/>
          <ac:cxnSpMkLst>
            <pc:docMk/>
            <pc:sldMk cId="3498027820" sldId="2147477029"/>
            <ac:cxnSpMk id="26" creationId="{82649869-3DEA-45DC-8A58-D99299B384B4}"/>
          </ac:cxnSpMkLst>
        </pc:cxnChg>
        <pc:cxnChg chg="mod">
          <ac:chgData name="Dirk Wübben" userId="a27602df-5b54-480c-866c-64260ceb4949" providerId="ADAL" clId="{6384D003-2B9C-4703-BBC3-6469E285D43F}" dt="2025-03-20T10:11:09.732" v="1579"/>
          <ac:cxnSpMkLst>
            <pc:docMk/>
            <pc:sldMk cId="3498027820" sldId="2147477029"/>
            <ac:cxnSpMk id="32" creationId="{B51F92DF-D6F5-42AB-B23B-A312B010FDB8}"/>
          </ac:cxnSpMkLst>
        </pc:cxnChg>
        <pc:cxnChg chg="mod">
          <ac:chgData name="Dirk Wübben" userId="a27602df-5b54-480c-866c-64260ceb4949" providerId="ADAL" clId="{6384D003-2B9C-4703-BBC3-6469E285D43F}" dt="2025-03-20T10:11:09.732" v="1579"/>
          <ac:cxnSpMkLst>
            <pc:docMk/>
            <pc:sldMk cId="3498027820" sldId="2147477029"/>
            <ac:cxnSpMk id="36" creationId="{EB55CCA1-AD1C-47CA-8853-C508F61528CC}"/>
          </ac:cxnSpMkLst>
        </pc:cxnChg>
        <pc:cxnChg chg="mod">
          <ac:chgData name="Dirk Wübben" userId="a27602df-5b54-480c-866c-64260ceb4949" providerId="ADAL" clId="{6384D003-2B9C-4703-BBC3-6469E285D43F}" dt="2025-03-20T10:11:09.732" v="1579"/>
          <ac:cxnSpMkLst>
            <pc:docMk/>
            <pc:sldMk cId="3498027820" sldId="2147477029"/>
            <ac:cxnSpMk id="38" creationId="{7479F793-5D59-4F18-9756-A90D45A8BE2E}"/>
          </ac:cxnSpMkLst>
        </pc:cxnChg>
        <pc:cxnChg chg="mod">
          <ac:chgData name="Dirk Wübben" userId="a27602df-5b54-480c-866c-64260ceb4949" providerId="ADAL" clId="{6384D003-2B9C-4703-BBC3-6469E285D43F}" dt="2025-03-20T10:11:09.732" v="1579"/>
          <ac:cxnSpMkLst>
            <pc:docMk/>
            <pc:sldMk cId="3498027820" sldId="2147477029"/>
            <ac:cxnSpMk id="39" creationId="{7E14909D-332D-41D6-81F2-412165D79C86}"/>
          </ac:cxnSpMkLst>
        </pc:cxnChg>
        <pc:cxnChg chg="mod">
          <ac:chgData name="Dirk Wübben" userId="a27602df-5b54-480c-866c-64260ceb4949" providerId="ADAL" clId="{6384D003-2B9C-4703-BBC3-6469E285D43F}" dt="2025-03-20T10:11:09.732" v="1579"/>
          <ac:cxnSpMkLst>
            <pc:docMk/>
            <pc:sldMk cId="3498027820" sldId="2147477029"/>
            <ac:cxnSpMk id="40" creationId="{5BA8D009-74F2-406C-B77B-D51B40945453}"/>
          </ac:cxnSpMkLst>
        </pc:cxnChg>
        <pc:cxnChg chg="mod">
          <ac:chgData name="Dirk Wübben" userId="a27602df-5b54-480c-866c-64260ceb4949" providerId="ADAL" clId="{6384D003-2B9C-4703-BBC3-6469E285D43F}" dt="2025-03-20T10:11:09.732" v="1579"/>
          <ac:cxnSpMkLst>
            <pc:docMk/>
            <pc:sldMk cId="3498027820" sldId="2147477029"/>
            <ac:cxnSpMk id="41" creationId="{E718DA06-57B9-4D0E-B673-E2C56B7F395E}"/>
          </ac:cxnSpMkLst>
        </pc:cxnChg>
        <pc:cxnChg chg="mod">
          <ac:chgData name="Dirk Wübben" userId="a27602df-5b54-480c-866c-64260ceb4949" providerId="ADAL" clId="{6384D003-2B9C-4703-BBC3-6469E285D43F}" dt="2025-03-20T10:11:09.732" v="1579"/>
          <ac:cxnSpMkLst>
            <pc:docMk/>
            <pc:sldMk cId="3498027820" sldId="2147477029"/>
            <ac:cxnSpMk id="42" creationId="{23A6248E-F68C-4A8A-AF52-AE37347A8AB0}"/>
          </ac:cxnSpMkLst>
        </pc:cxnChg>
        <pc:cxnChg chg="mod">
          <ac:chgData name="Dirk Wübben" userId="a27602df-5b54-480c-866c-64260ceb4949" providerId="ADAL" clId="{6384D003-2B9C-4703-BBC3-6469E285D43F}" dt="2025-03-20T10:11:09.732" v="1579"/>
          <ac:cxnSpMkLst>
            <pc:docMk/>
            <pc:sldMk cId="3498027820" sldId="2147477029"/>
            <ac:cxnSpMk id="43" creationId="{2135B64A-D052-40A1-9F33-D5EB8413207B}"/>
          </ac:cxnSpMkLst>
        </pc:cxnChg>
        <pc:cxnChg chg="mod">
          <ac:chgData name="Dirk Wübben" userId="a27602df-5b54-480c-866c-64260ceb4949" providerId="ADAL" clId="{6384D003-2B9C-4703-BBC3-6469E285D43F}" dt="2025-03-20T10:11:09.732" v="1579"/>
          <ac:cxnSpMkLst>
            <pc:docMk/>
            <pc:sldMk cId="3498027820" sldId="2147477029"/>
            <ac:cxnSpMk id="44" creationId="{6EA97012-02F9-4D9B-96D0-CA9EA2DF1DB8}"/>
          </ac:cxnSpMkLst>
        </pc:cxnChg>
        <pc:cxnChg chg="mod">
          <ac:chgData name="Dirk Wübben" userId="a27602df-5b54-480c-866c-64260ceb4949" providerId="ADAL" clId="{6384D003-2B9C-4703-BBC3-6469E285D43F}" dt="2025-03-20T10:11:09.732" v="1579"/>
          <ac:cxnSpMkLst>
            <pc:docMk/>
            <pc:sldMk cId="3498027820" sldId="2147477029"/>
            <ac:cxnSpMk id="45" creationId="{DE628E4B-9FD4-4826-9F82-806E142D9FAF}"/>
          </ac:cxnSpMkLst>
        </pc:cxnChg>
        <pc:cxnChg chg="mod">
          <ac:chgData name="Dirk Wübben" userId="a27602df-5b54-480c-866c-64260ceb4949" providerId="ADAL" clId="{6384D003-2B9C-4703-BBC3-6469E285D43F}" dt="2025-03-20T10:11:09.732" v="1579"/>
          <ac:cxnSpMkLst>
            <pc:docMk/>
            <pc:sldMk cId="3498027820" sldId="2147477029"/>
            <ac:cxnSpMk id="46" creationId="{E76EAAFD-24CD-4D75-B2D8-6C2CA9890CDA}"/>
          </ac:cxnSpMkLst>
        </pc:cxnChg>
        <pc:cxnChg chg="mod">
          <ac:chgData name="Dirk Wübben" userId="a27602df-5b54-480c-866c-64260ceb4949" providerId="ADAL" clId="{6384D003-2B9C-4703-BBC3-6469E285D43F}" dt="2025-03-20T10:11:09.732" v="1579"/>
          <ac:cxnSpMkLst>
            <pc:docMk/>
            <pc:sldMk cId="3498027820" sldId="2147477029"/>
            <ac:cxnSpMk id="47" creationId="{C3897457-8BC8-4DDC-92F2-395266251062}"/>
          </ac:cxnSpMkLst>
        </pc:cxnChg>
        <pc:cxnChg chg="mod">
          <ac:chgData name="Dirk Wübben" userId="a27602df-5b54-480c-866c-64260ceb4949" providerId="ADAL" clId="{6384D003-2B9C-4703-BBC3-6469E285D43F}" dt="2025-03-20T10:11:09.732" v="1579"/>
          <ac:cxnSpMkLst>
            <pc:docMk/>
            <pc:sldMk cId="3498027820" sldId="2147477029"/>
            <ac:cxnSpMk id="50" creationId="{838C3477-7BBA-43F9-A001-29DFD01CC174}"/>
          </ac:cxnSpMkLst>
        </pc:cxnChg>
        <pc:cxnChg chg="mod">
          <ac:chgData name="Dirk Wübben" userId="a27602df-5b54-480c-866c-64260ceb4949" providerId="ADAL" clId="{6384D003-2B9C-4703-BBC3-6469E285D43F}" dt="2025-03-20T10:11:09.732" v="1579"/>
          <ac:cxnSpMkLst>
            <pc:docMk/>
            <pc:sldMk cId="3498027820" sldId="2147477029"/>
            <ac:cxnSpMk id="51" creationId="{CEF628E6-91B9-4A38-93DF-A98BD64509CC}"/>
          </ac:cxnSpMkLst>
        </pc:cxnChg>
        <pc:cxnChg chg="mod">
          <ac:chgData name="Dirk Wübben" userId="a27602df-5b54-480c-866c-64260ceb4949" providerId="ADAL" clId="{6384D003-2B9C-4703-BBC3-6469E285D43F}" dt="2025-03-20T10:11:09.732" v="1579"/>
          <ac:cxnSpMkLst>
            <pc:docMk/>
            <pc:sldMk cId="3498027820" sldId="2147477029"/>
            <ac:cxnSpMk id="52" creationId="{9B3E76BE-3F60-48D2-AC26-37813F981F89}"/>
          </ac:cxnSpMkLst>
        </pc:cxnChg>
        <pc:cxnChg chg="mod">
          <ac:chgData name="Dirk Wübben" userId="a27602df-5b54-480c-866c-64260ceb4949" providerId="ADAL" clId="{6384D003-2B9C-4703-BBC3-6469E285D43F}" dt="2025-03-20T10:11:09.732" v="1579"/>
          <ac:cxnSpMkLst>
            <pc:docMk/>
            <pc:sldMk cId="3498027820" sldId="2147477029"/>
            <ac:cxnSpMk id="62" creationId="{9586AE4B-2947-4EAA-B126-837E19FA0F39}"/>
          </ac:cxnSpMkLst>
        </pc:cxnChg>
        <pc:cxnChg chg="mod">
          <ac:chgData name="Dirk Wübben" userId="a27602df-5b54-480c-866c-64260ceb4949" providerId="ADAL" clId="{6384D003-2B9C-4703-BBC3-6469E285D43F}" dt="2025-03-20T10:11:09.732" v="1579"/>
          <ac:cxnSpMkLst>
            <pc:docMk/>
            <pc:sldMk cId="3498027820" sldId="2147477029"/>
            <ac:cxnSpMk id="63" creationId="{F670A64E-4D7D-487B-8507-D540CFC26EB0}"/>
          </ac:cxnSpMkLst>
        </pc:cxnChg>
        <pc:cxnChg chg="mod">
          <ac:chgData name="Dirk Wübben" userId="a27602df-5b54-480c-866c-64260ceb4949" providerId="ADAL" clId="{6384D003-2B9C-4703-BBC3-6469E285D43F}" dt="2025-03-20T10:11:09.732" v="1579"/>
          <ac:cxnSpMkLst>
            <pc:docMk/>
            <pc:sldMk cId="3498027820" sldId="2147477029"/>
            <ac:cxnSpMk id="64" creationId="{E9F85469-642A-437E-8759-218CD92F994F}"/>
          </ac:cxnSpMkLst>
        </pc:cxnChg>
        <pc:cxnChg chg="mod">
          <ac:chgData name="Dirk Wübben" userId="a27602df-5b54-480c-866c-64260ceb4949" providerId="ADAL" clId="{6384D003-2B9C-4703-BBC3-6469E285D43F}" dt="2025-03-20T10:11:09.732" v="1579"/>
          <ac:cxnSpMkLst>
            <pc:docMk/>
            <pc:sldMk cId="3498027820" sldId="2147477029"/>
            <ac:cxnSpMk id="65" creationId="{5D6E3D5B-1237-4003-ADF1-A86D1D1E55B0}"/>
          </ac:cxnSpMkLst>
        </pc:cxnChg>
        <pc:cxnChg chg="mod">
          <ac:chgData name="Dirk Wübben" userId="a27602df-5b54-480c-866c-64260ceb4949" providerId="ADAL" clId="{6384D003-2B9C-4703-BBC3-6469E285D43F}" dt="2025-03-20T10:11:09.732" v="1579"/>
          <ac:cxnSpMkLst>
            <pc:docMk/>
            <pc:sldMk cId="3498027820" sldId="2147477029"/>
            <ac:cxnSpMk id="74" creationId="{0631E829-9FD2-47D1-878C-5F935BA30EB8}"/>
          </ac:cxnSpMkLst>
        </pc:cxnChg>
        <pc:cxnChg chg="mod">
          <ac:chgData name="Dirk Wübben" userId="a27602df-5b54-480c-866c-64260ceb4949" providerId="ADAL" clId="{6384D003-2B9C-4703-BBC3-6469E285D43F}" dt="2025-03-20T10:11:09.732" v="1579"/>
          <ac:cxnSpMkLst>
            <pc:docMk/>
            <pc:sldMk cId="3498027820" sldId="2147477029"/>
            <ac:cxnSpMk id="77" creationId="{EA6A495A-44FB-49B6-B573-F6AF5E7B4A08}"/>
          </ac:cxnSpMkLst>
        </pc:cxnChg>
        <pc:cxnChg chg="mod">
          <ac:chgData name="Dirk Wübben" userId="a27602df-5b54-480c-866c-64260ceb4949" providerId="ADAL" clId="{6384D003-2B9C-4703-BBC3-6469E285D43F}" dt="2025-03-20T10:11:09.732" v="1579"/>
          <ac:cxnSpMkLst>
            <pc:docMk/>
            <pc:sldMk cId="3498027820" sldId="2147477029"/>
            <ac:cxnSpMk id="78" creationId="{9F72AFF3-080A-475B-845F-C3FFDAA4E68D}"/>
          </ac:cxnSpMkLst>
        </pc:cxnChg>
      </pc:sldChg>
      <pc:sldChg chg="delSp modSp add mod modTransition chgLayout">
        <pc:chgData name="Dirk Wübben" userId="a27602df-5b54-480c-866c-64260ceb4949" providerId="ADAL" clId="{6384D003-2B9C-4703-BBC3-6469E285D43F}" dt="2025-03-20T11:52:11.619" v="1972"/>
        <pc:sldMkLst>
          <pc:docMk/>
          <pc:sldMk cId="1817739798" sldId="2147477030"/>
        </pc:sldMkLst>
      </pc:sldChg>
      <pc:sldChg chg="new del">
        <pc:chgData name="Dirk Wübben" userId="a27602df-5b54-480c-866c-64260ceb4949" providerId="ADAL" clId="{6384D003-2B9C-4703-BBC3-6469E285D43F}" dt="2025-03-20T09:37:44.686" v="1446" actId="680"/>
        <pc:sldMkLst>
          <pc:docMk/>
          <pc:sldMk cId="3579584250" sldId="2147477030"/>
        </pc:sldMkLst>
      </pc:sldChg>
      <pc:sldChg chg="addSp delSp modSp add mod modTransition modClrScheme chgLayout">
        <pc:chgData name="Dirk Wübben" userId="a27602df-5b54-480c-866c-64260ceb4949" providerId="ADAL" clId="{6384D003-2B9C-4703-BBC3-6469E285D43F}" dt="2025-03-28T07:48:09.876" v="2993"/>
        <pc:sldMkLst>
          <pc:docMk/>
          <pc:sldMk cId="3000776127" sldId="2147477031"/>
        </pc:sldMkLst>
        <pc:spChg chg="mod ord">
          <ac:chgData name="Dirk Wübben" userId="a27602df-5b54-480c-866c-64260ceb4949" providerId="ADAL" clId="{6384D003-2B9C-4703-BBC3-6469E285D43F}" dt="2025-03-26T07:13:33.990" v="2597" actId="6549"/>
          <ac:spMkLst>
            <pc:docMk/>
            <pc:sldMk cId="3000776127" sldId="2147477031"/>
            <ac:spMk id="2" creationId="{3EEB2B75-0A99-EC39-6B7E-B466464B99EB}"/>
          </ac:spMkLst>
        </pc:spChg>
        <pc:picChg chg="add mod modVis">
          <ac:chgData name="Dirk Wübben" userId="a27602df-5b54-480c-866c-64260ceb4949" providerId="ADAL" clId="{6384D003-2B9C-4703-BBC3-6469E285D43F}" dt="2025-03-26T07:15:30.184" v="2608" actId="14429"/>
          <ac:picMkLst>
            <pc:docMk/>
            <pc:sldMk cId="3000776127" sldId="2147477031"/>
            <ac:picMk id="5" creationId="{AA7BB51D-7B9F-4ABD-8530-EDEA3B50BA5C}"/>
          </ac:picMkLst>
        </pc:picChg>
      </pc:sldChg>
      <pc:sldChg chg="add del">
        <pc:chgData name="Dirk Wübben" userId="a27602df-5b54-480c-866c-64260ceb4949" providerId="ADAL" clId="{6384D003-2B9C-4703-BBC3-6469E285D43F}" dt="2025-03-20T10:25:23.487" v="1790"/>
        <pc:sldMkLst>
          <pc:docMk/>
          <pc:sldMk cId="2290718545" sldId="2147477032"/>
        </pc:sldMkLst>
      </pc:sldChg>
      <pc:sldChg chg="addSp delSp modSp new mod modTransition chgLayout">
        <pc:chgData name="Dirk Wübben" userId="a27602df-5b54-480c-866c-64260ceb4949" providerId="ADAL" clId="{6384D003-2B9C-4703-BBC3-6469E285D43F}" dt="2025-03-28T07:48:09.876" v="2993"/>
        <pc:sldMkLst>
          <pc:docMk/>
          <pc:sldMk cId="2986845758" sldId="2147477032"/>
        </pc:sldMkLst>
        <pc:spChg chg="mod ord">
          <ac:chgData name="Dirk Wübben" userId="a27602df-5b54-480c-866c-64260ceb4949" providerId="ADAL" clId="{6384D003-2B9C-4703-BBC3-6469E285D43F}" dt="2025-03-25T15:18:35.164" v="2554" actId="20577"/>
          <ac:spMkLst>
            <pc:docMk/>
            <pc:sldMk cId="2986845758" sldId="2147477032"/>
            <ac:spMk id="2" creationId="{3B08630B-7750-494A-A89A-15725FBAC659}"/>
          </ac:spMkLst>
        </pc:spChg>
        <pc:spChg chg="add mod ord">
          <ac:chgData name="Dirk Wübben" userId="a27602df-5b54-480c-866c-64260ceb4949" providerId="ADAL" clId="{6384D003-2B9C-4703-BBC3-6469E285D43F}" dt="2025-03-20T10:26:02.296" v="1812" actId="700"/>
          <ac:spMkLst>
            <pc:docMk/>
            <pc:sldMk cId="2986845758" sldId="2147477032"/>
            <ac:spMk id="5" creationId="{927D1B7D-5620-4BFC-8291-17585BBB42D4}"/>
          </ac:spMkLst>
        </pc:spChg>
        <pc:picChg chg="add mod">
          <ac:chgData name="Dirk Wübben" userId="a27602df-5b54-480c-866c-64260ceb4949" providerId="ADAL" clId="{6384D003-2B9C-4703-BBC3-6469E285D43F}" dt="2025-03-25T15:18:32.166" v="2553" actId="1076"/>
          <ac:picMkLst>
            <pc:docMk/>
            <pc:sldMk cId="2986845758" sldId="2147477032"/>
            <ac:picMk id="3" creationId="{4C7E8A94-3741-44EF-865B-AFBD43A90E66}"/>
          </ac:picMkLst>
        </pc:picChg>
      </pc:sldChg>
      <pc:sldChg chg="addSp modSp new mod modTransition">
        <pc:chgData name="Dirk Wübben" userId="a27602df-5b54-480c-866c-64260ceb4949" providerId="ADAL" clId="{6384D003-2B9C-4703-BBC3-6469E285D43F}" dt="2025-03-28T07:48:09.876" v="2993"/>
        <pc:sldMkLst>
          <pc:docMk/>
          <pc:sldMk cId="2709080035" sldId="2147477033"/>
        </pc:sldMkLst>
        <pc:spChg chg="add mod ord">
          <ac:chgData name="Dirk Wübben" userId="a27602df-5b54-480c-866c-64260ceb4949" providerId="ADAL" clId="{6384D003-2B9C-4703-BBC3-6469E285D43F}" dt="2025-03-25T15:22:45.133" v="2585" actId="14100"/>
          <ac:spMkLst>
            <pc:docMk/>
            <pc:sldMk cId="2709080035" sldId="2147477033"/>
            <ac:spMk id="9" creationId="{A0FD8C31-E960-4A5D-AD3C-5CD63D4C4D4E}"/>
          </ac:spMkLst>
        </pc:spChg>
        <pc:graphicFrameChg chg="add mod modGraphic">
          <ac:chgData name="Dirk Wübben" userId="a27602df-5b54-480c-866c-64260ceb4949" providerId="ADAL" clId="{6384D003-2B9C-4703-BBC3-6469E285D43F}" dt="2025-03-25T15:21:58.370" v="2582" actId="14100"/>
          <ac:graphicFrameMkLst>
            <pc:docMk/>
            <pc:sldMk cId="2709080035" sldId="2147477033"/>
            <ac:graphicFrameMk id="6" creationId="{68E63E2A-0AC1-44FD-B03B-19F71EEE9C4F}"/>
          </ac:graphicFrameMkLst>
        </pc:graphicFrameChg>
      </pc:sldChg>
      <pc:sldChg chg="add del">
        <pc:chgData name="Dirk Wübben" userId="a27602df-5b54-480c-866c-64260ceb4949" providerId="ADAL" clId="{6384D003-2B9C-4703-BBC3-6469E285D43F}" dt="2025-03-20T11:46:59.530" v="1900" actId="47"/>
        <pc:sldMkLst>
          <pc:docMk/>
          <pc:sldMk cId="1930363522" sldId="2147477034"/>
        </pc:sldMkLst>
      </pc:sldChg>
      <pc:sldChg chg="addSp delSp modSp add del mod chgLayout">
        <pc:chgData name="Dirk Wübben" userId="a27602df-5b54-480c-866c-64260ceb4949" providerId="ADAL" clId="{6384D003-2B9C-4703-BBC3-6469E285D43F}" dt="2025-03-20T11:49:17.871" v="1929" actId="47"/>
        <pc:sldMkLst>
          <pc:docMk/>
          <pc:sldMk cId="3079663071" sldId="2147477034"/>
        </pc:sldMkLst>
      </pc:sldChg>
      <pc:sldChg chg="add del">
        <pc:chgData name="Dirk Wübben" userId="a27602df-5b54-480c-866c-64260ceb4949" providerId="ADAL" clId="{6384D003-2B9C-4703-BBC3-6469E285D43F}" dt="2025-03-20T11:45:54.938" v="1896"/>
        <pc:sldMkLst>
          <pc:docMk/>
          <pc:sldMk cId="3118996002" sldId="2147477035"/>
        </pc:sldMkLst>
      </pc:sldChg>
      <pc:sldChg chg="addSp delSp modSp new mod modTransition modClrScheme chgLayout">
        <pc:chgData name="Dirk Wübben" userId="a27602df-5b54-480c-866c-64260ceb4949" providerId="ADAL" clId="{6384D003-2B9C-4703-BBC3-6469E285D43F}" dt="2025-03-28T13:05:51.958" v="4389" actId="20577"/>
        <pc:sldMkLst>
          <pc:docMk/>
          <pc:sldMk cId="3161152169" sldId="2147477035"/>
        </pc:sldMkLst>
        <pc:spChg chg="mod ord">
          <ac:chgData name="Dirk Wübben" userId="a27602df-5b54-480c-866c-64260ceb4949" providerId="ADAL" clId="{6384D003-2B9C-4703-BBC3-6469E285D43F}" dt="2025-03-28T13:05:49.436" v="4388" actId="700"/>
          <ac:spMkLst>
            <pc:docMk/>
            <pc:sldMk cId="3161152169" sldId="2147477035"/>
            <ac:spMk id="2" creationId="{2AF3EA10-2C0D-42B9-97DF-E52A052E36C9}"/>
          </ac:spMkLst>
        </pc:spChg>
        <pc:spChg chg="add del mod ord">
          <ac:chgData name="Dirk Wübben" userId="a27602df-5b54-480c-866c-64260ceb4949" providerId="ADAL" clId="{6384D003-2B9C-4703-BBC3-6469E285D43F}" dt="2025-03-28T13:05:49.436" v="4388" actId="700"/>
          <ac:spMkLst>
            <pc:docMk/>
            <pc:sldMk cId="3161152169" sldId="2147477035"/>
            <ac:spMk id="3" creationId="{32D44217-C68F-400B-A72F-5933CD5A055D}"/>
          </ac:spMkLst>
        </pc:spChg>
        <pc:spChg chg="add mod ord">
          <ac:chgData name="Dirk Wübben" userId="a27602df-5b54-480c-866c-64260ceb4949" providerId="ADAL" clId="{6384D003-2B9C-4703-BBC3-6469E285D43F}" dt="2025-03-28T13:05:51.958" v="4389" actId="20577"/>
          <ac:spMkLst>
            <pc:docMk/>
            <pc:sldMk cId="3161152169" sldId="2147477035"/>
            <ac:spMk id="4" creationId="{A7AF831F-B423-4FF1-91C3-B1CCCA8C8EF8}"/>
          </ac:spMkLst>
        </pc:spChg>
      </pc:sldChg>
      <pc:sldChg chg="addSp delSp modSp new del mod modTransition">
        <pc:chgData name="Dirk Wübben" userId="a27602df-5b54-480c-866c-64260ceb4949" providerId="ADAL" clId="{6384D003-2B9C-4703-BBC3-6469E285D43F}" dt="2025-03-26T07:23:17.139" v="2698" actId="47"/>
        <pc:sldMkLst>
          <pc:docMk/>
          <pc:sldMk cId="2228159166" sldId="2147477036"/>
        </pc:sldMkLst>
      </pc:sldChg>
      <pc:sldChg chg="addSp delSp modSp new del mod modTransition modClrScheme chgLayout">
        <pc:chgData name="Dirk Wübben" userId="a27602df-5b54-480c-866c-64260ceb4949" providerId="ADAL" clId="{6384D003-2B9C-4703-BBC3-6469E285D43F}" dt="2025-03-28T08:57:03.174" v="4311" actId="47"/>
        <pc:sldMkLst>
          <pc:docMk/>
          <pc:sldMk cId="2714119037" sldId="2147477037"/>
        </pc:sldMkLst>
      </pc:sldChg>
      <pc:sldChg chg="addSp delSp modSp new del mod modTransition modClrScheme chgLayout">
        <pc:chgData name="Dirk Wübben" userId="a27602df-5b54-480c-866c-64260ceb4949" providerId="ADAL" clId="{6384D003-2B9C-4703-BBC3-6469E285D43F}" dt="2025-03-21T07:31:57.267" v="2145" actId="47"/>
        <pc:sldMkLst>
          <pc:docMk/>
          <pc:sldMk cId="2950618266" sldId="2147477038"/>
        </pc:sldMkLst>
      </pc:sldChg>
      <pc:sldChg chg="addSp delSp modSp new mod modTransition modClrScheme chgLayout">
        <pc:chgData name="Dirk Wübben" userId="a27602df-5b54-480c-866c-64260ceb4949" providerId="ADAL" clId="{6384D003-2B9C-4703-BBC3-6469E285D43F}" dt="2025-03-28T07:48:09.876" v="2993"/>
        <pc:sldMkLst>
          <pc:docMk/>
          <pc:sldMk cId="61019520" sldId="2147477039"/>
        </pc:sldMkLst>
        <pc:spChg chg="add mod">
          <ac:chgData name="Dirk Wübben" userId="a27602df-5b54-480c-866c-64260ceb4949" providerId="ADAL" clId="{6384D003-2B9C-4703-BBC3-6469E285D43F}" dt="2025-03-20T11:56:55.364" v="2100" actId="1035"/>
          <ac:spMkLst>
            <pc:docMk/>
            <pc:sldMk cId="61019520" sldId="2147477039"/>
            <ac:spMk id="20" creationId="{582E010A-F894-4E59-917E-C194FB003A3C}"/>
          </ac:spMkLst>
        </pc:spChg>
        <pc:spChg chg="add mod">
          <ac:chgData name="Dirk Wübben" userId="a27602df-5b54-480c-866c-64260ceb4949" providerId="ADAL" clId="{6384D003-2B9C-4703-BBC3-6469E285D43F}" dt="2025-03-20T11:56:55.364" v="2100" actId="1035"/>
          <ac:spMkLst>
            <pc:docMk/>
            <pc:sldMk cId="61019520" sldId="2147477039"/>
            <ac:spMk id="21" creationId="{902FC662-FEBF-400C-A60F-8339D435811A}"/>
          </ac:spMkLst>
        </pc:spChg>
        <pc:spChg chg="add mod">
          <ac:chgData name="Dirk Wübben" userId="a27602df-5b54-480c-866c-64260ceb4949" providerId="ADAL" clId="{6384D003-2B9C-4703-BBC3-6469E285D43F}" dt="2025-03-20T11:56:55.364" v="2100" actId="1035"/>
          <ac:spMkLst>
            <pc:docMk/>
            <pc:sldMk cId="61019520" sldId="2147477039"/>
            <ac:spMk id="24" creationId="{BAF491BE-13C8-45DC-A4D8-F15D221BDB14}"/>
          </ac:spMkLst>
        </pc:spChg>
        <pc:spChg chg="add mod">
          <ac:chgData name="Dirk Wübben" userId="a27602df-5b54-480c-866c-64260ceb4949" providerId="ADAL" clId="{6384D003-2B9C-4703-BBC3-6469E285D43F}" dt="2025-03-20T11:56:55.364" v="2100" actId="1035"/>
          <ac:spMkLst>
            <pc:docMk/>
            <pc:sldMk cId="61019520" sldId="2147477039"/>
            <ac:spMk id="25" creationId="{11F8811E-B57A-4084-A96F-DFA980EC0951}"/>
          </ac:spMkLst>
        </pc:spChg>
        <pc:spChg chg="add mod">
          <ac:chgData name="Dirk Wübben" userId="a27602df-5b54-480c-866c-64260ceb4949" providerId="ADAL" clId="{6384D003-2B9C-4703-BBC3-6469E285D43F}" dt="2025-03-20T11:56:55.364" v="2100" actId="1035"/>
          <ac:spMkLst>
            <pc:docMk/>
            <pc:sldMk cId="61019520" sldId="2147477039"/>
            <ac:spMk id="26" creationId="{F2DB6220-2F43-4D03-89D2-59717ED1A66D}"/>
          </ac:spMkLst>
        </pc:spChg>
        <pc:spChg chg="add mod">
          <ac:chgData name="Dirk Wübben" userId="a27602df-5b54-480c-866c-64260ceb4949" providerId="ADAL" clId="{6384D003-2B9C-4703-BBC3-6469E285D43F}" dt="2025-03-20T11:56:55.364" v="2100" actId="1035"/>
          <ac:spMkLst>
            <pc:docMk/>
            <pc:sldMk cId="61019520" sldId="2147477039"/>
            <ac:spMk id="27" creationId="{70ADC079-D56A-4409-A22A-9CFB1DAAEE06}"/>
          </ac:spMkLst>
        </pc:spChg>
        <pc:picChg chg="add mod">
          <ac:chgData name="Dirk Wübben" userId="a27602df-5b54-480c-866c-64260ceb4949" providerId="ADAL" clId="{6384D003-2B9C-4703-BBC3-6469E285D43F}" dt="2025-03-20T11:55:16.619" v="1993" actId="1076"/>
          <ac:picMkLst>
            <pc:docMk/>
            <pc:sldMk cId="61019520" sldId="2147477039"/>
            <ac:picMk id="5" creationId="{9D7E54D8-57AB-4392-AACF-F44853FCE1A9}"/>
          </ac:picMkLst>
        </pc:picChg>
        <pc:picChg chg="add mod">
          <ac:chgData name="Dirk Wübben" userId="a27602df-5b54-480c-866c-64260ceb4949" providerId="ADAL" clId="{6384D003-2B9C-4703-BBC3-6469E285D43F}" dt="2025-03-20T11:56:59.912" v="2101" actId="1076"/>
          <ac:picMkLst>
            <pc:docMk/>
            <pc:sldMk cId="61019520" sldId="2147477039"/>
            <ac:picMk id="22" creationId="{A80169F1-56FE-4BF5-9EFC-8C76BB6B41F9}"/>
          </ac:picMkLst>
        </pc:picChg>
      </pc:sldChg>
      <pc:sldChg chg="add del">
        <pc:chgData name="Dirk Wübben" userId="a27602df-5b54-480c-866c-64260ceb4949" providerId="ADAL" clId="{6384D003-2B9C-4703-BBC3-6469E285D43F}" dt="2025-03-20T11:53:18.617" v="1979"/>
        <pc:sldMkLst>
          <pc:docMk/>
          <pc:sldMk cId="3497487947" sldId="2147477039"/>
        </pc:sldMkLst>
      </pc:sldChg>
      <pc:sldChg chg="modSp new mod modTransition chgLayout">
        <pc:chgData name="Dirk Wübben" userId="a27602df-5b54-480c-866c-64260ceb4949" providerId="ADAL" clId="{6384D003-2B9C-4703-BBC3-6469E285D43F}" dt="2025-03-28T07:48:09.876" v="2993"/>
        <pc:sldMkLst>
          <pc:docMk/>
          <pc:sldMk cId="3146538416" sldId="2147477040"/>
        </pc:sldMkLst>
        <pc:spChg chg="mod ord">
          <ac:chgData name="Dirk Wübben" userId="a27602df-5b54-480c-866c-64260ceb4949" providerId="ADAL" clId="{6384D003-2B9C-4703-BBC3-6469E285D43F}" dt="2025-03-25T15:10:12.760" v="2473" actId="700"/>
          <ac:spMkLst>
            <pc:docMk/>
            <pc:sldMk cId="3146538416" sldId="2147477040"/>
            <ac:spMk id="2" creationId="{8F62403F-A5E9-4DB8-8385-9BFC58257DED}"/>
          </ac:spMkLst>
        </pc:spChg>
        <pc:spChg chg="mod ord">
          <ac:chgData name="Dirk Wübben" userId="a27602df-5b54-480c-866c-64260ceb4949" providerId="ADAL" clId="{6384D003-2B9C-4703-BBC3-6469E285D43F}" dt="2025-03-25T15:10:12.760" v="2473" actId="700"/>
          <ac:spMkLst>
            <pc:docMk/>
            <pc:sldMk cId="3146538416" sldId="2147477040"/>
            <ac:spMk id="3" creationId="{F40097EE-7631-4F51-979B-3E37C2628C7B}"/>
          </ac:spMkLst>
        </pc:spChg>
        <pc:spChg chg="mod ord">
          <ac:chgData name="Dirk Wübben" userId="a27602df-5b54-480c-866c-64260ceb4949" providerId="ADAL" clId="{6384D003-2B9C-4703-BBC3-6469E285D43F}" dt="2025-03-25T15:10:12.760" v="2473" actId="700"/>
          <ac:spMkLst>
            <pc:docMk/>
            <pc:sldMk cId="3146538416" sldId="2147477040"/>
            <ac:spMk id="5" creationId="{06184398-E501-429B-8F17-57999DF39B69}"/>
          </ac:spMkLst>
        </pc:spChg>
        <pc:spChg chg="mod ord">
          <ac:chgData name="Dirk Wübben" userId="a27602df-5b54-480c-866c-64260ceb4949" providerId="ADAL" clId="{6384D003-2B9C-4703-BBC3-6469E285D43F}" dt="2025-03-25T15:10:12.760" v="2473" actId="700"/>
          <ac:spMkLst>
            <pc:docMk/>
            <pc:sldMk cId="3146538416" sldId="2147477040"/>
            <ac:spMk id="7" creationId="{AE2992A3-0769-4612-8C91-95B6C892D578}"/>
          </ac:spMkLst>
        </pc:spChg>
        <pc:spChg chg="mod ord">
          <ac:chgData name="Dirk Wübben" userId="a27602df-5b54-480c-866c-64260ceb4949" providerId="ADAL" clId="{6384D003-2B9C-4703-BBC3-6469E285D43F}" dt="2025-03-25T15:10:12.760" v="2473" actId="700"/>
          <ac:spMkLst>
            <pc:docMk/>
            <pc:sldMk cId="3146538416" sldId="2147477040"/>
            <ac:spMk id="9" creationId="{A4E0F1AD-ADCA-4A49-A4B1-A9FE4D532910}"/>
          </ac:spMkLst>
        </pc:spChg>
        <pc:picChg chg="mod ord modCrop">
          <ac:chgData name="Dirk Wübben" userId="a27602df-5b54-480c-866c-64260ceb4949" providerId="ADAL" clId="{6384D003-2B9C-4703-BBC3-6469E285D43F}" dt="2025-03-25T15:10:12.760" v="2473" actId="700"/>
          <ac:picMkLst>
            <pc:docMk/>
            <pc:sldMk cId="3146538416" sldId="2147477040"/>
            <ac:picMk id="12" creationId="{CF118A6A-7991-0821-841B-818BE1678538}"/>
          </ac:picMkLst>
        </pc:picChg>
        <pc:picChg chg="mod ord modCrop">
          <ac:chgData name="Dirk Wübben" userId="a27602df-5b54-480c-866c-64260ceb4949" providerId="ADAL" clId="{6384D003-2B9C-4703-BBC3-6469E285D43F}" dt="2025-03-25T15:10:12.760" v="2473" actId="700"/>
          <ac:picMkLst>
            <pc:docMk/>
            <pc:sldMk cId="3146538416" sldId="2147477040"/>
            <ac:picMk id="15" creationId="{BF0DC8F0-88D3-6BA5-C2A8-B2065D2697AD}"/>
          </ac:picMkLst>
        </pc:picChg>
      </pc:sldChg>
      <pc:sldChg chg="addSp delSp modSp new del mod modTransition modClrScheme chgLayout">
        <pc:chgData name="Dirk Wübben" userId="a27602df-5b54-480c-866c-64260ceb4949" providerId="ADAL" clId="{6384D003-2B9C-4703-BBC3-6469E285D43F}" dt="2025-03-28T08:15:53.805" v="3336" actId="47"/>
        <pc:sldMkLst>
          <pc:docMk/>
          <pc:sldMk cId="746299310" sldId="2147477041"/>
        </pc:sldMkLst>
      </pc:sldChg>
      <pc:sldChg chg="modSp mod modTransition">
        <pc:chgData name="Dirk Wübben" userId="a27602df-5b54-480c-866c-64260ceb4949" providerId="ADAL" clId="{6384D003-2B9C-4703-BBC3-6469E285D43F}" dt="2025-03-28T08:30:41.497" v="3921" actId="6549"/>
        <pc:sldMkLst>
          <pc:docMk/>
          <pc:sldMk cId="1092017827" sldId="2147477046"/>
        </pc:sldMkLst>
        <pc:spChg chg="mod">
          <ac:chgData name="Dirk Wübben" userId="a27602df-5b54-480c-866c-64260ceb4949" providerId="ADAL" clId="{6384D003-2B9C-4703-BBC3-6469E285D43F}" dt="2025-03-28T08:30:41.497" v="3921" actId="6549"/>
          <ac:spMkLst>
            <pc:docMk/>
            <pc:sldMk cId="1092017827" sldId="2147477046"/>
            <ac:spMk id="3" creationId="{01DC8F7F-EF4A-4149-6294-169080EFC927}"/>
          </ac:spMkLst>
        </pc:spChg>
      </pc:sldChg>
      <pc:sldChg chg="modSp del mod modTransition">
        <pc:chgData name="Dirk Wübben" userId="a27602df-5b54-480c-866c-64260ceb4949" providerId="ADAL" clId="{6384D003-2B9C-4703-BBC3-6469E285D43F}" dt="2025-03-28T08:25:51.098" v="3719" actId="47"/>
        <pc:sldMkLst>
          <pc:docMk/>
          <pc:sldMk cId="2207442008" sldId="2147477047"/>
        </pc:sldMkLst>
      </pc:sldChg>
      <pc:sldChg chg="modSp del mod modTransition">
        <pc:chgData name="Dirk Wübben" userId="a27602df-5b54-480c-866c-64260ceb4949" providerId="ADAL" clId="{6384D003-2B9C-4703-BBC3-6469E285D43F}" dt="2025-03-28T08:15:50.916" v="3335" actId="47"/>
        <pc:sldMkLst>
          <pc:docMk/>
          <pc:sldMk cId="761125098" sldId="2147477048"/>
        </pc:sldMkLst>
      </pc:sldChg>
      <pc:sldChg chg="addSp delSp modSp mod modTransition modClrScheme chgLayout">
        <pc:chgData name="Dirk Wübben" userId="a27602df-5b54-480c-866c-64260ceb4949" providerId="ADAL" clId="{6384D003-2B9C-4703-BBC3-6469E285D43F}" dt="2025-03-28T08:15:33.815" v="3334" actId="1076"/>
        <pc:sldMkLst>
          <pc:docMk/>
          <pc:sldMk cId="484452169" sldId="2147477049"/>
        </pc:sldMkLst>
        <pc:spChg chg="mod ord">
          <ac:chgData name="Dirk Wübben" userId="a27602df-5b54-480c-866c-64260ceb4949" providerId="ADAL" clId="{6384D003-2B9C-4703-BBC3-6469E285D43F}" dt="2025-03-28T08:08:23.983" v="3194" actId="207"/>
          <ac:spMkLst>
            <pc:docMk/>
            <pc:sldMk cId="484452169" sldId="2147477049"/>
            <ac:spMk id="11" creationId="{3C5D87B2-817D-7EDF-7E92-230322892500}"/>
          </ac:spMkLst>
        </pc:spChg>
        <pc:spChg chg="mod ord">
          <ac:chgData name="Dirk Wübben" userId="a27602df-5b54-480c-866c-64260ceb4949" providerId="ADAL" clId="{6384D003-2B9C-4703-BBC3-6469E285D43F}" dt="2025-03-28T08:11:09.488" v="3293" actId="6549"/>
          <ac:spMkLst>
            <pc:docMk/>
            <pc:sldMk cId="484452169" sldId="2147477049"/>
            <ac:spMk id="12" creationId="{A61FD536-DD76-8B1A-D5B2-4843E4B4351E}"/>
          </ac:spMkLst>
        </pc:spChg>
        <pc:spChg chg="add mod">
          <ac:chgData name="Dirk Wübben" userId="a27602df-5b54-480c-866c-64260ceb4949" providerId="ADAL" clId="{6384D003-2B9C-4703-BBC3-6469E285D43F}" dt="2025-03-28T08:15:26.511" v="3332" actId="20577"/>
          <ac:spMkLst>
            <pc:docMk/>
            <pc:sldMk cId="484452169" sldId="2147477049"/>
            <ac:spMk id="13" creationId="{8CE6C24F-AB29-415B-A839-DFD147B03B5F}"/>
          </ac:spMkLst>
        </pc:spChg>
        <pc:spChg chg="add mod">
          <ac:chgData name="Dirk Wübben" userId="a27602df-5b54-480c-866c-64260ceb4949" providerId="ADAL" clId="{6384D003-2B9C-4703-BBC3-6469E285D43F}" dt="2025-03-28T08:15:32.033" v="3333" actId="1076"/>
          <ac:spMkLst>
            <pc:docMk/>
            <pc:sldMk cId="484452169" sldId="2147477049"/>
            <ac:spMk id="14" creationId="{6494957E-A328-42C9-A152-2417E09B380C}"/>
          </ac:spMkLst>
        </pc:spChg>
        <pc:picChg chg="add mod">
          <ac:chgData name="Dirk Wübben" userId="a27602df-5b54-480c-866c-64260ceb4949" providerId="ADAL" clId="{6384D003-2B9C-4703-BBC3-6469E285D43F}" dt="2025-03-28T08:15:32.033" v="3333" actId="1076"/>
          <ac:picMkLst>
            <pc:docMk/>
            <pc:sldMk cId="484452169" sldId="2147477049"/>
            <ac:picMk id="16" creationId="{8D04C293-CAD8-496D-8FDB-CD1E2922AFFE}"/>
          </ac:picMkLst>
        </pc:picChg>
      </pc:sldChg>
      <pc:sldChg chg="addSp delSp modSp mod modTransition">
        <pc:chgData name="Dirk Wübben" userId="a27602df-5b54-480c-866c-64260ceb4949" providerId="ADAL" clId="{6384D003-2B9C-4703-BBC3-6469E285D43F}" dt="2025-03-30T10:40:45.325" v="4895" actId="14100"/>
        <pc:sldMkLst>
          <pc:docMk/>
          <pc:sldMk cId="2869957903" sldId="2147477050"/>
        </pc:sldMkLst>
        <pc:spChg chg="mod">
          <ac:chgData name="Dirk Wübben" userId="a27602df-5b54-480c-866c-64260ceb4949" providerId="ADAL" clId="{6384D003-2B9C-4703-BBC3-6469E285D43F}" dt="2025-03-28T08:49:53.070" v="4121" actId="6549"/>
          <ac:spMkLst>
            <pc:docMk/>
            <pc:sldMk cId="2869957903" sldId="2147477050"/>
            <ac:spMk id="2" creationId="{4167FF8C-9AC0-1A9C-8242-AD7D6EBAC22B}"/>
          </ac:spMkLst>
        </pc:spChg>
        <pc:spChg chg="add mod">
          <ac:chgData name="Dirk Wübben" userId="a27602df-5b54-480c-866c-64260ceb4949" providerId="ADAL" clId="{6384D003-2B9C-4703-BBC3-6469E285D43F}" dt="2025-03-30T10:40:45.325" v="4895" actId="14100"/>
          <ac:spMkLst>
            <pc:docMk/>
            <pc:sldMk cId="2869957903" sldId="2147477050"/>
            <ac:spMk id="41" creationId="{7F27B2C7-272E-4EAC-A4D1-242FC8AA55AA}"/>
          </ac:spMkLst>
        </pc:spChg>
      </pc:sldChg>
      <pc:sldChg chg="addSp delSp modSp mod modTransition">
        <pc:chgData name="Dirk Wübben" userId="a27602df-5b54-480c-866c-64260ceb4949" providerId="ADAL" clId="{6384D003-2B9C-4703-BBC3-6469E285D43F}" dt="2025-03-30T10:41:07.997" v="4897" actId="14100"/>
        <pc:sldMkLst>
          <pc:docMk/>
          <pc:sldMk cId="1516448176" sldId="2147477052"/>
        </pc:sldMkLst>
        <pc:spChg chg="mod">
          <ac:chgData name="Dirk Wübben" userId="a27602df-5b54-480c-866c-64260ceb4949" providerId="ADAL" clId="{6384D003-2B9C-4703-BBC3-6469E285D43F}" dt="2025-03-28T08:38:32.446" v="3931"/>
          <ac:spMkLst>
            <pc:docMk/>
            <pc:sldMk cId="1516448176" sldId="2147477052"/>
            <ac:spMk id="2" creationId="{E01FE521-56BF-92DC-EF67-0A61141415AC}"/>
          </ac:spMkLst>
        </pc:spChg>
        <pc:spChg chg="add mod">
          <ac:chgData name="Dirk Wübben" userId="a27602df-5b54-480c-866c-64260ceb4949" providerId="ADAL" clId="{6384D003-2B9C-4703-BBC3-6469E285D43F}" dt="2025-03-30T10:40:50.619" v="4896" actId="14100"/>
          <ac:spMkLst>
            <pc:docMk/>
            <pc:sldMk cId="1516448176" sldId="2147477052"/>
            <ac:spMk id="54" creationId="{5A7633B7-CE97-437F-B9B5-D3BB9FE846D0}"/>
          </ac:spMkLst>
        </pc:spChg>
        <pc:spChg chg="add mod">
          <ac:chgData name="Dirk Wübben" userId="a27602df-5b54-480c-866c-64260ceb4949" providerId="ADAL" clId="{6384D003-2B9C-4703-BBC3-6469E285D43F}" dt="2025-03-30T10:41:07.997" v="4897" actId="14100"/>
          <ac:spMkLst>
            <pc:docMk/>
            <pc:sldMk cId="1516448176" sldId="2147477052"/>
            <ac:spMk id="72" creationId="{F4842AB3-1B51-4DC7-B036-BBFACBDA8C97}"/>
          </ac:spMkLst>
        </pc:spChg>
      </pc:sldChg>
      <pc:sldChg chg="addSp delSp modSp mod modTransition">
        <pc:chgData name="Dirk Wübben" userId="a27602df-5b54-480c-866c-64260ceb4949" providerId="ADAL" clId="{6384D003-2B9C-4703-BBC3-6469E285D43F}" dt="2025-03-28T13:58:02.266" v="4525" actId="6549"/>
        <pc:sldMkLst>
          <pc:docMk/>
          <pc:sldMk cId="3749321561" sldId="2147477054"/>
        </pc:sldMkLst>
        <pc:spChg chg="mod">
          <ac:chgData name="Dirk Wübben" userId="a27602df-5b54-480c-866c-64260ceb4949" providerId="ADAL" clId="{6384D003-2B9C-4703-BBC3-6469E285D43F}" dt="2025-03-28T08:38:35.467" v="3932"/>
          <ac:spMkLst>
            <pc:docMk/>
            <pc:sldMk cId="3749321561" sldId="2147477054"/>
            <ac:spMk id="2" creationId="{8431D422-30AA-9D0F-4652-C19D858442CA}"/>
          </ac:spMkLst>
        </pc:spChg>
        <pc:spChg chg="mod modVis">
          <ac:chgData name="Dirk Wübben" userId="a27602df-5b54-480c-866c-64260ceb4949" providerId="ADAL" clId="{6384D003-2B9C-4703-BBC3-6469E285D43F}" dt="2025-03-25T11:47:55.285" v="2464" actId="14429"/>
          <ac:spMkLst>
            <pc:docMk/>
            <pc:sldMk cId="3749321561" sldId="2147477054"/>
            <ac:spMk id="29" creationId="{7AB85E92-ABC1-3173-5720-0E95054F161E}"/>
          </ac:spMkLst>
        </pc:spChg>
        <pc:spChg chg="add mod">
          <ac:chgData name="Dirk Wübben" userId="a27602df-5b54-480c-866c-64260ceb4949" providerId="ADAL" clId="{6384D003-2B9C-4703-BBC3-6469E285D43F}" dt="2025-03-28T13:58:02.266" v="4525" actId="6549"/>
          <ac:spMkLst>
            <pc:docMk/>
            <pc:sldMk cId="3749321561" sldId="2147477054"/>
            <ac:spMk id="51" creationId="{F1B69E95-D646-4876-8883-5896C89B2DEF}"/>
          </ac:spMkLst>
        </pc:spChg>
        <pc:picChg chg="mod modVis">
          <ac:chgData name="Dirk Wübben" userId="a27602df-5b54-480c-866c-64260ceb4949" providerId="ADAL" clId="{6384D003-2B9C-4703-BBC3-6469E285D43F}" dt="2025-03-25T11:47:55.758" v="2465" actId="14429"/>
          <ac:picMkLst>
            <pc:docMk/>
            <pc:sldMk cId="3749321561" sldId="2147477054"/>
            <ac:picMk id="31" creationId="{5AB696C7-E477-0DDF-9CFA-FE23D31EAE80}"/>
          </ac:picMkLst>
        </pc:picChg>
        <pc:picChg chg="mod modVis">
          <ac:chgData name="Dirk Wübben" userId="a27602df-5b54-480c-866c-64260ceb4949" providerId="ADAL" clId="{6384D003-2B9C-4703-BBC3-6469E285D43F}" dt="2025-03-25T11:47:56.154" v="2466" actId="14429"/>
          <ac:picMkLst>
            <pc:docMk/>
            <pc:sldMk cId="3749321561" sldId="2147477054"/>
            <ac:picMk id="32" creationId="{38A2D090-EFDA-9DAE-CCEC-C3EF8A72265D}"/>
          </ac:picMkLst>
        </pc:picChg>
      </pc:sldChg>
      <pc:sldChg chg="addSp delSp modSp mod modTransition">
        <pc:chgData name="Dirk Wübben" userId="a27602df-5b54-480c-866c-64260ceb4949" providerId="ADAL" clId="{6384D003-2B9C-4703-BBC3-6469E285D43F}" dt="2025-03-28T13:59:07.154" v="4601" actId="20577"/>
        <pc:sldMkLst>
          <pc:docMk/>
          <pc:sldMk cId="3013585730" sldId="2147477055"/>
        </pc:sldMkLst>
        <pc:spChg chg="mod">
          <ac:chgData name="Dirk Wübben" userId="a27602df-5b54-480c-866c-64260ceb4949" providerId="ADAL" clId="{6384D003-2B9C-4703-BBC3-6469E285D43F}" dt="2025-03-28T08:38:38.856" v="3933"/>
          <ac:spMkLst>
            <pc:docMk/>
            <pc:sldMk cId="3013585730" sldId="2147477055"/>
            <ac:spMk id="2" creationId="{E27534E1-8C81-E61D-BB1E-D0D9F5F53DC1}"/>
          </ac:spMkLst>
        </pc:spChg>
        <pc:spChg chg="add mod">
          <ac:chgData name="Dirk Wübben" userId="a27602df-5b54-480c-866c-64260ceb4949" providerId="ADAL" clId="{6384D003-2B9C-4703-BBC3-6469E285D43F}" dt="2025-03-28T13:59:07.154" v="4601" actId="20577"/>
          <ac:spMkLst>
            <pc:docMk/>
            <pc:sldMk cId="3013585730" sldId="2147477055"/>
            <ac:spMk id="67" creationId="{5F6F78AF-ED7A-40B7-B407-9DF926A39FBA}"/>
          </ac:spMkLst>
        </pc:spChg>
      </pc:sldChg>
      <pc:sldChg chg="addSp delSp modSp mod modTransition">
        <pc:chgData name="Dirk Wübben" userId="a27602df-5b54-480c-866c-64260ceb4949" providerId="ADAL" clId="{6384D003-2B9C-4703-BBC3-6469E285D43F}" dt="2025-03-28T13:59:26.816" v="4632" actId="20577"/>
        <pc:sldMkLst>
          <pc:docMk/>
          <pc:sldMk cId="1590415788" sldId="2147477056"/>
        </pc:sldMkLst>
        <pc:spChg chg="mod">
          <ac:chgData name="Dirk Wübben" userId="a27602df-5b54-480c-866c-64260ceb4949" providerId="ADAL" clId="{6384D003-2B9C-4703-BBC3-6469E285D43F}" dt="2025-03-28T08:38:42.274" v="3934"/>
          <ac:spMkLst>
            <pc:docMk/>
            <pc:sldMk cId="1590415788" sldId="2147477056"/>
            <ac:spMk id="2" creationId="{C81C4984-FAC7-09FC-7D38-4D8B1E9099FB}"/>
          </ac:spMkLst>
        </pc:spChg>
        <pc:spChg chg="add mod">
          <ac:chgData name="Dirk Wübben" userId="a27602df-5b54-480c-866c-64260ceb4949" providerId="ADAL" clId="{6384D003-2B9C-4703-BBC3-6469E285D43F}" dt="2025-03-28T13:59:26.816" v="4632" actId="20577"/>
          <ac:spMkLst>
            <pc:docMk/>
            <pc:sldMk cId="1590415788" sldId="2147477056"/>
            <ac:spMk id="66" creationId="{0F196312-AF04-4BE4-9B5B-B047E120B863}"/>
          </ac:spMkLst>
        </pc:spChg>
        <pc:grpChg chg="mod modVis">
          <ac:chgData name="Dirk Wübben" userId="a27602df-5b54-480c-866c-64260ceb4949" providerId="ADAL" clId="{6384D003-2B9C-4703-BBC3-6469E285D43F}" dt="2025-03-25T11:47:38.843" v="2459" actId="14429"/>
          <ac:grpSpMkLst>
            <pc:docMk/>
            <pc:sldMk cId="1590415788" sldId="2147477056"/>
            <ac:grpSpMk id="37" creationId="{AAAB7E94-70B7-84E3-73F8-547AAED904E9}"/>
          </ac:grpSpMkLst>
        </pc:grpChg>
      </pc:sldChg>
      <pc:sldChg chg="add del">
        <pc:chgData name="Dirk Wübben" userId="a27602df-5b54-480c-866c-64260ceb4949" providerId="ADAL" clId="{6384D003-2B9C-4703-BBC3-6469E285D43F}" dt="2025-03-24T17:41:49.074" v="2245"/>
        <pc:sldMkLst>
          <pc:docMk/>
          <pc:sldMk cId="3725819072" sldId="2147477057"/>
        </pc:sldMkLst>
      </pc:sldChg>
      <pc:sldChg chg="addSp delSp modSp add mod modTransition">
        <pc:chgData name="Dirk Wübben" userId="a27602df-5b54-480c-866c-64260ceb4949" providerId="ADAL" clId="{6384D003-2B9C-4703-BBC3-6469E285D43F}" dt="2025-03-28T07:48:09.876" v="2993"/>
        <pc:sldMkLst>
          <pc:docMk/>
          <pc:sldMk cId="4096211898" sldId="2147477057"/>
        </pc:sldMkLst>
        <pc:picChg chg="add mod">
          <ac:chgData name="Dirk Wübben" userId="a27602df-5b54-480c-866c-64260ceb4949" providerId="ADAL" clId="{6384D003-2B9C-4703-BBC3-6469E285D43F}" dt="2025-03-24T17:42:28.983" v="2251" actId="1076"/>
          <ac:picMkLst>
            <pc:docMk/>
            <pc:sldMk cId="4096211898" sldId="2147477057"/>
            <ac:picMk id="17" creationId="{15E2019C-297D-40E9-86AE-889F6B392B09}"/>
          </ac:picMkLst>
        </pc:picChg>
      </pc:sldChg>
      <pc:sldChg chg="addSp modSp del mod modTransition">
        <pc:chgData name="Dirk Wübben" userId="a27602df-5b54-480c-866c-64260ceb4949" providerId="ADAL" clId="{6384D003-2B9C-4703-BBC3-6469E285D43F}" dt="2025-03-28T08:54:52.455" v="4306" actId="47"/>
        <pc:sldMkLst>
          <pc:docMk/>
          <pc:sldMk cId="1255820952" sldId="2147477058"/>
        </pc:sldMkLst>
      </pc:sldChg>
      <pc:sldChg chg="addSp modSp del mod modTransition">
        <pc:chgData name="Dirk Wübben" userId="a27602df-5b54-480c-866c-64260ceb4949" providerId="ADAL" clId="{6384D003-2B9C-4703-BBC3-6469E285D43F}" dt="2025-03-28T08:54:52.455" v="4306" actId="47"/>
        <pc:sldMkLst>
          <pc:docMk/>
          <pc:sldMk cId="3324196512" sldId="2147477059"/>
        </pc:sldMkLst>
      </pc:sldChg>
      <pc:sldChg chg="delSp modSp mod modTransition">
        <pc:chgData name="Dirk Wübben" userId="a27602df-5b54-480c-866c-64260ceb4949" providerId="ADAL" clId="{6384D003-2B9C-4703-BBC3-6469E285D43F}" dt="2025-03-28T08:54:36.350" v="4305" actId="20577"/>
        <pc:sldMkLst>
          <pc:docMk/>
          <pc:sldMk cId="2374344934" sldId="2147477060"/>
        </pc:sldMkLst>
        <pc:spChg chg="mod">
          <ac:chgData name="Dirk Wübben" userId="a27602df-5b54-480c-866c-64260ceb4949" providerId="ADAL" clId="{6384D003-2B9C-4703-BBC3-6469E285D43F}" dt="2025-03-28T08:54:36.350" v="4305" actId="20577"/>
          <ac:spMkLst>
            <pc:docMk/>
            <pc:sldMk cId="2374344934" sldId="2147477060"/>
            <ac:spMk id="7" creationId="{6F3506D2-B724-31F4-B4DF-7018A8759D3C}"/>
          </ac:spMkLst>
        </pc:spChg>
      </pc:sldChg>
      <pc:sldChg chg="addSp delSp modSp mod modTransition chgLayout">
        <pc:chgData name="Dirk Wübben" userId="a27602df-5b54-480c-866c-64260ceb4949" providerId="ADAL" clId="{6384D003-2B9C-4703-BBC3-6469E285D43F}" dt="2025-03-28T08:53:50.531" v="4291" actId="1076"/>
        <pc:sldMkLst>
          <pc:docMk/>
          <pc:sldMk cId="1591686061" sldId="2147477061"/>
        </pc:sldMkLst>
        <pc:spChg chg="mod ord">
          <ac:chgData name="Dirk Wübben" userId="a27602df-5b54-480c-866c-64260ceb4949" providerId="ADAL" clId="{6384D003-2B9C-4703-BBC3-6469E285D43F}" dt="2025-03-26T07:21:54.877" v="2687" actId="700"/>
          <ac:spMkLst>
            <pc:docMk/>
            <pc:sldMk cId="1591686061" sldId="2147477061"/>
            <ac:spMk id="2" creationId="{85348450-2EDA-5FD5-EAB7-90A0E26B0384}"/>
          </ac:spMkLst>
        </pc:spChg>
        <pc:spChg chg="mod ord">
          <ac:chgData name="Dirk Wübben" userId="a27602df-5b54-480c-866c-64260ceb4949" providerId="ADAL" clId="{6384D003-2B9C-4703-BBC3-6469E285D43F}" dt="2025-03-28T08:53:44.059" v="4290" actId="14100"/>
          <ac:spMkLst>
            <pc:docMk/>
            <pc:sldMk cId="1591686061" sldId="2147477061"/>
            <ac:spMk id="7" creationId="{5B756A53-159B-661F-61D5-C4CA34347C63}"/>
          </ac:spMkLst>
        </pc:spChg>
        <pc:graphicFrameChg chg="mod">
          <ac:chgData name="Dirk Wübben" userId="a27602df-5b54-480c-866c-64260ceb4949" providerId="ADAL" clId="{6384D003-2B9C-4703-BBC3-6469E285D43F}" dt="2025-03-28T08:53:50.531" v="4291" actId="1076"/>
          <ac:graphicFrameMkLst>
            <pc:docMk/>
            <pc:sldMk cId="1591686061" sldId="2147477061"/>
            <ac:graphicFrameMk id="18" creationId="{46B02D6D-14A9-E3AD-4598-F70EEF457533}"/>
          </ac:graphicFrameMkLst>
        </pc:graphicFrameChg>
      </pc:sldChg>
      <pc:sldChg chg="modSp mod modTransition">
        <pc:chgData name="Dirk Wübben" userId="a27602df-5b54-480c-866c-64260ceb4949" providerId="ADAL" clId="{6384D003-2B9C-4703-BBC3-6469E285D43F}" dt="2025-03-28T07:48:09.876" v="2993"/>
        <pc:sldMkLst>
          <pc:docMk/>
          <pc:sldMk cId="1793038787" sldId="2147477062"/>
        </pc:sldMkLst>
        <pc:spChg chg="mod">
          <ac:chgData name="Dirk Wübben" userId="a27602df-5b54-480c-866c-64260ceb4949" providerId="ADAL" clId="{6384D003-2B9C-4703-BBC3-6469E285D43F}" dt="2025-03-26T07:21:36.853" v="2686" actId="6549"/>
          <ac:spMkLst>
            <pc:docMk/>
            <pc:sldMk cId="1793038787" sldId="2147477062"/>
            <ac:spMk id="3" creationId="{F42495F3-EE84-0459-0041-3761B3E2F850}"/>
          </ac:spMkLst>
        </pc:spChg>
      </pc:sldChg>
      <pc:sldChg chg="delSp modSp mod modTransition">
        <pc:chgData name="Dirk Wübben" userId="a27602df-5b54-480c-866c-64260ceb4949" providerId="ADAL" clId="{6384D003-2B9C-4703-BBC3-6469E285D43F}" dt="2025-03-28T08:56:39.506" v="4310" actId="20577"/>
        <pc:sldMkLst>
          <pc:docMk/>
          <pc:sldMk cId="4268970151" sldId="2147477064"/>
        </pc:sldMkLst>
        <pc:spChg chg="mod">
          <ac:chgData name="Dirk Wübben" userId="a27602df-5b54-480c-866c-64260ceb4949" providerId="ADAL" clId="{6384D003-2B9C-4703-BBC3-6469E285D43F}" dt="2025-03-28T08:56:39.506" v="4310" actId="20577"/>
          <ac:spMkLst>
            <pc:docMk/>
            <pc:sldMk cId="4268970151" sldId="2147477064"/>
            <ac:spMk id="6" creationId="{F8415785-4E23-4E9C-877E-524655334521}"/>
          </ac:spMkLst>
        </pc:spChg>
      </pc:sldChg>
      <pc:sldChg chg="addSp delSp modSp mod modTransition modClrScheme chgLayout">
        <pc:chgData name="Dirk Wübben" userId="a27602df-5b54-480c-866c-64260ceb4949" providerId="ADAL" clId="{6384D003-2B9C-4703-BBC3-6469E285D43F}" dt="2025-03-28T08:53:28.892" v="4289" actId="6549"/>
        <pc:sldMkLst>
          <pc:docMk/>
          <pc:sldMk cId="3965821702" sldId="2147477066"/>
        </pc:sldMkLst>
        <pc:spChg chg="mod ord">
          <ac:chgData name="Dirk Wübben" userId="a27602df-5b54-480c-866c-64260ceb4949" providerId="ADAL" clId="{6384D003-2B9C-4703-BBC3-6469E285D43F}" dt="2025-03-26T07:21:07.094" v="2676" actId="700"/>
          <ac:spMkLst>
            <pc:docMk/>
            <pc:sldMk cId="3965821702" sldId="2147477066"/>
            <ac:spMk id="5" creationId="{CEFC4841-3499-436E-AC2A-C2216E0A59F1}"/>
          </ac:spMkLst>
        </pc:spChg>
        <pc:spChg chg="mod ord">
          <ac:chgData name="Dirk Wübben" userId="a27602df-5b54-480c-866c-64260ceb4949" providerId="ADAL" clId="{6384D003-2B9C-4703-BBC3-6469E285D43F}" dt="2025-03-28T08:53:28.892" v="4289" actId="6549"/>
          <ac:spMkLst>
            <pc:docMk/>
            <pc:sldMk cId="3965821702" sldId="2147477066"/>
            <ac:spMk id="6" creationId="{F8415785-4E23-4E9C-877E-524655334521}"/>
          </ac:spMkLst>
        </pc:spChg>
      </pc:sldChg>
      <pc:sldChg chg="addSp delSp modSp new mod modClrScheme chgLayout">
        <pc:chgData name="Dirk Wübben" userId="a27602df-5b54-480c-866c-64260ceb4949" providerId="ADAL" clId="{6384D003-2B9C-4703-BBC3-6469E285D43F}" dt="2025-03-25T11:41:18.806" v="2448"/>
        <pc:sldMkLst>
          <pc:docMk/>
          <pc:sldMk cId="3565376226" sldId="2147477067"/>
        </pc:sldMkLst>
      </pc:sldChg>
      <pc:sldChg chg="del modTransition">
        <pc:chgData name="Dirk Wübben" userId="a27602df-5b54-480c-866c-64260ceb4949" providerId="ADAL" clId="{6384D003-2B9C-4703-BBC3-6469E285D43F}" dt="2025-03-28T08:15:50.916" v="3335" actId="47"/>
        <pc:sldMkLst>
          <pc:docMk/>
          <pc:sldMk cId="1397644730" sldId="2147477068"/>
        </pc:sldMkLst>
      </pc:sldChg>
      <pc:sldChg chg="addSp delSp modSp del mod modTransition chgLayout">
        <pc:chgData name="Dirk Wübben" userId="a27602df-5b54-480c-866c-64260ceb4949" providerId="ADAL" clId="{6384D003-2B9C-4703-BBC3-6469E285D43F}" dt="2025-03-28T08:54:52.455" v="4306" actId="47"/>
        <pc:sldMkLst>
          <pc:docMk/>
          <pc:sldMk cId="66773229" sldId="2147477069"/>
        </pc:sldMkLst>
      </pc:sldChg>
      <pc:sldChg chg="addSp delSp modSp new del mod modClrScheme chgLayout">
        <pc:chgData name="Dirk Wübben" userId="a27602df-5b54-480c-866c-64260ceb4949" providerId="ADAL" clId="{6384D003-2B9C-4703-BBC3-6469E285D43F}" dt="2025-03-25T15:16:09.337" v="2541" actId="47"/>
        <pc:sldMkLst>
          <pc:docMk/>
          <pc:sldMk cId="1437016343" sldId="2147477069"/>
        </pc:sldMkLst>
      </pc:sldChg>
      <pc:sldChg chg="addSp delSp modSp add mod chgLayout">
        <pc:chgData name="Dirk Wübben" userId="a27602df-5b54-480c-866c-64260ceb4949" providerId="ADAL" clId="{6384D003-2B9C-4703-BBC3-6469E285D43F}" dt="2025-03-26T07:20:41.279" v="2674" actId="478"/>
        <pc:sldMkLst>
          <pc:docMk/>
          <pc:sldMk cId="2301428776" sldId="2147477070"/>
        </pc:sldMkLst>
      </pc:sldChg>
      <pc:sldChg chg="modTransition">
        <pc:chgData name="Dirk Wübben" userId="a27602df-5b54-480c-866c-64260ceb4949" providerId="ADAL" clId="{6384D003-2B9C-4703-BBC3-6469E285D43F}" dt="2025-03-28T07:48:09.876" v="2993"/>
        <pc:sldMkLst>
          <pc:docMk/>
          <pc:sldMk cId="2673052505" sldId="2147477071"/>
        </pc:sldMkLst>
      </pc:sldChg>
      <pc:sldChg chg="addSp modSp del mod modTransition">
        <pc:chgData name="Dirk Wübben" userId="a27602df-5b54-480c-866c-64260ceb4949" providerId="ADAL" clId="{6384D003-2B9C-4703-BBC3-6469E285D43F}" dt="2025-03-28T08:54:52.455" v="4306" actId="47"/>
        <pc:sldMkLst>
          <pc:docMk/>
          <pc:sldMk cId="1584862798" sldId="2147477072"/>
        </pc:sldMkLst>
      </pc:sldChg>
      <pc:sldChg chg="addSp delSp modSp add mod ord modTransition chgLayout">
        <pc:chgData name="Dirk Wübben" userId="a27602df-5b54-480c-866c-64260ceb4949" providerId="ADAL" clId="{6384D003-2B9C-4703-BBC3-6469E285D43F}" dt="2025-03-30T10:42:22.020" v="4902" actId="6549"/>
        <pc:sldMkLst>
          <pc:docMk/>
          <pc:sldMk cId="1308736631" sldId="2147477073"/>
        </pc:sldMkLst>
        <pc:spChg chg="mod ord">
          <ac:chgData name="Dirk Wübben" userId="a27602df-5b54-480c-866c-64260ceb4949" providerId="ADAL" clId="{6384D003-2B9C-4703-BBC3-6469E285D43F}" dt="2025-03-28T08:38:53.078" v="3954" actId="20577"/>
          <ac:spMkLst>
            <pc:docMk/>
            <pc:sldMk cId="1308736631" sldId="2147477073"/>
            <ac:spMk id="2" creationId="{C81C4984-FAC7-09FC-7D38-4D8B1E9099FB}"/>
          </ac:spMkLst>
        </pc:spChg>
        <pc:spChg chg="add mod ord">
          <ac:chgData name="Dirk Wübben" userId="a27602df-5b54-480c-866c-64260ceb4949" providerId="ADAL" clId="{6384D003-2B9C-4703-BBC3-6469E285D43F}" dt="2025-03-30T10:42:22.020" v="4902" actId="6549"/>
          <ac:spMkLst>
            <pc:docMk/>
            <pc:sldMk cId="1308736631" sldId="2147477073"/>
            <ac:spMk id="3" creationId="{6EB6DC46-13F7-45FF-9FB3-681FE2F7EE61}"/>
          </ac:spMkLst>
        </pc:spChg>
        <pc:spChg chg="mod">
          <ac:chgData name="Dirk Wübben" userId="a27602df-5b54-480c-866c-64260ceb4949" providerId="ADAL" clId="{6384D003-2B9C-4703-BBC3-6469E285D43F}" dt="2025-03-26T15:24:13.190" v="2760"/>
          <ac:spMkLst>
            <pc:docMk/>
            <pc:sldMk cId="1308736631" sldId="2147477073"/>
            <ac:spMk id="69" creationId="{E5D5EFD8-DC78-42FF-ACFD-6F9EF4325ED4}"/>
          </ac:spMkLst>
        </pc:spChg>
        <pc:spChg chg="mod">
          <ac:chgData name="Dirk Wübben" userId="a27602df-5b54-480c-866c-64260ceb4949" providerId="ADAL" clId="{6384D003-2B9C-4703-BBC3-6469E285D43F}" dt="2025-03-26T15:24:25.242" v="2761"/>
          <ac:spMkLst>
            <pc:docMk/>
            <pc:sldMk cId="1308736631" sldId="2147477073"/>
            <ac:spMk id="74" creationId="{76867796-C226-432F-A50C-E4C59BE9CEBA}"/>
          </ac:spMkLst>
        </pc:spChg>
        <pc:spChg chg="add mod ord modVis">
          <ac:chgData name="Dirk Wübben" userId="a27602df-5b54-480c-866c-64260ceb4949" providerId="ADAL" clId="{6384D003-2B9C-4703-BBC3-6469E285D43F}" dt="2025-03-28T14:01:00.727" v="4664" actId="14429"/>
          <ac:spMkLst>
            <pc:docMk/>
            <pc:sldMk cId="1308736631" sldId="2147477073"/>
            <ac:spMk id="85" creationId="{12BE8A08-5F41-4A52-BF86-16527FFE08EF}"/>
          </ac:spMkLst>
        </pc:spChg>
        <pc:grpChg chg="add mod ord">
          <ac:chgData name="Dirk Wübben" userId="a27602df-5b54-480c-866c-64260ceb4949" providerId="ADAL" clId="{6384D003-2B9C-4703-BBC3-6469E285D43F}" dt="2025-03-28T08:43:32.171" v="4000" actId="1036"/>
          <ac:grpSpMkLst>
            <pc:docMk/>
            <pc:sldMk cId="1308736631" sldId="2147477073"/>
            <ac:grpSpMk id="65" creationId="{AE757638-466B-4542-B483-28F76D6D2005}"/>
          </ac:grpSpMkLst>
        </pc:grpChg>
        <pc:grpChg chg="add mod">
          <ac:chgData name="Dirk Wübben" userId="a27602df-5b54-480c-866c-64260ceb4949" providerId="ADAL" clId="{6384D003-2B9C-4703-BBC3-6469E285D43F}" dt="2025-03-26T15:24:25.242" v="2761"/>
          <ac:grpSpMkLst>
            <pc:docMk/>
            <pc:sldMk cId="1308736631" sldId="2147477073"/>
            <ac:grpSpMk id="72" creationId="{86AECB81-668C-4B48-A621-03424E186198}"/>
          </ac:grpSpMkLst>
        </pc:grpChg>
        <pc:picChg chg="mod">
          <ac:chgData name="Dirk Wübben" userId="a27602df-5b54-480c-866c-64260ceb4949" providerId="ADAL" clId="{6384D003-2B9C-4703-BBC3-6469E285D43F}" dt="2025-03-26T15:24:13.190" v="2760"/>
          <ac:picMkLst>
            <pc:docMk/>
            <pc:sldMk cId="1308736631" sldId="2147477073"/>
            <ac:picMk id="66" creationId="{2BCF0868-B44F-4693-A303-5EE8B9C04DAD}"/>
          </ac:picMkLst>
        </pc:picChg>
        <pc:picChg chg="mod">
          <ac:chgData name="Dirk Wübben" userId="a27602df-5b54-480c-866c-64260ceb4949" providerId="ADAL" clId="{6384D003-2B9C-4703-BBC3-6469E285D43F}" dt="2025-03-26T15:24:13.190" v="2760"/>
          <ac:picMkLst>
            <pc:docMk/>
            <pc:sldMk cId="1308736631" sldId="2147477073"/>
            <ac:picMk id="70" creationId="{94CE28A6-5432-4382-B1B0-27446CD222E9}"/>
          </ac:picMkLst>
        </pc:picChg>
        <pc:picChg chg="add mod ord">
          <ac:chgData name="Dirk Wübben" userId="a27602df-5b54-480c-866c-64260ceb4949" providerId="ADAL" clId="{6384D003-2B9C-4703-BBC3-6469E285D43F}" dt="2025-03-28T08:43:37.067" v="4001" actId="1076"/>
          <ac:picMkLst>
            <pc:docMk/>
            <pc:sldMk cId="1308736631" sldId="2147477073"/>
            <ac:picMk id="71" creationId="{21A22639-516C-494F-88C0-95F88ECBEE35}"/>
          </ac:picMkLst>
        </pc:picChg>
        <pc:picChg chg="mod">
          <ac:chgData name="Dirk Wübben" userId="a27602df-5b54-480c-866c-64260ceb4949" providerId="ADAL" clId="{6384D003-2B9C-4703-BBC3-6469E285D43F}" dt="2025-03-26T15:24:25.242" v="2761"/>
          <ac:picMkLst>
            <pc:docMk/>
            <pc:sldMk cId="1308736631" sldId="2147477073"/>
            <ac:picMk id="73" creationId="{D100FF5B-31D5-4E06-BB54-D2DF8B4A71ED}"/>
          </ac:picMkLst>
        </pc:picChg>
        <pc:picChg chg="add mod">
          <ac:chgData name="Dirk Wübben" userId="a27602df-5b54-480c-866c-64260ceb4949" providerId="ADAL" clId="{6384D003-2B9C-4703-BBC3-6469E285D43F}" dt="2025-03-28T08:43:44.630" v="4003" actId="1076"/>
          <ac:picMkLst>
            <pc:docMk/>
            <pc:sldMk cId="1308736631" sldId="2147477073"/>
            <ac:picMk id="79" creationId="{E0B3F1E2-56BA-4555-9B22-E31EE97BCF65}"/>
          </ac:picMkLst>
        </pc:picChg>
        <pc:cxnChg chg="mod">
          <ac:chgData name="Dirk Wübben" userId="a27602df-5b54-480c-866c-64260ceb4949" providerId="ADAL" clId="{6384D003-2B9C-4703-BBC3-6469E285D43F}" dt="2025-03-26T15:24:13.190" v="2760"/>
          <ac:cxnSpMkLst>
            <pc:docMk/>
            <pc:sldMk cId="1308736631" sldId="2147477073"/>
            <ac:cxnSpMk id="67" creationId="{63D79F47-7B74-4C94-A200-1D455D8A9070}"/>
          </ac:cxnSpMkLst>
        </pc:cxnChg>
        <pc:cxnChg chg="mod">
          <ac:chgData name="Dirk Wübben" userId="a27602df-5b54-480c-866c-64260ceb4949" providerId="ADAL" clId="{6384D003-2B9C-4703-BBC3-6469E285D43F}" dt="2025-03-26T15:24:13.190" v="2760"/>
          <ac:cxnSpMkLst>
            <pc:docMk/>
            <pc:sldMk cId="1308736631" sldId="2147477073"/>
            <ac:cxnSpMk id="68" creationId="{4AE2DFC0-16F2-4878-8503-8DC5F6F4C6B5}"/>
          </ac:cxnSpMkLst>
        </pc:cxnChg>
        <pc:cxnChg chg="add mod">
          <ac:chgData name="Dirk Wübben" userId="a27602df-5b54-480c-866c-64260ceb4949" providerId="ADAL" clId="{6384D003-2B9C-4703-BBC3-6469E285D43F}" dt="2025-03-26T15:24:25.242" v="2761"/>
          <ac:cxnSpMkLst>
            <pc:docMk/>
            <pc:sldMk cId="1308736631" sldId="2147477073"/>
            <ac:cxnSpMk id="75" creationId="{6E3FB032-E8F3-4720-B24F-FD748F6EE355}"/>
          </ac:cxnSpMkLst>
        </pc:cxnChg>
      </pc:sldChg>
      <pc:sldChg chg="addSp delSp modSp add del mod ord modTransition">
        <pc:chgData name="Dirk Wübben" userId="a27602df-5b54-480c-866c-64260ceb4949" providerId="ADAL" clId="{6384D003-2B9C-4703-BBC3-6469E285D43F}" dt="2025-03-28T10:54:25.651" v="4379" actId="47"/>
        <pc:sldMkLst>
          <pc:docMk/>
          <pc:sldMk cId="1164737160" sldId="2147477074"/>
        </pc:sldMkLst>
      </pc:sldChg>
      <pc:sldChg chg="addSp delSp modSp new mod modShow chgLayout">
        <pc:chgData name="Dirk Wübben" userId="a27602df-5b54-480c-866c-64260ceb4949" providerId="ADAL" clId="{6384D003-2B9C-4703-BBC3-6469E285D43F}" dt="2025-03-30T10:45:41.523" v="4974" actId="729"/>
        <pc:sldMkLst>
          <pc:docMk/>
          <pc:sldMk cId="2599621944" sldId="2147477075"/>
        </pc:sldMkLst>
        <pc:spChg chg="mod ord">
          <ac:chgData name="Dirk Wübben" userId="a27602df-5b54-480c-866c-64260ceb4949" providerId="ADAL" clId="{6384D003-2B9C-4703-BBC3-6469E285D43F}" dt="2025-03-28T17:19:44.490" v="4710" actId="700"/>
          <ac:spMkLst>
            <pc:docMk/>
            <pc:sldMk cId="2599621944" sldId="2147477075"/>
            <ac:spMk id="2" creationId="{38F80290-CFCA-43EB-AB1D-738E632A410C}"/>
          </ac:spMkLst>
        </pc:spChg>
        <pc:spChg chg="mod ord">
          <ac:chgData name="Dirk Wübben" userId="a27602df-5b54-480c-866c-64260ceb4949" providerId="ADAL" clId="{6384D003-2B9C-4703-BBC3-6469E285D43F}" dt="2025-03-28T17:19:44.490" v="4710" actId="700"/>
          <ac:spMkLst>
            <pc:docMk/>
            <pc:sldMk cId="2599621944" sldId="2147477075"/>
            <ac:spMk id="3" creationId="{AC599F71-A8FD-409D-BA5F-8847061908C1}"/>
          </ac:spMkLst>
        </pc:spChg>
        <pc:spChg chg="add del mod">
          <ac:chgData name="Dirk Wübben" userId="a27602df-5b54-480c-866c-64260ceb4949" providerId="ADAL" clId="{6384D003-2B9C-4703-BBC3-6469E285D43F}" dt="2025-03-28T07:51:17.007" v="3070"/>
          <ac:spMkLst>
            <pc:docMk/>
            <pc:sldMk cId="2599621944" sldId="2147477075"/>
            <ac:spMk id="4" creationId="{9428B25E-7E79-4D6D-9E3B-09EF8BD6B9F2}"/>
          </ac:spMkLst>
        </pc:spChg>
        <pc:spChg chg="mod">
          <ac:chgData name="Dirk Wübben" userId="a27602df-5b54-480c-866c-64260ceb4949" providerId="ADAL" clId="{6384D003-2B9C-4703-BBC3-6469E285D43F}" dt="2025-03-28T17:21:59.792" v="4721" actId="555"/>
          <ac:spMkLst>
            <pc:docMk/>
            <pc:sldMk cId="2599621944" sldId="2147477075"/>
            <ac:spMk id="5" creationId="{FB760828-BABF-AD4F-FAE9-2E2760994BAD}"/>
          </ac:spMkLst>
        </pc:spChg>
        <pc:spChg chg="mod">
          <ac:chgData name="Dirk Wübben" userId="a27602df-5b54-480c-866c-64260ceb4949" providerId="ADAL" clId="{6384D003-2B9C-4703-BBC3-6469E285D43F}" dt="2025-03-28T17:21:59.792" v="4721" actId="555"/>
          <ac:spMkLst>
            <pc:docMk/>
            <pc:sldMk cId="2599621944" sldId="2147477075"/>
            <ac:spMk id="9" creationId="{4230DDB9-B211-FCEE-D6B8-38D1AAD5D89C}"/>
          </ac:spMkLst>
        </pc:spChg>
        <pc:spChg chg="add del mod">
          <ac:chgData name="Dirk Wübben" userId="a27602df-5b54-480c-866c-64260ceb4949" providerId="ADAL" clId="{6384D003-2B9C-4703-BBC3-6469E285D43F}" dt="2025-03-28T17:19:44.895" v="4712" actId="164"/>
          <ac:spMkLst>
            <pc:docMk/>
            <pc:sldMk cId="2599621944" sldId="2147477075"/>
            <ac:spMk id="10" creationId="{98B66DDC-A4B9-4AC9-A3A3-2D817E0A6674}"/>
          </ac:spMkLst>
        </pc:spChg>
        <pc:spChg chg="add del mod">
          <ac:chgData name="Dirk Wübben" userId="a27602df-5b54-480c-866c-64260ceb4949" providerId="ADAL" clId="{6384D003-2B9C-4703-BBC3-6469E285D43F}" dt="2025-03-28T07:51:17.007" v="3070"/>
          <ac:spMkLst>
            <pc:docMk/>
            <pc:sldMk cId="2599621944" sldId="2147477075"/>
            <ac:spMk id="12" creationId="{52FF4736-9B0D-408E-AAB0-26D51EA57E05}"/>
          </ac:spMkLst>
        </pc:spChg>
        <pc:spChg chg="add del mod">
          <ac:chgData name="Dirk Wübben" userId="a27602df-5b54-480c-866c-64260ceb4949" providerId="ADAL" clId="{6384D003-2B9C-4703-BBC3-6469E285D43F}" dt="2025-03-28T07:51:17.007" v="3070"/>
          <ac:spMkLst>
            <pc:docMk/>
            <pc:sldMk cId="2599621944" sldId="2147477075"/>
            <ac:spMk id="13" creationId="{743B1652-2310-4DB3-A000-E721FA160CA8}"/>
          </ac:spMkLst>
        </pc:spChg>
        <pc:spChg chg="add del mod">
          <ac:chgData name="Dirk Wübben" userId="a27602df-5b54-480c-866c-64260ceb4949" providerId="ADAL" clId="{6384D003-2B9C-4703-BBC3-6469E285D43F}" dt="2025-03-28T07:51:17.007" v="3070"/>
          <ac:spMkLst>
            <pc:docMk/>
            <pc:sldMk cId="2599621944" sldId="2147477075"/>
            <ac:spMk id="16" creationId="{28AC140A-4FC6-49B8-A60A-0891D2CE51F7}"/>
          </ac:spMkLst>
        </pc:spChg>
        <pc:spChg chg="add del mod">
          <ac:chgData name="Dirk Wübben" userId="a27602df-5b54-480c-866c-64260ceb4949" providerId="ADAL" clId="{6384D003-2B9C-4703-BBC3-6469E285D43F}" dt="2025-03-28T07:51:17.007" v="3070"/>
          <ac:spMkLst>
            <pc:docMk/>
            <pc:sldMk cId="2599621944" sldId="2147477075"/>
            <ac:spMk id="17" creationId="{EE613CD6-6BC1-4A01-9237-736D7ED6A7E2}"/>
          </ac:spMkLst>
        </pc:spChg>
        <pc:spChg chg="add del mod">
          <ac:chgData name="Dirk Wübben" userId="a27602df-5b54-480c-866c-64260ceb4949" providerId="ADAL" clId="{6384D003-2B9C-4703-BBC3-6469E285D43F}" dt="2025-03-28T07:51:17.007" v="3070"/>
          <ac:spMkLst>
            <pc:docMk/>
            <pc:sldMk cId="2599621944" sldId="2147477075"/>
            <ac:spMk id="18" creationId="{40CC9DF5-2138-461D-9CB4-C6DE39333350}"/>
          </ac:spMkLst>
        </pc:spChg>
        <pc:spChg chg="add del mod">
          <ac:chgData name="Dirk Wübben" userId="a27602df-5b54-480c-866c-64260ceb4949" providerId="ADAL" clId="{6384D003-2B9C-4703-BBC3-6469E285D43F}" dt="2025-03-28T17:19:45.368" v="4713" actId="164"/>
          <ac:spMkLst>
            <pc:docMk/>
            <pc:sldMk cId="2599621944" sldId="2147477075"/>
            <ac:spMk id="19" creationId="{50E92167-E58C-454D-93E8-2262DFFBE6C3}"/>
          </ac:spMkLst>
        </pc:spChg>
        <pc:spChg chg="add mod">
          <ac:chgData name="Dirk Wübben" userId="a27602df-5b54-480c-866c-64260ceb4949" providerId="ADAL" clId="{6384D003-2B9C-4703-BBC3-6469E285D43F}" dt="2025-03-28T07:54:53.082" v="3072" actId="1076"/>
          <ac:spMkLst>
            <pc:docMk/>
            <pc:sldMk cId="2599621944" sldId="2147477075"/>
            <ac:spMk id="20" creationId="{66BDF3B3-176D-48EB-A05B-16F5CEF62B00}"/>
          </ac:spMkLst>
        </pc:spChg>
        <pc:spChg chg="add mod">
          <ac:chgData name="Dirk Wübben" userId="a27602df-5b54-480c-866c-64260ceb4949" providerId="ADAL" clId="{6384D003-2B9C-4703-BBC3-6469E285D43F}" dt="2025-03-28T07:55:18.047" v="3095" actId="6549"/>
          <ac:spMkLst>
            <pc:docMk/>
            <pc:sldMk cId="2599621944" sldId="2147477075"/>
            <ac:spMk id="21" creationId="{2C73E16A-9B06-4BEB-9482-FD050559C8CB}"/>
          </ac:spMkLst>
        </pc:spChg>
        <pc:spChg chg="mod">
          <ac:chgData name="Dirk Wübben" userId="a27602df-5b54-480c-866c-64260ceb4949" providerId="ADAL" clId="{6384D003-2B9C-4703-BBC3-6469E285D43F}" dt="2025-03-28T17:19:44.703" v="4711" actId="164"/>
          <ac:spMkLst>
            <pc:docMk/>
            <pc:sldMk cId="2599621944" sldId="2147477075"/>
            <ac:spMk id="34" creationId="{9A27BAA8-25AD-7E30-AF94-5692B73AE997}"/>
          </ac:spMkLst>
        </pc:spChg>
        <pc:spChg chg="mod">
          <ac:chgData name="Dirk Wübben" userId="a27602df-5b54-480c-866c-64260ceb4949" providerId="ADAL" clId="{6384D003-2B9C-4703-BBC3-6469E285D43F}" dt="2025-03-28T17:19:44.703" v="4711" actId="164"/>
          <ac:spMkLst>
            <pc:docMk/>
            <pc:sldMk cId="2599621944" sldId="2147477075"/>
            <ac:spMk id="35" creationId="{996878AE-0EE5-6282-1C5E-EF47F1D4CD63}"/>
          </ac:spMkLst>
        </pc:spChg>
        <pc:spChg chg="mod">
          <ac:chgData name="Dirk Wübben" userId="a27602df-5b54-480c-866c-64260ceb4949" providerId="ADAL" clId="{6384D003-2B9C-4703-BBC3-6469E285D43F}" dt="2025-03-28T17:19:44.703" v="4711" actId="164"/>
          <ac:spMkLst>
            <pc:docMk/>
            <pc:sldMk cId="2599621944" sldId="2147477075"/>
            <ac:spMk id="36" creationId="{A41859CF-6806-E9DC-494E-E29DF6543F5F}"/>
          </ac:spMkLst>
        </pc:spChg>
        <pc:grpChg chg="add mod">
          <ac:chgData name="Dirk Wübben" userId="a27602df-5b54-480c-866c-64260ceb4949" providerId="ADAL" clId="{6384D003-2B9C-4703-BBC3-6469E285D43F}" dt="2025-03-28T17:19:45.880" v="4714" actId="554"/>
          <ac:grpSpMkLst>
            <pc:docMk/>
            <pc:sldMk cId="2599621944" sldId="2147477075"/>
            <ac:grpSpMk id="7" creationId="{B36D8745-FD6F-46C1-B5CF-B1580BF33D6C}"/>
          </ac:grpSpMkLst>
        </pc:grpChg>
        <pc:grpChg chg="add mod">
          <ac:chgData name="Dirk Wübben" userId="a27602df-5b54-480c-866c-64260ceb4949" providerId="ADAL" clId="{6384D003-2B9C-4703-BBC3-6469E285D43F}" dt="2025-03-28T17:19:45.368" v="4713" actId="164"/>
          <ac:grpSpMkLst>
            <pc:docMk/>
            <pc:sldMk cId="2599621944" sldId="2147477075"/>
            <ac:grpSpMk id="8" creationId="{D723CC12-04BB-43E4-8D72-95133FBAA504}"/>
          </ac:grpSpMkLst>
        </pc:grpChg>
        <pc:grpChg chg="add mod">
          <ac:chgData name="Dirk Wübben" userId="a27602df-5b54-480c-866c-64260ceb4949" providerId="ADAL" clId="{6384D003-2B9C-4703-BBC3-6469E285D43F}" dt="2025-03-28T17:19:45.880" v="4714" actId="554"/>
          <ac:grpSpMkLst>
            <pc:docMk/>
            <pc:sldMk cId="2599621944" sldId="2147477075"/>
            <ac:grpSpMk id="11" creationId="{DA3E69EB-B895-4153-82BD-FB8378A5C6A7}"/>
          </ac:grpSpMkLst>
        </pc:grpChg>
        <pc:picChg chg="add del mod">
          <ac:chgData name="Dirk Wübben" userId="a27602df-5b54-480c-866c-64260ceb4949" providerId="ADAL" clId="{6384D003-2B9C-4703-BBC3-6469E285D43F}" dt="2025-03-28T17:19:44.895" v="4712" actId="164"/>
          <ac:picMkLst>
            <pc:docMk/>
            <pc:sldMk cId="2599621944" sldId="2147477075"/>
            <ac:picMk id="6" creationId="{5CF42BF4-FA91-4B28-8571-42C643D57FA7}"/>
          </ac:picMkLst>
        </pc:picChg>
        <pc:picChg chg="add mod">
          <ac:chgData name="Dirk Wübben" userId="a27602df-5b54-480c-866c-64260ceb4949" providerId="ADAL" clId="{6384D003-2B9C-4703-BBC3-6469E285D43F}" dt="2025-03-28T07:55:22.825" v="3098" actId="1076"/>
          <ac:picMkLst>
            <pc:docMk/>
            <pc:sldMk cId="2599621944" sldId="2147477075"/>
            <ac:picMk id="22" creationId="{A597D161-E792-4859-A18E-9222F01D051E}"/>
          </ac:picMkLst>
        </pc:picChg>
        <pc:picChg chg="add mod">
          <ac:chgData name="Dirk Wübben" userId="a27602df-5b54-480c-866c-64260ceb4949" providerId="ADAL" clId="{6384D003-2B9C-4703-BBC3-6469E285D43F}" dt="2025-03-28T07:55:40.034" v="3104" actId="1076"/>
          <ac:picMkLst>
            <pc:docMk/>
            <pc:sldMk cId="2599621944" sldId="2147477075"/>
            <ac:picMk id="23" creationId="{D70F3544-F393-43D6-96B4-99BF55B1818B}"/>
          </ac:picMkLst>
        </pc:picChg>
        <pc:picChg chg="mod">
          <ac:chgData name="Dirk Wübben" userId="a27602df-5b54-480c-866c-64260ceb4949" providerId="ADAL" clId="{6384D003-2B9C-4703-BBC3-6469E285D43F}" dt="2025-03-28T17:19:44.703" v="4711" actId="164"/>
          <ac:picMkLst>
            <pc:docMk/>
            <pc:sldMk cId="2599621944" sldId="2147477075"/>
            <ac:picMk id="33" creationId="{87742679-00EA-73A9-1D8C-DD0057E75721}"/>
          </ac:picMkLst>
        </pc:picChg>
        <pc:cxnChg chg="add del mod">
          <ac:chgData name="Dirk Wübben" userId="a27602df-5b54-480c-866c-64260ceb4949" providerId="ADAL" clId="{6384D003-2B9C-4703-BBC3-6469E285D43F}" dt="2025-03-28T07:51:17.007" v="3070"/>
          <ac:cxnSpMkLst>
            <pc:docMk/>
            <pc:sldMk cId="2599621944" sldId="2147477075"/>
            <ac:cxnSpMk id="15" creationId="{3AE381AC-7FBC-45E1-8443-DDCDE522A6D3}"/>
          </ac:cxnSpMkLst>
        </pc:cxnChg>
      </pc:sldChg>
      <pc:sldChg chg="addSp modSp add mod">
        <pc:chgData name="Dirk Wübben" userId="a27602df-5b54-480c-866c-64260ceb4949" providerId="ADAL" clId="{6384D003-2B9C-4703-BBC3-6469E285D43F}" dt="2025-03-28T08:57:35.709" v="4354" actId="20577"/>
        <pc:sldMkLst>
          <pc:docMk/>
          <pc:sldMk cId="1288718153" sldId="2147477076"/>
        </pc:sldMkLst>
      </pc:sldChg>
      <pc:sldChg chg="modSp add del mod">
        <pc:chgData name="Dirk Wübben" userId="a27602df-5b54-480c-866c-64260ceb4949" providerId="ADAL" clId="{6384D003-2B9C-4703-BBC3-6469E285D43F}" dt="2025-03-28T08:02:50.021" v="3128"/>
        <pc:sldMkLst>
          <pc:docMk/>
          <pc:sldMk cId="1368052011" sldId="2147477076"/>
        </pc:sldMkLst>
      </pc:sldChg>
      <pc:sldChg chg="addSp delSp modSp add del mod">
        <pc:chgData name="Dirk Wübben" userId="a27602df-5b54-480c-866c-64260ceb4949" providerId="ADAL" clId="{6384D003-2B9C-4703-BBC3-6469E285D43F}" dt="2025-03-28T08:15:50.916" v="3335" actId="47"/>
        <pc:sldMkLst>
          <pc:docMk/>
          <pc:sldMk cId="3726699514" sldId="2147477076"/>
        </pc:sldMkLst>
      </pc:sldChg>
      <pc:sldChg chg="delSp new del mod">
        <pc:chgData name="Dirk Wübben" userId="a27602df-5b54-480c-866c-64260ceb4949" providerId="ADAL" clId="{6384D003-2B9C-4703-BBC3-6469E285D43F}" dt="2025-03-28T08:02:27.841" v="3124" actId="47"/>
        <pc:sldMkLst>
          <pc:docMk/>
          <pc:sldMk cId="4044000261" sldId="2147477076"/>
        </pc:sldMkLst>
      </pc:sldChg>
      <pc:sldChg chg="add del">
        <pc:chgData name="Dirk Wübben" userId="a27602df-5b54-480c-866c-64260ceb4949" providerId="ADAL" clId="{6384D003-2B9C-4703-BBC3-6469E285D43F}" dt="2025-03-28T08:15:50.916" v="3335" actId="47"/>
        <pc:sldMkLst>
          <pc:docMk/>
          <pc:sldMk cId="959473650" sldId="2147477077"/>
        </pc:sldMkLst>
      </pc:sldChg>
      <pc:sldChg chg="addSp delSp modSp mod">
        <pc:chgData name="Dirk Wübben" userId="a27602df-5b54-480c-866c-64260ceb4949" providerId="ADAL" clId="{6384D003-2B9C-4703-BBC3-6469E285D43F}" dt="2025-03-30T10:45:06.019" v="4973" actId="478"/>
        <pc:sldMkLst>
          <pc:docMk/>
          <pc:sldMk cId="3757193397" sldId="2147477077"/>
        </pc:sldMkLst>
        <pc:spChg chg="mod ord">
          <ac:chgData name="Dirk Wübben" userId="a27602df-5b54-480c-866c-64260ceb4949" providerId="ADAL" clId="{6384D003-2B9C-4703-BBC3-6469E285D43F}" dt="2025-03-30T10:44:08.594" v="4917" actId="179"/>
          <ac:spMkLst>
            <pc:docMk/>
            <pc:sldMk cId="3757193397" sldId="2147477077"/>
            <ac:spMk id="3" creationId="{6BE873F6-18A5-5ED0-CAF6-E665DBC70CB6}"/>
          </ac:spMkLst>
        </pc:spChg>
        <pc:spChg chg="add mod ord">
          <ac:chgData name="Dirk Wübben" userId="a27602df-5b54-480c-866c-64260ceb4949" providerId="ADAL" clId="{6384D003-2B9C-4703-BBC3-6469E285D43F}" dt="2025-03-30T10:44:54.825" v="4972" actId="14100"/>
          <ac:spMkLst>
            <pc:docMk/>
            <pc:sldMk cId="3757193397" sldId="2147477077"/>
            <ac:spMk id="92" creationId="{452AAC9B-77FA-40FC-87BC-646BEA40AC5F}"/>
          </ac:spMkLst>
        </pc:spChg>
        <pc:spChg chg="add del mod">
          <ac:chgData name="Dirk Wübben" userId="a27602df-5b54-480c-866c-64260ceb4949" providerId="ADAL" clId="{6384D003-2B9C-4703-BBC3-6469E285D43F}" dt="2025-03-30T10:45:06.019" v="4973" actId="478"/>
          <ac:spMkLst>
            <pc:docMk/>
            <pc:sldMk cId="3757193397" sldId="2147477077"/>
            <ac:spMk id="96" creationId="{BCC13DEF-6648-4F3C-930A-22493B76CB16}"/>
          </ac:spMkLst>
        </pc:spChg>
      </pc:sldChg>
      <pc:sldMasterChg chg="modSp modTransition modSldLayout">
        <pc:chgData name="Dirk Wübben" userId="a27602df-5b54-480c-866c-64260ceb4949" providerId="ADAL" clId="{6384D003-2B9C-4703-BBC3-6469E285D43F}" dt="2025-03-20T11:52:11.619" v="1972"/>
        <pc:sldMasterMkLst>
          <pc:docMk/>
          <pc:sldMasterMk cId="4278311976" sldId="2147483672"/>
        </pc:sldMasterMkLst>
        <pc:spChg chg="mod">
          <ac:chgData name="Dirk Wübben" userId="a27602df-5b54-480c-866c-64260ceb4949" providerId="ADAL" clId="{6384D003-2B9C-4703-BBC3-6469E285D43F}" dt="2025-03-20T10:11:09.732" v="1579"/>
          <ac:spMkLst>
            <pc:docMk/>
            <pc:sldMasterMk cId="4278311976" sldId="2147483672"/>
            <ac:spMk id="3" creationId="{A123295D-AEB7-2B7B-5BC1-BE2A36A8FF36}"/>
          </ac:spMkLst>
        </pc:spChg>
        <pc:spChg chg="mod">
          <ac:chgData name="Dirk Wübben" userId="a27602df-5b54-480c-866c-64260ceb4949" providerId="ADAL" clId="{6384D003-2B9C-4703-BBC3-6469E285D43F}" dt="2025-03-20T10:11:09.732" v="1579"/>
          <ac:spMkLst>
            <pc:docMk/>
            <pc:sldMasterMk cId="4278311976" sldId="2147483672"/>
            <ac:spMk id="4" creationId="{0697F7F4-C638-F1E2-5AF5-C391C45F6DFB}"/>
          </ac:spMkLst>
        </pc:spChg>
        <pc:spChg chg="mod">
          <ac:chgData name="Dirk Wübben" userId="a27602df-5b54-480c-866c-64260ceb4949" providerId="ADAL" clId="{6384D003-2B9C-4703-BBC3-6469E285D43F}" dt="2025-03-20T10:11:09.732" v="1579"/>
          <ac:spMkLst>
            <pc:docMk/>
            <pc:sldMasterMk cId="4278311976" sldId="2147483672"/>
            <ac:spMk id="5" creationId="{61B3CDBF-9E65-5D43-7546-1D79C46A09B0}"/>
          </ac:spMkLst>
        </pc:spChg>
        <pc:spChg chg="mod">
          <ac:chgData name="Dirk Wübben" userId="a27602df-5b54-480c-866c-64260ceb4949" providerId="ADAL" clId="{6384D003-2B9C-4703-BBC3-6469E285D43F}" dt="2025-03-20T10:11:09.732" v="1579"/>
          <ac:spMkLst>
            <pc:docMk/>
            <pc:sldMasterMk cId="4278311976" sldId="2147483672"/>
            <ac:spMk id="6" creationId="{0F9E9525-1B17-C4BB-23C2-ADB1D3C53DFF}"/>
          </ac:spMkLst>
        </pc:spChg>
        <pc:spChg chg="mod">
          <ac:chgData name="Dirk Wübben" userId="a27602df-5b54-480c-866c-64260ceb4949" providerId="ADAL" clId="{6384D003-2B9C-4703-BBC3-6469E285D43F}" dt="2025-03-20T10:11:09.732" v="1579"/>
          <ac:spMkLst>
            <pc:docMk/>
            <pc:sldMasterMk cId="4278311976" sldId="2147483672"/>
            <ac:spMk id="7" creationId="{758A8CFB-6ED4-1045-2428-12F57B0A5B88}"/>
          </ac:spMkLst>
        </pc:spChg>
        <pc:picChg chg="mod">
          <ac:chgData name="Dirk Wübben" userId="a27602df-5b54-480c-866c-64260ceb4949" providerId="ADAL" clId="{6384D003-2B9C-4703-BBC3-6469E285D43F}" dt="2025-03-20T10:11:09.732" v="1579"/>
          <ac:picMkLst>
            <pc:docMk/>
            <pc:sldMasterMk cId="4278311976" sldId="2147483672"/>
            <ac:picMk id="2" creationId="{97880161-6A6F-5E9B-14C9-850184EE2EED}"/>
          </ac:picMkLst>
        </pc:picChg>
        <pc:sldLayoutChg chg="modSp modTransition">
          <pc:chgData name="Dirk Wübben" userId="a27602df-5b54-480c-866c-64260ceb4949" providerId="ADAL" clId="{6384D003-2B9C-4703-BBC3-6469E285D43F}" dt="2025-03-20T11:52:11.619" v="1972"/>
          <pc:sldLayoutMkLst>
            <pc:docMk/>
            <pc:sldMasterMk cId="4278311976" sldId="2147483672"/>
            <pc:sldLayoutMk cId="258895487" sldId="2147483673"/>
          </pc:sldLayoutMkLst>
          <pc:spChg chg="mod">
            <ac:chgData name="Dirk Wübben" userId="a27602df-5b54-480c-866c-64260ceb4949" providerId="ADAL" clId="{6384D003-2B9C-4703-BBC3-6469E285D43F}" dt="2025-03-20T10:11:09.732" v="1579"/>
            <ac:spMkLst>
              <pc:docMk/>
              <pc:sldMasterMk cId="4278311976" sldId="2147483672"/>
              <pc:sldLayoutMk cId="258895487" sldId="2147483673"/>
              <ac:spMk id="2" creationId="{77628CBF-B7ED-4F53-7D3E-9100FAF64B62}"/>
            </ac:spMkLst>
          </pc:spChg>
          <pc:spChg chg="mod">
            <ac:chgData name="Dirk Wübben" userId="a27602df-5b54-480c-866c-64260ceb4949" providerId="ADAL" clId="{6384D003-2B9C-4703-BBC3-6469E285D43F}" dt="2025-03-20T10:11:09.732" v="1579"/>
            <ac:spMkLst>
              <pc:docMk/>
              <pc:sldMasterMk cId="4278311976" sldId="2147483672"/>
              <pc:sldLayoutMk cId="258895487" sldId="2147483673"/>
              <ac:spMk id="3" creationId="{30A99890-A7FD-5914-F9D9-DAC555EBB243}"/>
            </ac:spMkLst>
          </pc:spChg>
        </pc:sldLayoutChg>
        <pc:sldLayoutChg chg="modTransition">
          <pc:chgData name="Dirk Wübben" userId="a27602df-5b54-480c-866c-64260ceb4949" providerId="ADAL" clId="{6384D003-2B9C-4703-BBC3-6469E285D43F}" dt="2025-03-20T11:52:11.619" v="1972"/>
          <pc:sldLayoutMkLst>
            <pc:docMk/>
            <pc:sldMasterMk cId="4278311976" sldId="2147483672"/>
            <pc:sldLayoutMk cId="4275960089" sldId="2147483674"/>
          </pc:sldLayoutMkLst>
        </pc:sldLayoutChg>
        <pc:sldLayoutChg chg="modSp modTransition">
          <pc:chgData name="Dirk Wübben" userId="a27602df-5b54-480c-866c-64260ceb4949" providerId="ADAL" clId="{6384D003-2B9C-4703-BBC3-6469E285D43F}" dt="2025-03-20T11:52:11.619" v="1972"/>
          <pc:sldLayoutMkLst>
            <pc:docMk/>
            <pc:sldMasterMk cId="4278311976" sldId="2147483672"/>
            <pc:sldLayoutMk cId="1508331705" sldId="2147483675"/>
          </pc:sldLayoutMkLst>
          <pc:spChg chg="mod">
            <ac:chgData name="Dirk Wübben" userId="a27602df-5b54-480c-866c-64260ceb4949" providerId="ADAL" clId="{6384D003-2B9C-4703-BBC3-6469E285D43F}" dt="2025-03-20T10:11:09.732" v="1579"/>
            <ac:spMkLst>
              <pc:docMk/>
              <pc:sldMasterMk cId="4278311976" sldId="2147483672"/>
              <pc:sldLayoutMk cId="1508331705" sldId="2147483675"/>
              <ac:spMk id="2" creationId="{11A58C1B-AB03-B937-F3AB-82465B092C7B}"/>
            </ac:spMkLst>
          </pc:spChg>
          <pc:spChg chg="mod">
            <ac:chgData name="Dirk Wübben" userId="a27602df-5b54-480c-866c-64260ceb4949" providerId="ADAL" clId="{6384D003-2B9C-4703-BBC3-6469E285D43F}" dt="2025-03-20T10:11:09.732" v="1579"/>
            <ac:spMkLst>
              <pc:docMk/>
              <pc:sldMasterMk cId="4278311976" sldId="2147483672"/>
              <pc:sldLayoutMk cId="1508331705" sldId="2147483675"/>
              <ac:spMk id="3" creationId="{E491AA65-F9D2-9A82-9226-FAEDE0449282}"/>
            </ac:spMkLst>
          </pc:spChg>
        </pc:sldLayoutChg>
        <pc:sldLayoutChg chg="modSp modTransition">
          <pc:chgData name="Dirk Wübben" userId="a27602df-5b54-480c-866c-64260ceb4949" providerId="ADAL" clId="{6384D003-2B9C-4703-BBC3-6469E285D43F}" dt="2025-03-20T11:52:11.619" v="1972"/>
          <pc:sldLayoutMkLst>
            <pc:docMk/>
            <pc:sldMasterMk cId="4278311976" sldId="2147483672"/>
            <pc:sldLayoutMk cId="264991112" sldId="2147483676"/>
          </pc:sldLayoutMkLst>
          <pc:spChg chg="mod">
            <ac:chgData name="Dirk Wübben" userId="a27602df-5b54-480c-866c-64260ceb4949" providerId="ADAL" clId="{6384D003-2B9C-4703-BBC3-6469E285D43F}" dt="2025-03-20T10:11:09.732" v="1579"/>
            <ac:spMkLst>
              <pc:docMk/>
              <pc:sldMasterMk cId="4278311976" sldId="2147483672"/>
              <pc:sldLayoutMk cId="264991112" sldId="2147483676"/>
              <ac:spMk id="3" creationId="{137F3275-F797-FC1C-2511-19E135A4962F}"/>
            </ac:spMkLst>
          </pc:spChg>
          <pc:spChg chg="mod">
            <ac:chgData name="Dirk Wübben" userId="a27602df-5b54-480c-866c-64260ceb4949" providerId="ADAL" clId="{6384D003-2B9C-4703-BBC3-6469E285D43F}" dt="2025-03-20T10:11:09.732" v="1579"/>
            <ac:spMkLst>
              <pc:docMk/>
              <pc:sldMasterMk cId="4278311976" sldId="2147483672"/>
              <pc:sldLayoutMk cId="264991112" sldId="2147483676"/>
              <ac:spMk id="4" creationId="{A1BFB946-FFDB-511F-93A2-99B65A80B8C2}"/>
            </ac:spMkLst>
          </pc:spChg>
        </pc:sldLayoutChg>
        <pc:sldLayoutChg chg="modSp modTransition">
          <pc:chgData name="Dirk Wübben" userId="a27602df-5b54-480c-866c-64260ceb4949" providerId="ADAL" clId="{6384D003-2B9C-4703-BBC3-6469E285D43F}" dt="2025-03-20T11:52:11.619" v="1972"/>
          <pc:sldLayoutMkLst>
            <pc:docMk/>
            <pc:sldMasterMk cId="4278311976" sldId="2147483672"/>
            <pc:sldLayoutMk cId="2431558328" sldId="2147483677"/>
          </pc:sldLayoutMkLst>
          <pc:spChg chg="mod">
            <ac:chgData name="Dirk Wübben" userId="a27602df-5b54-480c-866c-64260ceb4949" providerId="ADAL" clId="{6384D003-2B9C-4703-BBC3-6469E285D43F}" dt="2025-03-20T10:11:09.732" v="1579"/>
            <ac:spMkLst>
              <pc:docMk/>
              <pc:sldMasterMk cId="4278311976" sldId="2147483672"/>
              <pc:sldLayoutMk cId="2431558328" sldId="2147483677"/>
              <ac:spMk id="2" creationId="{3E27898D-7E36-4A85-B794-57682416FD7D}"/>
            </ac:spMkLst>
          </pc:spChg>
          <pc:spChg chg="mod">
            <ac:chgData name="Dirk Wübben" userId="a27602df-5b54-480c-866c-64260ceb4949" providerId="ADAL" clId="{6384D003-2B9C-4703-BBC3-6469E285D43F}" dt="2025-03-20T10:11:09.732" v="1579"/>
            <ac:spMkLst>
              <pc:docMk/>
              <pc:sldMasterMk cId="4278311976" sldId="2147483672"/>
              <pc:sldLayoutMk cId="2431558328" sldId="2147483677"/>
              <ac:spMk id="3" creationId="{14F5BCBE-279D-E41B-8741-4E119630A7E2}"/>
            </ac:spMkLst>
          </pc:spChg>
          <pc:spChg chg="mod">
            <ac:chgData name="Dirk Wübben" userId="a27602df-5b54-480c-866c-64260ceb4949" providerId="ADAL" clId="{6384D003-2B9C-4703-BBC3-6469E285D43F}" dt="2025-03-20T10:11:09.732" v="1579"/>
            <ac:spMkLst>
              <pc:docMk/>
              <pc:sldMasterMk cId="4278311976" sldId="2147483672"/>
              <pc:sldLayoutMk cId="2431558328" sldId="2147483677"/>
              <ac:spMk id="4" creationId="{80D538B7-B859-9726-0139-C1D253C1D2B9}"/>
            </ac:spMkLst>
          </pc:spChg>
          <pc:spChg chg="mod">
            <ac:chgData name="Dirk Wübben" userId="a27602df-5b54-480c-866c-64260ceb4949" providerId="ADAL" clId="{6384D003-2B9C-4703-BBC3-6469E285D43F}" dt="2025-03-20T10:11:09.732" v="1579"/>
            <ac:spMkLst>
              <pc:docMk/>
              <pc:sldMasterMk cId="4278311976" sldId="2147483672"/>
              <pc:sldLayoutMk cId="2431558328" sldId="2147483677"/>
              <ac:spMk id="5" creationId="{A04DF9E3-10D0-3C05-C961-00430466B284}"/>
            </ac:spMkLst>
          </pc:spChg>
          <pc:spChg chg="mod">
            <ac:chgData name="Dirk Wübben" userId="a27602df-5b54-480c-866c-64260ceb4949" providerId="ADAL" clId="{6384D003-2B9C-4703-BBC3-6469E285D43F}" dt="2025-03-20T10:11:09.732" v="1579"/>
            <ac:spMkLst>
              <pc:docMk/>
              <pc:sldMasterMk cId="4278311976" sldId="2147483672"/>
              <pc:sldLayoutMk cId="2431558328" sldId="2147483677"/>
              <ac:spMk id="6" creationId="{E5AA1AC9-ADA9-4934-EB92-F9C6523E50C0}"/>
            </ac:spMkLst>
          </pc:spChg>
        </pc:sldLayoutChg>
        <pc:sldLayoutChg chg="modTransition">
          <pc:chgData name="Dirk Wübben" userId="a27602df-5b54-480c-866c-64260ceb4949" providerId="ADAL" clId="{6384D003-2B9C-4703-BBC3-6469E285D43F}" dt="2025-03-20T11:52:11.619" v="1972"/>
          <pc:sldLayoutMkLst>
            <pc:docMk/>
            <pc:sldMasterMk cId="4278311976" sldId="2147483672"/>
            <pc:sldLayoutMk cId="2846959081" sldId="2147483678"/>
          </pc:sldLayoutMkLst>
        </pc:sldLayoutChg>
        <pc:sldLayoutChg chg="modTransition">
          <pc:chgData name="Dirk Wübben" userId="a27602df-5b54-480c-866c-64260ceb4949" providerId="ADAL" clId="{6384D003-2B9C-4703-BBC3-6469E285D43F}" dt="2025-03-20T11:52:11.619" v="1972"/>
          <pc:sldLayoutMkLst>
            <pc:docMk/>
            <pc:sldMasterMk cId="4278311976" sldId="2147483672"/>
            <pc:sldLayoutMk cId="2826324917" sldId="2147483679"/>
          </pc:sldLayoutMkLst>
        </pc:sldLayoutChg>
        <pc:sldLayoutChg chg="modSp modTransition">
          <pc:chgData name="Dirk Wübben" userId="a27602df-5b54-480c-866c-64260ceb4949" providerId="ADAL" clId="{6384D003-2B9C-4703-BBC3-6469E285D43F}" dt="2025-03-20T11:52:11.619" v="1972"/>
          <pc:sldLayoutMkLst>
            <pc:docMk/>
            <pc:sldMasterMk cId="4278311976" sldId="2147483672"/>
            <pc:sldLayoutMk cId="25756701" sldId="2147483680"/>
          </pc:sldLayoutMkLst>
          <pc:spChg chg="mod">
            <ac:chgData name="Dirk Wübben" userId="a27602df-5b54-480c-866c-64260ceb4949" providerId="ADAL" clId="{6384D003-2B9C-4703-BBC3-6469E285D43F}" dt="2025-03-20T10:11:09.732" v="1579"/>
            <ac:spMkLst>
              <pc:docMk/>
              <pc:sldMasterMk cId="4278311976" sldId="2147483672"/>
              <pc:sldLayoutMk cId="25756701" sldId="2147483680"/>
              <ac:spMk id="2" creationId="{3B9EADF7-9D83-4EE3-6084-DB7ECEC10791}"/>
            </ac:spMkLst>
          </pc:spChg>
          <pc:spChg chg="mod">
            <ac:chgData name="Dirk Wübben" userId="a27602df-5b54-480c-866c-64260ceb4949" providerId="ADAL" clId="{6384D003-2B9C-4703-BBC3-6469E285D43F}" dt="2025-03-20T10:11:09.732" v="1579"/>
            <ac:spMkLst>
              <pc:docMk/>
              <pc:sldMasterMk cId="4278311976" sldId="2147483672"/>
              <pc:sldLayoutMk cId="25756701" sldId="2147483680"/>
              <ac:spMk id="3" creationId="{EE7D8F51-367C-DD80-9C4C-93B5FC2F316A}"/>
            </ac:spMkLst>
          </pc:spChg>
          <pc:spChg chg="mod">
            <ac:chgData name="Dirk Wübben" userId="a27602df-5b54-480c-866c-64260ceb4949" providerId="ADAL" clId="{6384D003-2B9C-4703-BBC3-6469E285D43F}" dt="2025-03-20T10:11:09.732" v="1579"/>
            <ac:spMkLst>
              <pc:docMk/>
              <pc:sldMasterMk cId="4278311976" sldId="2147483672"/>
              <pc:sldLayoutMk cId="25756701" sldId="2147483680"/>
              <ac:spMk id="4" creationId="{F737B79B-9760-CCDB-D55B-97FA5087E2F9}"/>
            </ac:spMkLst>
          </pc:spChg>
        </pc:sldLayoutChg>
        <pc:sldLayoutChg chg="modSp modTransition">
          <pc:chgData name="Dirk Wübben" userId="a27602df-5b54-480c-866c-64260ceb4949" providerId="ADAL" clId="{6384D003-2B9C-4703-BBC3-6469E285D43F}" dt="2025-03-20T11:52:11.619" v="1972"/>
          <pc:sldLayoutMkLst>
            <pc:docMk/>
            <pc:sldMasterMk cId="4278311976" sldId="2147483672"/>
            <pc:sldLayoutMk cId="1966701476" sldId="2147483681"/>
          </pc:sldLayoutMkLst>
          <pc:spChg chg="mod">
            <ac:chgData name="Dirk Wübben" userId="a27602df-5b54-480c-866c-64260ceb4949" providerId="ADAL" clId="{6384D003-2B9C-4703-BBC3-6469E285D43F}" dt="2025-03-20T10:11:09.732" v="1579"/>
            <ac:spMkLst>
              <pc:docMk/>
              <pc:sldMasterMk cId="4278311976" sldId="2147483672"/>
              <pc:sldLayoutMk cId="1966701476" sldId="2147483681"/>
              <ac:spMk id="2" creationId="{3940C173-C4C2-8E7E-534A-DFABF94C571E}"/>
            </ac:spMkLst>
          </pc:spChg>
          <pc:spChg chg="mod">
            <ac:chgData name="Dirk Wübben" userId="a27602df-5b54-480c-866c-64260ceb4949" providerId="ADAL" clId="{6384D003-2B9C-4703-BBC3-6469E285D43F}" dt="2025-03-20T10:11:09.732" v="1579"/>
            <ac:spMkLst>
              <pc:docMk/>
              <pc:sldMasterMk cId="4278311976" sldId="2147483672"/>
              <pc:sldLayoutMk cId="1966701476" sldId="2147483681"/>
              <ac:spMk id="3" creationId="{34CB7549-B391-6416-8E4B-7478BD67C1B6}"/>
            </ac:spMkLst>
          </pc:spChg>
          <pc:spChg chg="mod">
            <ac:chgData name="Dirk Wübben" userId="a27602df-5b54-480c-866c-64260ceb4949" providerId="ADAL" clId="{6384D003-2B9C-4703-BBC3-6469E285D43F}" dt="2025-03-20T10:11:09.732" v="1579"/>
            <ac:spMkLst>
              <pc:docMk/>
              <pc:sldMasterMk cId="4278311976" sldId="2147483672"/>
              <pc:sldLayoutMk cId="1966701476" sldId="2147483681"/>
              <ac:spMk id="4" creationId="{5785C146-8487-35A4-11FD-7F8E076CA095}"/>
            </ac:spMkLst>
          </pc:spChg>
        </pc:sldLayoutChg>
        <pc:sldLayoutChg chg="modTransition">
          <pc:chgData name="Dirk Wübben" userId="a27602df-5b54-480c-866c-64260ceb4949" providerId="ADAL" clId="{6384D003-2B9C-4703-BBC3-6469E285D43F}" dt="2025-03-20T11:52:11.619" v="1972"/>
          <pc:sldLayoutMkLst>
            <pc:docMk/>
            <pc:sldMasterMk cId="4278311976" sldId="2147483672"/>
            <pc:sldLayoutMk cId="2956636480" sldId="2147483682"/>
          </pc:sldLayoutMkLst>
        </pc:sldLayoutChg>
        <pc:sldLayoutChg chg="modSp modTransition">
          <pc:chgData name="Dirk Wübben" userId="a27602df-5b54-480c-866c-64260ceb4949" providerId="ADAL" clId="{6384D003-2B9C-4703-BBC3-6469E285D43F}" dt="2025-03-20T11:52:11.619" v="1972"/>
          <pc:sldLayoutMkLst>
            <pc:docMk/>
            <pc:sldMasterMk cId="4278311976" sldId="2147483672"/>
            <pc:sldLayoutMk cId="3571990484" sldId="2147483683"/>
          </pc:sldLayoutMkLst>
          <pc:spChg chg="mod">
            <ac:chgData name="Dirk Wübben" userId="a27602df-5b54-480c-866c-64260ceb4949" providerId="ADAL" clId="{6384D003-2B9C-4703-BBC3-6469E285D43F}" dt="2025-03-20T10:11:09.732" v="1579"/>
            <ac:spMkLst>
              <pc:docMk/>
              <pc:sldMasterMk cId="4278311976" sldId="2147483672"/>
              <pc:sldLayoutMk cId="3571990484" sldId="2147483683"/>
              <ac:spMk id="2" creationId="{1ECB46F0-CCD7-CCBD-A1A9-AC8B8B6076CC}"/>
            </ac:spMkLst>
          </pc:spChg>
          <pc:spChg chg="mod">
            <ac:chgData name="Dirk Wübben" userId="a27602df-5b54-480c-866c-64260ceb4949" providerId="ADAL" clId="{6384D003-2B9C-4703-BBC3-6469E285D43F}" dt="2025-03-20T10:11:09.732" v="1579"/>
            <ac:spMkLst>
              <pc:docMk/>
              <pc:sldMasterMk cId="4278311976" sldId="2147483672"/>
              <pc:sldLayoutMk cId="3571990484" sldId="2147483683"/>
              <ac:spMk id="3" creationId="{88073DCB-BF98-2E75-FB7D-64CD69889150}"/>
            </ac:spMkLst>
          </pc:spChg>
        </pc:sldLayoutChg>
        <pc:sldLayoutChg chg="modTransition">
          <pc:chgData name="Dirk Wübben" userId="a27602df-5b54-480c-866c-64260ceb4949" providerId="ADAL" clId="{6384D003-2B9C-4703-BBC3-6469E285D43F}" dt="2025-03-20T11:52:11.619" v="1972"/>
          <pc:sldLayoutMkLst>
            <pc:docMk/>
            <pc:sldMasterMk cId="4278311976" sldId="2147483672"/>
            <pc:sldLayoutMk cId="2991835155" sldId="2147483685"/>
          </pc:sldLayoutMkLst>
        </pc:sldLayoutChg>
      </pc:sldMasterChg>
      <pc:sldMasterChg chg="addSp delSp modSp mod modTransition delSldLayout modSldLayout">
        <pc:chgData name="Dirk Wübben" userId="a27602df-5b54-480c-866c-64260ceb4949" providerId="ADAL" clId="{6384D003-2B9C-4703-BBC3-6469E285D43F}" dt="2025-03-28T08:54:52.455" v="4306" actId="47"/>
        <pc:sldMasterMkLst>
          <pc:docMk/>
          <pc:sldMasterMk cId="611449510" sldId="2147483686"/>
        </pc:sldMasterMkLst>
        <pc:spChg chg="mod">
          <ac:chgData name="Dirk Wübben" userId="a27602df-5b54-480c-866c-64260ceb4949" providerId="ADAL" clId="{6384D003-2B9C-4703-BBC3-6469E285D43F}" dt="2025-03-20T10:11:09.732" v="1579"/>
          <ac:spMkLst>
            <pc:docMk/>
            <pc:sldMasterMk cId="611449510" sldId="2147483686"/>
            <ac:spMk id="3" creationId="{896031DA-94AF-D743-1C3A-6DE2612A6BEA}"/>
          </ac:spMkLst>
        </pc:spChg>
        <pc:spChg chg="mod">
          <ac:chgData name="Dirk Wübben" userId="a27602df-5b54-480c-866c-64260ceb4949" providerId="ADAL" clId="{6384D003-2B9C-4703-BBC3-6469E285D43F}" dt="2025-03-20T10:12:34.907" v="1582" actId="14100"/>
          <ac:spMkLst>
            <pc:docMk/>
            <pc:sldMasterMk cId="611449510" sldId="2147483686"/>
            <ac:spMk id="4" creationId="{6B44DB55-9447-9575-2C57-FB90FFFB8ABE}"/>
          </ac:spMkLst>
        </pc:spChg>
        <pc:spChg chg="mod">
          <ac:chgData name="Dirk Wübben" userId="a27602df-5b54-480c-866c-64260ceb4949" providerId="ADAL" clId="{6384D003-2B9C-4703-BBC3-6469E285D43F}" dt="2025-03-20T10:11:09.732" v="1579"/>
          <ac:spMkLst>
            <pc:docMk/>
            <pc:sldMasterMk cId="611449510" sldId="2147483686"/>
            <ac:spMk id="5" creationId="{0E6CE3BD-79ED-36AA-174A-2C93ABB3850B}"/>
          </ac:spMkLst>
        </pc:spChg>
        <pc:spChg chg="mod">
          <ac:chgData name="Dirk Wübben" userId="a27602df-5b54-480c-866c-64260ceb4949" providerId="ADAL" clId="{6384D003-2B9C-4703-BBC3-6469E285D43F}" dt="2025-03-20T10:14:33.856" v="1618" actId="14100"/>
          <ac:spMkLst>
            <pc:docMk/>
            <pc:sldMasterMk cId="611449510" sldId="2147483686"/>
            <ac:spMk id="6" creationId="{04E3ED7E-A936-02FE-743E-03779062B384}"/>
          </ac:spMkLst>
        </pc:spChg>
        <pc:spChg chg="mod">
          <ac:chgData name="Dirk Wübben" userId="a27602df-5b54-480c-866c-64260ceb4949" providerId="ADAL" clId="{6384D003-2B9C-4703-BBC3-6469E285D43F}" dt="2025-03-20T10:11:09.732" v="1579"/>
          <ac:spMkLst>
            <pc:docMk/>
            <pc:sldMasterMk cId="611449510" sldId="2147483686"/>
            <ac:spMk id="7" creationId="{5B773C2B-5C83-6CFC-8032-CA79311604E3}"/>
          </ac:spMkLst>
        </pc:spChg>
        <pc:spChg chg="mod">
          <ac:chgData name="Dirk Wübben" userId="a27602df-5b54-480c-866c-64260ceb4949" providerId="ADAL" clId="{6384D003-2B9C-4703-BBC3-6469E285D43F}" dt="2025-03-20T10:14:27.620" v="1617" actId="14100"/>
          <ac:spMkLst>
            <pc:docMk/>
            <pc:sldMasterMk cId="611449510" sldId="2147483686"/>
            <ac:spMk id="8" creationId="{5F3CF4F2-0569-8546-DD4F-0A98F5253C57}"/>
          </ac:spMkLst>
        </pc:spChg>
        <pc:spChg chg="add mod ord">
          <ac:chgData name="Dirk Wübben" userId="a27602df-5b54-480c-866c-64260ceb4949" providerId="ADAL" clId="{6384D003-2B9C-4703-BBC3-6469E285D43F}" dt="2025-03-20T10:11:09.732" v="1579"/>
          <ac:spMkLst>
            <pc:docMk/>
            <pc:sldMasterMk cId="611449510" sldId="2147483686"/>
            <ac:spMk id="9" creationId="{4F945EE6-1E04-4D25-92D9-BFE2FE6A6152}"/>
          </ac:spMkLst>
        </pc:spChg>
        <pc:picChg chg="mod ord">
          <ac:chgData name="Dirk Wübben" userId="a27602df-5b54-480c-866c-64260ceb4949" providerId="ADAL" clId="{6384D003-2B9C-4703-BBC3-6469E285D43F}" dt="2025-03-20T10:11:09.732" v="1579"/>
          <ac:picMkLst>
            <pc:docMk/>
            <pc:sldMasterMk cId="611449510" sldId="2147483686"/>
            <ac:picMk id="2" creationId="{65F691A0-76ED-1AEE-7422-D10F859DAB94}"/>
          </ac:picMkLst>
        </pc:picChg>
        <pc:picChg chg="add mod">
          <ac:chgData name="Dirk Wübben" userId="a27602df-5b54-480c-866c-64260ceb4949" providerId="ADAL" clId="{6384D003-2B9C-4703-BBC3-6469E285D43F}" dt="2025-03-20T10:17:43.387" v="1693" actId="1036"/>
          <ac:picMkLst>
            <pc:docMk/>
            <pc:sldMasterMk cId="611449510" sldId="2147483686"/>
            <ac:picMk id="11" creationId="{690BC076-5DEE-449C-B4C0-A36B74E302B0}"/>
          </ac:picMkLst>
        </pc:picChg>
        <pc:picChg chg="add mod">
          <ac:chgData name="Dirk Wübben" userId="a27602df-5b54-480c-866c-64260ceb4949" providerId="ADAL" clId="{6384D003-2B9C-4703-BBC3-6469E285D43F}" dt="2025-03-20T10:17:43.387" v="1693" actId="1036"/>
          <ac:picMkLst>
            <pc:docMk/>
            <pc:sldMasterMk cId="611449510" sldId="2147483686"/>
            <ac:picMk id="12" creationId="{DA79808F-3035-41D2-BC37-6196B879359C}"/>
          </ac:picMkLst>
        </pc:picChg>
        <pc:sldLayoutChg chg="modSp mod modTransition">
          <pc:chgData name="Dirk Wübben" userId="a27602df-5b54-480c-866c-64260ceb4949" providerId="ADAL" clId="{6384D003-2B9C-4703-BBC3-6469E285D43F}" dt="2025-03-20T11:52:11.619" v="1972"/>
          <pc:sldLayoutMkLst>
            <pc:docMk/>
            <pc:sldMasterMk cId="611449510" sldId="2147483686"/>
            <pc:sldLayoutMk cId="1838616387" sldId="2147483687"/>
          </pc:sldLayoutMkLst>
          <pc:spChg chg="mod">
            <ac:chgData name="Dirk Wübben" userId="a27602df-5b54-480c-866c-64260ceb4949" providerId="ADAL" clId="{6384D003-2B9C-4703-BBC3-6469E285D43F}" dt="2025-03-20T10:11:09.732" v="1579"/>
            <ac:spMkLst>
              <pc:docMk/>
              <pc:sldMasterMk cId="611449510" sldId="2147483686"/>
              <pc:sldLayoutMk cId="1838616387" sldId="2147483687"/>
              <ac:spMk id="2" creationId="{E60259AC-E69B-AA54-DFAE-D8D1D7D16AB7}"/>
            </ac:spMkLst>
          </pc:spChg>
          <pc:spChg chg="mod">
            <ac:chgData name="Dirk Wübben" userId="a27602df-5b54-480c-866c-64260ceb4949" providerId="ADAL" clId="{6384D003-2B9C-4703-BBC3-6469E285D43F}" dt="2025-03-20T10:11:09.732" v="1579"/>
            <ac:spMkLst>
              <pc:docMk/>
              <pc:sldMasterMk cId="611449510" sldId="2147483686"/>
              <pc:sldLayoutMk cId="1838616387" sldId="2147483687"/>
              <ac:spMk id="3" creationId="{0DB49AA4-4208-ECFB-D0F7-F922F6DF6DA0}"/>
            </ac:spMkLst>
          </pc:spChg>
        </pc:sldLayoutChg>
        <pc:sldLayoutChg chg="modTransition">
          <pc:chgData name="Dirk Wübben" userId="a27602df-5b54-480c-866c-64260ceb4949" providerId="ADAL" clId="{6384D003-2B9C-4703-BBC3-6469E285D43F}" dt="2025-03-20T11:52:11.619" v="1972"/>
          <pc:sldLayoutMkLst>
            <pc:docMk/>
            <pc:sldMasterMk cId="611449510" sldId="2147483686"/>
            <pc:sldLayoutMk cId="1087075296" sldId="2147483688"/>
          </pc:sldLayoutMkLst>
        </pc:sldLayoutChg>
        <pc:sldLayoutChg chg="modSp mod modTransition">
          <pc:chgData name="Dirk Wübben" userId="a27602df-5b54-480c-866c-64260ceb4949" providerId="ADAL" clId="{6384D003-2B9C-4703-BBC3-6469E285D43F}" dt="2025-03-20T11:52:11.619" v="1972"/>
          <pc:sldLayoutMkLst>
            <pc:docMk/>
            <pc:sldMasterMk cId="611449510" sldId="2147483686"/>
            <pc:sldLayoutMk cId="3471019766" sldId="2147483689"/>
          </pc:sldLayoutMkLst>
          <pc:spChg chg="mod">
            <ac:chgData name="Dirk Wübben" userId="a27602df-5b54-480c-866c-64260ceb4949" providerId="ADAL" clId="{6384D003-2B9C-4703-BBC3-6469E285D43F}" dt="2025-03-20T10:11:09.732" v="1579"/>
            <ac:spMkLst>
              <pc:docMk/>
              <pc:sldMasterMk cId="611449510" sldId="2147483686"/>
              <pc:sldLayoutMk cId="3471019766" sldId="2147483689"/>
              <ac:spMk id="2" creationId="{BE8AFD47-3DC5-1702-FEB1-F7B98E56E861}"/>
            </ac:spMkLst>
          </pc:spChg>
          <pc:spChg chg="mod">
            <ac:chgData name="Dirk Wübben" userId="a27602df-5b54-480c-866c-64260ceb4949" providerId="ADAL" clId="{6384D003-2B9C-4703-BBC3-6469E285D43F}" dt="2025-03-20T10:11:09.732" v="1579"/>
            <ac:spMkLst>
              <pc:docMk/>
              <pc:sldMasterMk cId="611449510" sldId="2147483686"/>
              <pc:sldLayoutMk cId="3471019766" sldId="2147483689"/>
              <ac:spMk id="3" creationId="{82B03650-40F1-FDE2-5B12-49B4ECEDEC4F}"/>
            </ac:spMkLst>
          </pc:spChg>
        </pc:sldLayoutChg>
        <pc:sldLayoutChg chg="modSp mod modTransition">
          <pc:chgData name="Dirk Wübben" userId="a27602df-5b54-480c-866c-64260ceb4949" providerId="ADAL" clId="{6384D003-2B9C-4703-BBC3-6469E285D43F}" dt="2025-03-20T11:52:11.619" v="1972"/>
          <pc:sldLayoutMkLst>
            <pc:docMk/>
            <pc:sldMasterMk cId="611449510" sldId="2147483686"/>
            <pc:sldLayoutMk cId="2211433655" sldId="2147483690"/>
          </pc:sldLayoutMkLst>
          <pc:spChg chg="mod">
            <ac:chgData name="Dirk Wübben" userId="a27602df-5b54-480c-866c-64260ceb4949" providerId="ADAL" clId="{6384D003-2B9C-4703-BBC3-6469E285D43F}" dt="2025-03-20T10:11:09.732" v="1579"/>
            <ac:spMkLst>
              <pc:docMk/>
              <pc:sldMasterMk cId="611449510" sldId="2147483686"/>
              <pc:sldLayoutMk cId="2211433655" sldId="2147483690"/>
              <ac:spMk id="3" creationId="{CE0C590C-4438-B491-08B4-EAE9F34A0BB3}"/>
            </ac:spMkLst>
          </pc:spChg>
          <pc:spChg chg="mod">
            <ac:chgData name="Dirk Wübben" userId="a27602df-5b54-480c-866c-64260ceb4949" providerId="ADAL" clId="{6384D003-2B9C-4703-BBC3-6469E285D43F}" dt="2025-03-20T10:11:09.732" v="1579"/>
            <ac:spMkLst>
              <pc:docMk/>
              <pc:sldMasterMk cId="611449510" sldId="2147483686"/>
              <pc:sldLayoutMk cId="2211433655" sldId="2147483690"/>
              <ac:spMk id="4" creationId="{D35569FF-B7BD-02BC-4D1B-05FA1FC189CC}"/>
            </ac:spMkLst>
          </pc:spChg>
        </pc:sldLayoutChg>
        <pc:sldLayoutChg chg="modSp mod modTransition">
          <pc:chgData name="Dirk Wübben" userId="a27602df-5b54-480c-866c-64260ceb4949" providerId="ADAL" clId="{6384D003-2B9C-4703-BBC3-6469E285D43F}" dt="2025-03-20T11:52:11.619" v="1972"/>
          <pc:sldLayoutMkLst>
            <pc:docMk/>
            <pc:sldMasterMk cId="611449510" sldId="2147483686"/>
            <pc:sldLayoutMk cId="4128125505" sldId="2147483691"/>
          </pc:sldLayoutMkLst>
          <pc:spChg chg="mod">
            <ac:chgData name="Dirk Wübben" userId="a27602df-5b54-480c-866c-64260ceb4949" providerId="ADAL" clId="{6384D003-2B9C-4703-BBC3-6469E285D43F}" dt="2025-03-20T10:13:20.072" v="1606" actId="14100"/>
            <ac:spMkLst>
              <pc:docMk/>
              <pc:sldMasterMk cId="611449510" sldId="2147483686"/>
              <pc:sldLayoutMk cId="4128125505" sldId="2147483691"/>
              <ac:spMk id="2" creationId="{ED8DF235-6A07-CD10-8992-28424C6ABBB5}"/>
            </ac:spMkLst>
          </pc:spChg>
          <pc:spChg chg="mod">
            <ac:chgData name="Dirk Wübben" userId="a27602df-5b54-480c-866c-64260ceb4949" providerId="ADAL" clId="{6384D003-2B9C-4703-BBC3-6469E285D43F}" dt="2025-03-20T10:13:38.396" v="1611" actId="14100"/>
            <ac:spMkLst>
              <pc:docMk/>
              <pc:sldMasterMk cId="611449510" sldId="2147483686"/>
              <pc:sldLayoutMk cId="4128125505" sldId="2147483691"/>
              <ac:spMk id="3" creationId="{1699FF6D-1A83-F25A-29DE-7326AB8B12EC}"/>
            </ac:spMkLst>
          </pc:spChg>
          <pc:spChg chg="mod">
            <ac:chgData name="Dirk Wübben" userId="a27602df-5b54-480c-866c-64260ceb4949" providerId="ADAL" clId="{6384D003-2B9C-4703-BBC3-6469E285D43F}" dt="2025-03-20T10:13:41.971" v="1612" actId="14100"/>
            <ac:spMkLst>
              <pc:docMk/>
              <pc:sldMasterMk cId="611449510" sldId="2147483686"/>
              <pc:sldLayoutMk cId="4128125505" sldId="2147483691"/>
              <ac:spMk id="4" creationId="{F5AE3AA4-BE4A-585D-3805-E32B6F62ED94}"/>
            </ac:spMkLst>
          </pc:spChg>
          <pc:spChg chg="mod">
            <ac:chgData name="Dirk Wübben" userId="a27602df-5b54-480c-866c-64260ceb4949" providerId="ADAL" clId="{6384D003-2B9C-4703-BBC3-6469E285D43F}" dt="2025-03-20T10:13:24.470" v="1608" actId="1035"/>
            <ac:spMkLst>
              <pc:docMk/>
              <pc:sldMasterMk cId="611449510" sldId="2147483686"/>
              <pc:sldLayoutMk cId="4128125505" sldId="2147483691"/>
              <ac:spMk id="5" creationId="{C5D086C8-F70D-A077-BA97-503D7B5339D1}"/>
            </ac:spMkLst>
          </pc:spChg>
          <pc:spChg chg="mod">
            <ac:chgData name="Dirk Wübben" userId="a27602df-5b54-480c-866c-64260ceb4949" providerId="ADAL" clId="{6384D003-2B9C-4703-BBC3-6469E285D43F}" dt="2025-03-20T10:13:30.977" v="1609" actId="14100"/>
            <ac:spMkLst>
              <pc:docMk/>
              <pc:sldMasterMk cId="611449510" sldId="2147483686"/>
              <pc:sldLayoutMk cId="4128125505" sldId="2147483691"/>
              <ac:spMk id="6" creationId="{909928DC-2B92-4864-F45C-65B65885D1B4}"/>
            </ac:spMkLst>
          </pc:spChg>
        </pc:sldLayoutChg>
        <pc:sldLayoutChg chg="del">
          <pc:chgData name="Dirk Wübben" userId="a27602df-5b54-480c-866c-64260ceb4949" providerId="ADAL" clId="{6384D003-2B9C-4703-BBC3-6469E285D43F}" dt="2025-03-20T09:34:07.609" v="1412" actId="2696"/>
          <pc:sldLayoutMkLst>
            <pc:docMk/>
            <pc:sldMasterMk cId="611449510" sldId="2147483686"/>
            <pc:sldLayoutMk cId="4079761267" sldId="2147483692"/>
          </pc:sldLayoutMkLst>
        </pc:sldLayoutChg>
        <pc:sldLayoutChg chg="modTransition">
          <pc:chgData name="Dirk Wübben" userId="a27602df-5b54-480c-866c-64260ceb4949" providerId="ADAL" clId="{6384D003-2B9C-4703-BBC3-6469E285D43F}" dt="2025-03-20T11:52:11.619" v="1972"/>
          <pc:sldLayoutMkLst>
            <pc:docMk/>
            <pc:sldMasterMk cId="611449510" sldId="2147483686"/>
            <pc:sldLayoutMk cId="2022525550" sldId="2147483693"/>
          </pc:sldLayoutMkLst>
        </pc:sldLayoutChg>
        <pc:sldLayoutChg chg="addSp delSp modSp mod modTransition">
          <pc:chgData name="Dirk Wübben" userId="a27602df-5b54-480c-866c-64260ceb4949" providerId="ADAL" clId="{6384D003-2B9C-4703-BBC3-6469E285D43F}" dt="2025-03-20T11:52:11.619" v="1972"/>
          <pc:sldLayoutMkLst>
            <pc:docMk/>
            <pc:sldMasterMk cId="611449510" sldId="2147483686"/>
            <pc:sldLayoutMk cId="3178942322" sldId="2147483694"/>
          </pc:sldLayoutMkLst>
          <pc:spChg chg="mod">
            <ac:chgData name="Dirk Wübben" userId="a27602df-5b54-480c-866c-64260ceb4949" providerId="ADAL" clId="{6384D003-2B9C-4703-BBC3-6469E285D43F}" dt="2025-03-20T10:15:19.860" v="1622" actId="404"/>
            <ac:spMkLst>
              <pc:docMk/>
              <pc:sldMasterMk cId="611449510" sldId="2147483686"/>
              <pc:sldLayoutMk cId="3178942322" sldId="2147483694"/>
              <ac:spMk id="3" creationId="{94537631-9594-BC3E-4586-4D50BEF0CFA7}"/>
            </ac:spMkLst>
          </pc:spChg>
          <pc:spChg chg="mod">
            <ac:chgData name="Dirk Wübben" userId="a27602df-5b54-480c-866c-64260ceb4949" providerId="ADAL" clId="{6384D003-2B9C-4703-BBC3-6469E285D43F}" dt="2025-03-20T10:11:09.732" v="1579"/>
            <ac:spMkLst>
              <pc:docMk/>
              <pc:sldMasterMk cId="611449510" sldId="2147483686"/>
              <pc:sldLayoutMk cId="3178942322" sldId="2147483694"/>
              <ac:spMk id="4" creationId="{1C4B0D6B-5BC9-8C02-5474-FFED5F0C7702}"/>
            </ac:spMkLst>
          </pc:spChg>
          <pc:spChg chg="add mod">
            <ac:chgData name="Dirk Wübben" userId="a27602df-5b54-480c-866c-64260ceb4949" providerId="ADAL" clId="{6384D003-2B9C-4703-BBC3-6469E285D43F}" dt="2025-03-20T10:15:01.570" v="1620" actId="14100"/>
            <ac:spMkLst>
              <pc:docMk/>
              <pc:sldMasterMk cId="611449510" sldId="2147483686"/>
              <pc:sldLayoutMk cId="3178942322" sldId="2147483694"/>
              <ac:spMk id="8" creationId="{89C794A3-01C1-4FA9-A63C-AE0BCEAF4791}"/>
            </ac:spMkLst>
          </pc:spChg>
        </pc:sldLayoutChg>
        <pc:sldLayoutChg chg="addSp delSp modSp mod modTransition">
          <pc:chgData name="Dirk Wübben" userId="a27602df-5b54-480c-866c-64260ceb4949" providerId="ADAL" clId="{6384D003-2B9C-4703-BBC3-6469E285D43F}" dt="2025-03-20T11:52:11.619" v="1972"/>
          <pc:sldLayoutMkLst>
            <pc:docMk/>
            <pc:sldMasterMk cId="611449510" sldId="2147483686"/>
            <pc:sldLayoutMk cId="527614166" sldId="2147483695"/>
          </pc:sldLayoutMkLst>
          <pc:spChg chg="add del mod">
            <ac:chgData name="Dirk Wübben" userId="a27602df-5b54-480c-866c-64260ceb4949" providerId="ADAL" clId="{6384D003-2B9C-4703-BBC3-6469E285D43F}" dt="2025-03-20T10:15:26.026" v="1623" actId="14100"/>
            <ac:spMkLst>
              <pc:docMk/>
              <pc:sldMasterMk cId="611449510" sldId="2147483686"/>
              <pc:sldLayoutMk cId="527614166" sldId="2147483695"/>
              <ac:spMk id="2" creationId="{2A4C7911-9488-784A-9372-94033F599EC4}"/>
            </ac:spMkLst>
          </pc:spChg>
          <pc:spChg chg="mod">
            <ac:chgData name="Dirk Wübben" userId="a27602df-5b54-480c-866c-64260ceb4949" providerId="ADAL" clId="{6384D003-2B9C-4703-BBC3-6469E285D43F}" dt="2025-03-20T10:11:09.732" v="1579"/>
            <ac:spMkLst>
              <pc:docMk/>
              <pc:sldMasterMk cId="611449510" sldId="2147483686"/>
              <pc:sldLayoutMk cId="527614166" sldId="2147483695"/>
              <ac:spMk id="3" creationId="{811440CE-A593-A41B-8DA9-5AAA00FFAC91}"/>
            </ac:spMkLst>
          </pc:spChg>
          <pc:spChg chg="mod">
            <ac:chgData name="Dirk Wübben" userId="a27602df-5b54-480c-866c-64260ceb4949" providerId="ADAL" clId="{6384D003-2B9C-4703-BBC3-6469E285D43F}" dt="2025-03-20T10:15:28.691" v="1624" actId="14100"/>
            <ac:spMkLst>
              <pc:docMk/>
              <pc:sldMasterMk cId="611449510" sldId="2147483686"/>
              <pc:sldLayoutMk cId="527614166" sldId="2147483695"/>
              <ac:spMk id="4" creationId="{EE7D49E0-69C0-EAB9-5051-6C06F2EF315D}"/>
            </ac:spMkLst>
          </pc:spChg>
        </pc:sldLayoutChg>
        <pc:sldLayoutChg chg="modTransition">
          <pc:chgData name="Dirk Wübben" userId="a27602df-5b54-480c-866c-64260ceb4949" providerId="ADAL" clId="{6384D003-2B9C-4703-BBC3-6469E285D43F}" dt="2025-03-20T11:52:11.619" v="1972"/>
          <pc:sldLayoutMkLst>
            <pc:docMk/>
            <pc:sldMasterMk cId="611449510" sldId="2147483686"/>
            <pc:sldLayoutMk cId="1248274239" sldId="2147483696"/>
          </pc:sldLayoutMkLst>
        </pc:sldLayoutChg>
        <pc:sldLayoutChg chg="modSp modTransition">
          <pc:chgData name="Dirk Wübben" userId="a27602df-5b54-480c-866c-64260ceb4949" providerId="ADAL" clId="{6384D003-2B9C-4703-BBC3-6469E285D43F}" dt="2025-03-20T11:52:11.619" v="1972"/>
          <pc:sldLayoutMkLst>
            <pc:docMk/>
            <pc:sldMasterMk cId="611449510" sldId="2147483686"/>
            <pc:sldLayoutMk cId="2937323265" sldId="2147483697"/>
          </pc:sldLayoutMkLst>
          <pc:spChg chg="mod">
            <ac:chgData name="Dirk Wübben" userId="a27602df-5b54-480c-866c-64260ceb4949" providerId="ADAL" clId="{6384D003-2B9C-4703-BBC3-6469E285D43F}" dt="2025-03-20T10:11:09.732" v="1579"/>
            <ac:spMkLst>
              <pc:docMk/>
              <pc:sldMasterMk cId="611449510" sldId="2147483686"/>
              <pc:sldLayoutMk cId="2937323265" sldId="2147483697"/>
              <ac:spMk id="2" creationId="{D2A8DF5F-D802-7186-3511-E782A44A3052}"/>
            </ac:spMkLst>
          </pc:spChg>
          <pc:spChg chg="mod">
            <ac:chgData name="Dirk Wübben" userId="a27602df-5b54-480c-866c-64260ceb4949" providerId="ADAL" clId="{6384D003-2B9C-4703-BBC3-6469E285D43F}" dt="2025-03-20T10:11:09.732" v="1579"/>
            <ac:spMkLst>
              <pc:docMk/>
              <pc:sldMasterMk cId="611449510" sldId="2147483686"/>
              <pc:sldLayoutMk cId="2937323265" sldId="2147483697"/>
              <ac:spMk id="3" creationId="{7EAA0EB6-988E-44D6-5247-117AA7FE90CF}"/>
            </ac:spMkLst>
          </pc:spChg>
        </pc:sldLayoutChg>
        <pc:sldLayoutChg chg="del">
          <pc:chgData name="Dirk Wübben" userId="a27602df-5b54-480c-866c-64260ceb4949" providerId="ADAL" clId="{6384D003-2B9C-4703-BBC3-6469E285D43F}" dt="2025-03-05T10:35:17.901" v="2" actId="47"/>
          <pc:sldLayoutMkLst>
            <pc:docMk/>
            <pc:sldMasterMk cId="611449510" sldId="2147483686"/>
            <pc:sldLayoutMk cId="710752037" sldId="2147483698"/>
          </pc:sldLayoutMkLst>
        </pc:sldLayoutChg>
        <pc:sldLayoutChg chg="modSp modTransition">
          <pc:chgData name="Dirk Wübben" userId="a27602df-5b54-480c-866c-64260ceb4949" providerId="ADAL" clId="{6384D003-2B9C-4703-BBC3-6469E285D43F}" dt="2025-03-20T11:52:11.619" v="1972"/>
          <pc:sldLayoutMkLst>
            <pc:docMk/>
            <pc:sldMasterMk cId="611449510" sldId="2147483686"/>
            <pc:sldLayoutMk cId="3833153538" sldId="2147483699"/>
          </pc:sldLayoutMkLst>
          <pc:spChg chg="mod">
            <ac:chgData name="Dirk Wübben" userId="a27602df-5b54-480c-866c-64260ceb4949" providerId="ADAL" clId="{6384D003-2B9C-4703-BBC3-6469E285D43F}" dt="2025-03-20T10:11:09.732" v="1579"/>
            <ac:spMkLst>
              <pc:docMk/>
              <pc:sldMasterMk cId="611449510" sldId="2147483686"/>
              <pc:sldLayoutMk cId="3833153538" sldId="2147483699"/>
              <ac:spMk id="7" creationId="{37B6B4EF-200C-4243-89CB-ACD9A86DA009}"/>
            </ac:spMkLst>
          </pc:spChg>
          <pc:spChg chg="mod">
            <ac:chgData name="Dirk Wübben" userId="a27602df-5b54-480c-866c-64260ceb4949" providerId="ADAL" clId="{6384D003-2B9C-4703-BBC3-6469E285D43F}" dt="2025-03-20T10:11:09.732" v="1579"/>
            <ac:spMkLst>
              <pc:docMk/>
              <pc:sldMasterMk cId="611449510" sldId="2147483686"/>
              <pc:sldLayoutMk cId="3833153538" sldId="2147483699"/>
              <ac:spMk id="8" creationId="{D085D89D-C951-45F4-B6D1-3309FEB780EB}"/>
            </ac:spMkLst>
          </pc:spChg>
          <pc:spChg chg="mod">
            <ac:chgData name="Dirk Wübben" userId="a27602df-5b54-480c-866c-64260ceb4949" providerId="ADAL" clId="{6384D003-2B9C-4703-BBC3-6469E285D43F}" dt="2025-03-20T10:11:09.732" v="1579"/>
            <ac:spMkLst>
              <pc:docMk/>
              <pc:sldMasterMk cId="611449510" sldId="2147483686"/>
              <pc:sldLayoutMk cId="3833153538" sldId="2147483699"/>
              <ac:spMk id="9" creationId="{77326332-DEC5-464F-BFFD-0A268FB8A1B1}"/>
            </ac:spMkLst>
          </pc:spChg>
        </pc:sldLayoutChg>
        <pc:sldLayoutChg chg="modSp modTransition">
          <pc:chgData name="Dirk Wübben" userId="a27602df-5b54-480c-866c-64260ceb4949" providerId="ADAL" clId="{6384D003-2B9C-4703-BBC3-6469E285D43F}" dt="2025-03-20T11:52:11.619" v="1972"/>
          <pc:sldLayoutMkLst>
            <pc:docMk/>
            <pc:sldMasterMk cId="611449510" sldId="2147483686"/>
            <pc:sldLayoutMk cId="596569430" sldId="2147483700"/>
          </pc:sldLayoutMkLst>
          <pc:spChg chg="mod">
            <ac:chgData name="Dirk Wübben" userId="a27602df-5b54-480c-866c-64260ceb4949" providerId="ADAL" clId="{6384D003-2B9C-4703-BBC3-6469E285D43F}" dt="2025-03-20T10:11:09.732" v="1579"/>
            <ac:spMkLst>
              <pc:docMk/>
              <pc:sldMasterMk cId="611449510" sldId="2147483686"/>
              <pc:sldLayoutMk cId="596569430" sldId="2147483700"/>
              <ac:spMk id="3" creationId="{00000000-0000-0000-0000-000000000000}"/>
            </ac:spMkLst>
          </pc:spChg>
          <pc:spChg chg="mod">
            <ac:chgData name="Dirk Wübben" userId="a27602df-5b54-480c-866c-64260ceb4949" providerId="ADAL" clId="{6384D003-2B9C-4703-BBC3-6469E285D43F}" dt="2025-03-20T10:11:09.732" v="1579"/>
            <ac:spMkLst>
              <pc:docMk/>
              <pc:sldMasterMk cId="611449510" sldId="2147483686"/>
              <pc:sldLayoutMk cId="596569430" sldId="2147483700"/>
              <ac:spMk id="4" creationId="{A760D8A3-0215-4116-BB60-0451B5B34D9D}"/>
            </ac:spMkLst>
          </pc:spChg>
          <pc:spChg chg="mod">
            <ac:chgData name="Dirk Wübben" userId="a27602df-5b54-480c-866c-64260ceb4949" providerId="ADAL" clId="{6384D003-2B9C-4703-BBC3-6469E285D43F}" dt="2025-03-20T10:11:09.732" v="1579"/>
            <ac:spMkLst>
              <pc:docMk/>
              <pc:sldMasterMk cId="611449510" sldId="2147483686"/>
              <pc:sldLayoutMk cId="596569430" sldId="2147483700"/>
              <ac:spMk id="7" creationId="{00000000-0000-0000-0000-000000000000}"/>
            </ac:spMkLst>
          </pc:spChg>
        </pc:sldLayoutChg>
        <pc:sldLayoutChg chg="modSp del">
          <pc:chgData name="Dirk Wübben" userId="a27602df-5b54-480c-866c-64260ceb4949" providerId="ADAL" clId="{6384D003-2B9C-4703-BBC3-6469E285D43F}" dt="2025-03-20T10:15:50.166" v="1628" actId="2696"/>
          <pc:sldLayoutMkLst>
            <pc:docMk/>
            <pc:sldMasterMk cId="611449510" sldId="2147483686"/>
            <pc:sldLayoutMk cId="2904193090" sldId="2147483701"/>
          </pc:sldLayoutMkLst>
        </pc:sldLayoutChg>
        <pc:sldLayoutChg chg="delSp modSp del mod">
          <pc:chgData name="Dirk Wübben" userId="a27602df-5b54-480c-866c-64260ceb4949" providerId="ADAL" clId="{6384D003-2B9C-4703-BBC3-6469E285D43F}" dt="2025-03-20T10:15:47.179" v="1627" actId="2696"/>
          <pc:sldLayoutMkLst>
            <pc:docMk/>
            <pc:sldMasterMk cId="611449510" sldId="2147483686"/>
            <pc:sldLayoutMk cId="2340409292" sldId="2147483702"/>
          </pc:sldLayoutMkLst>
        </pc:sldLayoutChg>
        <pc:sldLayoutChg chg="modSp modTransition">
          <pc:chgData name="Dirk Wübben" userId="a27602df-5b54-480c-866c-64260ceb4949" providerId="ADAL" clId="{6384D003-2B9C-4703-BBC3-6469E285D43F}" dt="2025-03-20T11:52:11.619" v="1972"/>
          <pc:sldLayoutMkLst>
            <pc:docMk/>
            <pc:sldMasterMk cId="611449510" sldId="2147483686"/>
            <pc:sldLayoutMk cId="983434521" sldId="2147483703"/>
          </pc:sldLayoutMkLst>
          <pc:spChg chg="mod">
            <ac:chgData name="Dirk Wübben" userId="a27602df-5b54-480c-866c-64260ceb4949" providerId="ADAL" clId="{6384D003-2B9C-4703-BBC3-6469E285D43F}" dt="2025-03-20T10:11:09.732" v="1579"/>
            <ac:spMkLst>
              <pc:docMk/>
              <pc:sldMasterMk cId="611449510" sldId="2147483686"/>
              <pc:sldLayoutMk cId="983434521" sldId="2147483703"/>
              <ac:spMk id="7" creationId="{98E6F585-299F-4983-AF04-0083EBE7B4D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0" creationId="{90DF43BC-C2D0-4B95-9DBF-417F2696910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1" creationId="{8BD6D710-938F-48CA-96D6-5571550757C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2" creationId="{89EB4AB1-0E5A-419C-9208-52074BF5263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3" creationId="{08AAFAB1-E7E3-4C5B-B3D1-A98E4B6683C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4" creationId="{C8DF0663-9F06-44B5-9743-E663A85CC9E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5" creationId="{4555F6BA-AFC5-4707-9EA2-3D118D93DED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6" creationId="{A7B18E8B-A2D0-4E9B-9D97-22EB802E4D9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7" creationId="{EB240987-2C7E-45FC-838A-6E40AD804EB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8" creationId="{04D1D066-9A1F-42D7-9B6B-1E3A116BA73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9" creationId="{B90753D5-BBAC-4604-B2B5-8975E9C2F80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0" creationId="{595C9A65-61E0-49A5-9EF4-021116D657E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1" creationId="{D1012FB1-A813-4EDF-AF84-DD22160581A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2" creationId="{4AD447D2-83BA-43F8-8F8F-F4AC6AAEF47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3" creationId="{2DD54343-1C40-4C76-844D-6A3D9DF116A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4" creationId="{1FB7A9E0-4063-4F65-BC88-A2B2CB51F5D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6" creationId="{3529AB6E-A158-49B4-86A7-1B1F4EBA737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7" creationId="{E96D8561-D518-4EE9-966A-A02B0049FC7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8" creationId="{A80AF20E-EBEC-4C2A-ADD9-2538B4F6479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9" creationId="{BDA7FB02-6D14-427E-B96A-BA16B6E6538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0" creationId="{242F7BBB-4C5F-4F50-AC1B-D285E44A44A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1" creationId="{EEF657A3-BEA7-4EE2-B230-DF2E07F860F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2" creationId="{B9EA419F-D1D0-4FDA-9BD4-A16E51255F5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3" creationId="{8C35997A-FAC1-4A1B-A074-2828EEFD80E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4" creationId="{0A8D38C3-30CD-4117-B3AE-90D51D78498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5" creationId="{44F28F98-12A4-4328-870A-E6551D9ECB8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6" creationId="{C7C63A5F-91A4-4A45-B940-218ACD43E81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7" creationId="{AA21A05C-0FC3-43D3-AF0B-8BBD11464EC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8" creationId="{023ACF69-B182-494E-BD2C-D34B1B70BE1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9" creationId="{08F2F66D-27F1-434D-ADB8-F857BF05DD2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0" creationId="{E2D0E831-C7FA-4FFB-AF4E-120C108BB53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1" creationId="{D3D7382C-C82B-498F-B7BC-DC5FD2446F8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3" creationId="{0A321B9E-DE33-4776-B9E3-3F1BECC9556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4" creationId="{7DC5E9EC-C6C4-492B-81C0-E76919B80E2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5" creationId="{11043427-D6A2-4C96-8AD0-2F238220389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6" creationId="{AE3D7EDB-AFEB-4030-9E4E-449EC12D28B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7" creationId="{CF0FC301-D06A-40C1-9EFE-A659FDFFBF5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8" creationId="{28B975A5-0C08-459B-B1A0-FFD63477C99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9" creationId="{C7CE4AA7-0E0C-4DA6-A7F1-CB52F554049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0" creationId="{94FACF51-3021-4A35-9E4E-2F30D094883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1" creationId="{185456D3-D805-4197-B1BB-0E5F46B4344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2" creationId="{7E44A35B-CFCC-44ED-824C-B60BA39D188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3" creationId="{EF413324-9E83-4276-AC1C-FA75DF1B7CB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4" creationId="{354E87C2-34C4-4115-8463-A3BDA11663E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5" creationId="{7490A4EB-F79E-4F98-9B97-1F63FA6F5BB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6" creationId="{C8A6F641-41F3-476D-91D8-555CF729C6D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7" creationId="{04BF6E86-CB78-4AC9-A83D-E9355831A48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8" creationId="{4C6BFBF1-14B2-48F1-A65C-DFCCB759808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9" creationId="{F75BAB56-D7B2-4314-A619-ED1AD2C9621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61" creationId="{626545C7-836A-4CB4-8FD6-1D73E5FA1B5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62" creationId="{B9EF5D54-F9DC-4F01-853C-D3E5B3001DB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63" creationId="{72948EEF-AF00-4A35-8D28-288974E126F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64" creationId="{FAAA5810-5084-42D3-AF2C-B1E72040F1D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66" creationId="{AE67C3CF-AACA-440D-9B44-E37CD18FCD7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67" creationId="{0B0BD854-AD76-4891-ACD0-F8BBC1854E2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68" creationId="{2750FA31-9554-403E-9957-F519AE762DA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69" creationId="{DE00D84D-80F9-46E7-8F65-A69134966D2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70" creationId="{DEDABFDC-D8B5-4FEA-BA40-E9CD56DDA72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71" creationId="{6574A3F1-FC72-4C6D-BD28-6A4D3831B63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72" creationId="{C70F6D1A-2471-495B-9664-2CE4649D946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73" creationId="{44AA5D02-0EC0-45EC-A6C0-2E04ECA5424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74" creationId="{F09599F0-3F82-4589-B152-5EA1BBED634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75" creationId="{A8FAC24D-9BCF-4D27-8C70-F73C999B87D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76" creationId="{E8115862-3A7C-4CD8-A3E5-10CECE4EEC7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77" creationId="{AF5CFE70-EBBD-447E-8D6F-C60FB48D1CA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78" creationId="{AED92931-F346-4381-9948-708762C73EF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79" creationId="{C68DD09E-8D3F-4F8D-9FD4-9E815676262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80" creationId="{DECC07A9-FA81-4B5A-A02F-05A51BEA9C5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81" creationId="{D6BCDC27-501F-4748-9805-E25B28A071D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82" creationId="{B2AB3B30-7F05-4420-A2A5-66CCDA0FB02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84" creationId="{F67F9D0B-FB1E-4B3A-98EE-5004EB5A5C0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85" creationId="{6A32EDAF-9567-4941-90CE-49AE4A54A5E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86" creationId="{837E76E4-C271-4AE2-9149-0140288F166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87" creationId="{5DA2F7C0-371C-434E-AB19-85E1B6314FC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88" creationId="{453467A1-5145-4F6E-88B8-9E05C5C136E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89" creationId="{DF4D549F-5CC9-4304-BEB5-247FCE1228E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90" creationId="{3E7C419D-B127-4083-BEE0-FA51C6F0686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91" creationId="{A0052163-7294-41DB-89F5-5895FCE6877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92" creationId="{768C2A9A-72B1-4150-B5FA-ADC819812CE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93" creationId="{D54B7DDC-FD98-41F1-939D-7F3C5114414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94" creationId="{BC16838B-3DE9-4F78-82F9-CC37E2F65AB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95" creationId="{E8E4930E-E258-4944-A516-D423547C1C0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96" creationId="{D559F21D-F1B7-4332-8A6F-3C36B6A210E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99" creationId="{9A50639F-8CBC-4BF0-B95F-65774F39A6F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00" creationId="{96075B69-39EF-4064-BBF0-58346DE6141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01" creationId="{CCDDA6EC-97BD-4816-BF7C-0C3D8B32E4A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02" creationId="{A4F84A85-BF8E-4BDE-B885-5BAC6102958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03" creationId="{209D3BE2-EC8F-4B1A-B240-36FC0E73048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05" creationId="{6DCF050C-42F0-483E-A77D-0EC25D51288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06" creationId="{07CB5C74-B85A-4815-811F-1259D1DB295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07" creationId="{9646DA81-916A-4BC7-A173-64079129571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08" creationId="{BD00214B-4624-4A08-82C2-A6318B3E18B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09" creationId="{9719CCFC-D78F-4D71-8DF9-EBE5D00EB90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10" creationId="{DACAB5E3-75FF-4E2B-B1AE-0A529A87C3F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11" creationId="{A006EE8C-289D-4BE4-A19A-8F3E4835E10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12" creationId="{EBA5A947-48B6-4B8A-B8A7-1A684E14090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13" creationId="{FD21310D-B345-4E38-8AE9-79BBD4C4A42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14" creationId="{89D2796C-831E-4EB8-A086-39FF6A4B242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15" creationId="{959FC234-0FA6-48A7-B091-D7372F8FC2C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16" creationId="{C5F6C6E6-3888-4BBD-8609-E4BC028D2C2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17" creationId="{434F48E6-ABCA-4EB6-ABF4-B2F635CCE9A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18" creationId="{C05386CF-CF5B-462F-BB1C-187660B6A09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19" creationId="{01EC7977-5291-4F03-8A13-7D4B47A6807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20" creationId="{78D15760-4D1D-49E9-A8B0-CF2AE42A4B1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21" creationId="{0322851C-9DF3-46D7-85C6-2EC3FF8F857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22" creationId="{BB85C4EC-077E-4223-8739-84298923795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23" creationId="{1FFE4C80-CA64-46D3-B4FB-9EDFB906DF6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24" creationId="{9FFD992A-C0E4-416E-A754-BA1D690BAA9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25" creationId="{4E52188A-5C39-40D0-86C5-F296C8DA15B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26" creationId="{3EFE0171-0ABB-49B1-AFB8-301905459AE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27" creationId="{941F2FC0-20C9-4603-AB79-6E73A2CBFD7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28" creationId="{1090899A-1969-424A-945E-524374D03D7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29" creationId="{FE92D89F-12C0-47E8-8215-B66D4AD659B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30" creationId="{D3C1D5C0-1ACD-4DD8-A1F7-EB7D87135A6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31" creationId="{42C6A43D-8B25-4556-80A9-C8D669707B0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32" creationId="{7041D630-B130-4857-AC6C-2ECB18DFA88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33" creationId="{FEEAFBFD-2E19-4F49-BACC-7CD1983E4EF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34" creationId="{35EE78BF-5E11-418A-A56E-93583D54E5E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35" creationId="{2061567A-1670-47C1-A44A-869911377F9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36" creationId="{F4420A65-DDEE-40FB-9793-DCECEE8E54C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37" creationId="{8B605ADB-8BC2-4BC3-8174-94D482EE0D6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38" creationId="{934450C8-4A1A-4D14-A25D-9BEA361902E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39" creationId="{1D7B7FDF-3C15-48AD-92D8-E489CC56DFC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40" creationId="{67E0E5A8-A9C1-4FB8-BAA4-460BEE16726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41" creationId="{D04891C4-C1B0-41E6-9AB4-9819C299105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42" creationId="{84F6EAE4-69CF-4200-86C5-BFAFD0AAFF4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43" creationId="{6536313A-5562-4FCA-BC9D-EDBFB2C3C43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44" creationId="{0F637391-88EC-4C9E-A1B5-40B9C148E9C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45" creationId="{A5A371CF-B262-4D57-B9AA-7528811CE3E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46" creationId="{A453A909-605E-4DA0-87D1-CCA79E823CB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47" creationId="{725D70C9-3C64-42BC-AB5D-B157F194B67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48" creationId="{BB65FBD0-2FCA-40E8-AB25-D2EE8A4ADD0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49" creationId="{3C778672-8C57-45E9-B933-548862D66FB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50" creationId="{ECD783EB-AF68-4FB8-BAFD-1E6BAED6DDC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51" creationId="{760BF09C-39DB-42E5-81E0-AF587172764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52" creationId="{1E0DF9FA-4CC7-47A5-8F08-4FD72EAF61B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53" creationId="{CC9F5B70-8432-447F-B64D-0D83AC5FDA0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54" creationId="{F7CE5730-A421-406C-96BF-6B243B2D300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55" creationId="{380E5DCD-96E6-48A6-AF4B-A230E9B3078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56" creationId="{EFEB5BED-2097-49F7-B3EE-B6CF9CAE956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57" creationId="{994E1DD5-B11E-4F86-BFF3-CE7B525B8D5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58" creationId="{21BBB0A3-F119-4476-BB1F-B98CD00DC62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59" creationId="{71719D06-C51D-4F42-988D-E6CE89E3C8B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60" creationId="{844A6C2D-300E-44DD-B26A-BAB8B398782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61" creationId="{B89FB85D-647A-4355-9A6A-613A26C07D5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62" creationId="{1BE92629-791E-4D8E-BF0A-B9BECC732B8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63" creationId="{82E09460-FA33-4FB7-AB2C-2A5D4ECD226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64" creationId="{8D6B90F0-6D41-4856-BA42-685F8A02415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65" creationId="{9BDCC214-214E-4CF1-9C7D-AF4BA94060B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66" creationId="{B098A508-AAC6-4D58-9CE9-20F9A7C50E5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67" creationId="{04B6D9D8-C76D-4AD6-9F77-ECD9F3E3C01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68" creationId="{A678FA81-4147-43A0-82CF-EAA78FA3E5C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69" creationId="{BCFACD55-2194-4339-AB68-543768438B1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70" creationId="{EB2A2E94-4DD9-4B42-B1DC-8F186919DA5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71" creationId="{93F30C61-735B-4933-9209-48E5D4E3F2E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72" creationId="{62560F00-D482-46C2-986F-48BC505484F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73" creationId="{4D1ED254-CF87-4077-AD40-983E228E281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74" creationId="{EBDC0858-E054-4417-88AA-19935476ADC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75" creationId="{006A6704-8CC0-4308-B883-22CAD5F4E5A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76" creationId="{61B99B7F-AAD2-475D-B440-E0CED568C20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77" creationId="{FFC67748-9117-4B48-8494-9C3830E9E03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78" creationId="{285310D5-B95B-4E2B-9F16-7CA9AD6EB62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79" creationId="{E37F2898-3712-4C91-9F45-48F749037A6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80" creationId="{F04AE781-2F26-459A-A782-1DF63B86E71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81" creationId="{3A0A4EC6-EFBB-4EFC-8DD6-37262CED7DD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82" creationId="{E0E6181B-E18F-4AC3-84CB-B3280CAC8DD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83" creationId="{051E4724-B541-4780-86B5-73DBE4FF587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84" creationId="{4E45C44B-F56C-4115-A153-979BFB049E8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85" creationId="{251AF7D4-DAFC-47F7-854B-3718406E7D8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86" creationId="{C9E158A9-E128-4282-8E43-26F076C243C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87" creationId="{8621BCA5-7EDB-4182-A7AE-05DD2E78D08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88" creationId="{32436F4C-2BD4-4913-9D5A-EA7E8A97AE7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89" creationId="{81835779-BD9C-4026-A959-94BD948CE1C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90" creationId="{B9E8563E-AE8F-4B5B-BE8C-4926FC8E944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91" creationId="{913CA24B-7794-489D-A33A-037ED842302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92" creationId="{D46FD142-EC18-451E-BBF2-2B967E1D89A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93" creationId="{FF3543F0-1800-4A0B-A544-D89E69A906F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94" creationId="{1E979FD4-AB46-4F5C-8B94-93564EA48EF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95" creationId="{97716F24-6844-4B1D-BD45-4DFEBC275AD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96" creationId="{FF7656A2-25CF-4CFB-A591-007DA26F80F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97" creationId="{0E9E243C-001B-4690-8E53-C179E792526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98" creationId="{49BD3ADE-8A84-4461-9FF6-FCFFAD954AD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199" creationId="{D1D8A3B1-1798-4CF5-88C4-64C6E4BED9E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00" creationId="{65DEB407-BFD7-4019-BAA8-D8D004A9CCC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01" creationId="{042275E2-160D-4891-B14F-E8B90C26027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02" creationId="{A88827CE-2846-40A9-9EBE-2EAFE5D7141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03" creationId="{17B68FBE-BDE2-41D6-A481-001B2044BEB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04" creationId="{868AECD0-29BB-4126-B404-EDB95CBF136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05" creationId="{C6BBDCD5-AEE0-44AA-8CD1-10578129DFB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06" creationId="{D30CE01D-54F5-4184-841F-7DCB25D33DF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07" creationId="{2EE1E3F5-4489-4591-B58F-5A6C10FFEFE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08" creationId="{F4536351-DB44-4C7C-8521-32FCA2DB84D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09" creationId="{06D5E459-33E9-460D-A3B6-ECC5D24E356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10" creationId="{4964C897-7C86-40B5-A9E2-D0A70E264A7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11" creationId="{0EE3F97E-6EB7-4AC2-AF75-26323C920B5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12" creationId="{96C5709A-64AB-4B77-8D6B-F78002AA6BD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13" creationId="{5D22FA68-0D5D-4541-B762-0B662C37113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14" creationId="{58106972-B0B1-4F0C-A5B0-41ED38FCE06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15" creationId="{A2FAB31B-CBC7-4694-8D8C-7D63A29F4ED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16" creationId="{D13AF41B-4EFC-4182-BA25-90557D35546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17" creationId="{ED644587-A0FE-4D5A-9C0F-D63659C6B40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19" creationId="{6E0B65F8-5BAE-4295-8973-4727DA8E30C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20" creationId="{A1B09771-AD5E-4AE9-A13F-CA3405B6A93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21" creationId="{E6458EE1-4C1E-4D2F-BB27-F683379A34C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22" creationId="{BAF776A3-6484-41C9-A8AC-9FD76F41564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23" creationId="{602992A0-8386-43B3-9F07-477E10527B8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24" creationId="{798D1604-86AF-4951-9C8F-F122C5B612E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25" creationId="{6AE1ADBD-E15E-495E-81F9-126F2F2AF37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26" creationId="{5E3D37FB-A4CC-42F0-961E-0E0C5D9CC18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27" creationId="{41DF18DE-4C7E-4B2B-9E19-542FE879CE8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28" creationId="{B6C77CA9-2B8C-40EA-9396-249D385E78E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29" creationId="{BE3EE7B3-64F1-4580-8E7A-7085BFA0437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30" creationId="{5A1FDB06-C6D4-45AC-A3AD-CDED9F3E437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31" creationId="{C763F5ED-CB76-4E52-922C-2FCBB784B59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32" creationId="{0C069C25-CE59-469E-B96F-44DAAF926B9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33" creationId="{7FF9FBB3-0F56-404A-A991-A554238073C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34" creationId="{8F69DC29-181F-4B7F-BA4A-2103CFD7117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35" creationId="{5CEEBF73-4703-4F4C-A1C4-2090A7645E8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36" creationId="{53BF6251-1E27-49A0-B575-F3CC140D1BF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37" creationId="{EDD1D527-24E9-48D4-8C37-9C6F211D49F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38" creationId="{BF634DF9-0710-42D4-9461-C562227DD5A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39" creationId="{692C47C3-91D2-438E-B093-42E40785041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40" creationId="{E6AD4354-AAC7-4D09-A137-3D0AFE05A19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41" creationId="{69D1B49F-0F09-43F8-B738-6E91E4D034E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42" creationId="{E7BA6421-FD44-4AE3-BA81-A6617B26756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43" creationId="{123ED283-A88E-42C0-A0EE-EFE3577C855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44" creationId="{E8E7D298-550B-45C4-BE04-860EF551F2A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45" creationId="{7289D094-0601-4457-922A-73E295BDE4D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46" creationId="{775F9A90-1B4F-40DE-B87B-8858A1A85BE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47" creationId="{A4F76857-7330-4F5B-8B43-82B76794C3E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48" creationId="{84BF1CE0-6BD9-4962-9F9E-282344061C6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49" creationId="{83EC1AEF-4B17-423F-90A2-4C5CF0BD6B8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50" creationId="{47D7D6A9-8B22-4F87-88E8-4C1877DED01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51" creationId="{8B357433-3DC0-47EF-A73A-5C6DAB2ABD7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52" creationId="{EB46AA5C-2F38-4DB4-973A-E4B05F9E9F1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53" creationId="{0B6B17BE-F3EA-473D-9394-A73F17A4B3B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54" creationId="{A0E1BE70-3D1D-4E8B-A743-CA35CE3D98C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55" creationId="{57A4CF26-C564-4F7F-9EB1-C688BB8F8DC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56" creationId="{03EF8DBA-DB8F-496B-9968-4CEB6D2B287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57" creationId="{5F905F3A-6DF0-4130-BA82-DB726DE02D0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58" creationId="{DDC38F41-F2EB-4D38-A0EA-89868700474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59" creationId="{EDB2101C-97D6-4985-B8BD-B2B587126B9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60" creationId="{5F9AB759-8D3D-49A0-B1BB-7A870DEDCD9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61" creationId="{AF5127FD-FB23-40CB-9DF5-261A6E91E54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62" creationId="{1BF41936-F29E-46B0-AA54-CF6407F22F5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63" creationId="{E2AF2CBD-AD35-4E58-93DA-AC66EB46212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64" creationId="{F2920D40-B78E-4D69-9DE9-65AEC17C6AC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65" creationId="{045BC121-8267-4BFA-8753-AB082B66C0D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66" creationId="{D3A2FDA4-7CF1-4734-A053-C6B0E6873B5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67" creationId="{7621D95D-1A6D-4D52-9081-EA894B9FC27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68" creationId="{2FD71F44-41CD-48CB-85A7-25E90A430F2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69" creationId="{31C09D09-3653-4744-A362-916D9BD6A11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70" creationId="{C2558FC1-A223-4168-AAE6-85F2EF923F6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71" creationId="{4D147967-DFAA-4D07-98C3-0A5BDDCD08F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72" creationId="{7642F0D8-D970-4636-9750-51B86D1F04B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73" creationId="{CE610CCF-49A5-4F0F-9365-AE822EE6960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75" creationId="{AC8E12C8-A026-4413-92D6-8AECE6C8D3B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76" creationId="{FE7298C8-45C4-4594-947D-93F5574FEE1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78" creationId="{E3ED21BD-9495-4E1F-95C7-9F57406171C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79" creationId="{09699C68-31F4-486C-A4F5-248D7011FF1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80" creationId="{A477892D-4187-4E01-BA60-1119EF947AC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81" creationId="{DF7152A3-2148-4140-9E17-03928561148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84" creationId="{A7E3ADA1-9F04-465C-BBD3-CCB9D1DF35E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85" creationId="{4B1D8E96-7A73-4E70-A951-7E8C15F630D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86" creationId="{5CDAEDCB-B3D9-4287-96D8-E7577CCF98E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87" creationId="{2A777119-348B-42CC-AB65-CE6C469E78E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89" creationId="{C3F16BDB-1ABA-4D44-9538-25E387A362B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90" creationId="{EF6B93B5-BEC7-4716-ABA4-63D0D7A39F9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91" creationId="{875EBF59-A2BC-412C-BE3C-32AB332666E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92" creationId="{E2720E07-4D7F-4772-8447-7D808E32AD6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93" creationId="{35BCD93C-9895-4CE3-8D3F-157E51D5D1E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94" creationId="{A3B1BC1A-EF99-42DD-B60B-DC1850146E2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95" creationId="{C3E6339C-137E-4861-9542-02049B6CD2E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96" creationId="{530FFBB4-33D3-469D-AFF3-7E531847A0A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97" creationId="{E0593979-21EF-42EF-8E89-9577FA54E0C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98" creationId="{DF22CEDA-E66D-4674-AD0C-205311B8A15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299" creationId="{ADAA0491-8093-45A0-AA6A-3B9904BE492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00" creationId="{45E60518-864C-48A6-BE91-C221DF0EE39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01" creationId="{78209912-AC58-4602-9C38-A95DBBF8472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02" creationId="{F36D4085-0829-4CB8-92C4-D54C0F72F1D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03" creationId="{4E983399-7429-4EF7-875F-E5789C3A3ED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04" creationId="{72414F8F-D2E5-4483-8FC6-9C3ECC9C356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05" creationId="{87CDB8BD-B164-4006-B777-F68923AAB15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06" creationId="{EF1DB9DC-FEAA-4903-B628-D37E8488BA3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07" creationId="{23847A61-B90C-4998-AEED-2C88A9C7538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08" creationId="{A1EB6386-155B-49ED-B014-CC78270E93C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09" creationId="{CF5AF46D-C250-45FD-94F3-4DF2A71CCD5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10" creationId="{4F62FCCC-647F-4878-95E1-92B69192369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11" creationId="{5E20183A-0A1F-437D-BCFC-27D87C3969A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12" creationId="{1520A167-BE63-4B54-9556-123860B43BF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13" creationId="{2128BC67-5785-40E1-9E6D-71EBA4A8E2C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14" creationId="{9938F3A1-C2DA-41BB-ACBE-0D99EA84CF8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15" creationId="{E6ABD3E8-3EB2-4E90-8483-561085141BB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16" creationId="{6E35AB50-E009-40A7-BB17-885DC213171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17" creationId="{01668D94-AD10-495C-82AE-CC6550D429E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18" creationId="{0B86EC0F-BA60-4453-960B-D45A07DA766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19" creationId="{A96001B1-FF1C-43C7-8C52-DA185A7DE67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20" creationId="{2B6E26DD-F14F-4845-BAAF-CB9828F3D89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21" creationId="{829A63B3-B897-45E3-9F6C-6255C1F5EA1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22" creationId="{34D6A835-333E-4F47-9E98-E89F10EB0BC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23" creationId="{6FD3DC4E-2AC8-4382-83D0-9C0A60AB4B6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24" creationId="{05AACC5C-6979-4B60-8195-D31D9F3BF38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25" creationId="{14C974D5-6C03-4603-B5C2-88ABD3DD680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26" creationId="{256199DB-7F5F-4646-B16C-4FC43BADCA0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27" creationId="{0C2AE945-197E-421C-BA6F-54CFB6F94A2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28" creationId="{8C171998-D3BA-4E9D-81B8-095EDCF8A05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29" creationId="{AE110882-2B36-4B32-A8DF-9E9DBD1F65A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30" creationId="{B6473A9A-897A-46DF-BCF5-6C6DB08CB01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31" creationId="{7814427E-B134-4ACA-84FA-0D7ABB448A5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32" creationId="{561744FF-6288-455B-8766-CFFFD56B2DD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33" creationId="{DBE715A9-2BED-431C-80C9-499FA655B07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34" creationId="{343CDF35-8744-4356-B295-65D2C4B0FA7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35" creationId="{380FB36F-760F-4FDC-927E-BC90448110D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36" creationId="{6EB20C87-D705-4A8E-A1D9-692DA503CDD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37" creationId="{A72D3CC1-FCF4-4133-986F-4CFBD7630B9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38" creationId="{25F1799E-03AA-40F4-A99A-BCDF775E266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39" creationId="{DD56B6D4-6CBC-4D43-A545-0654F50FC38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40" creationId="{9CC0315B-F2F7-429F-A3D4-9A1A1E6D366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41" creationId="{F7516D45-5BD9-413C-8B77-760D7E44368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42" creationId="{4BB2B016-0659-4A1C-9A8E-5BD9CB2330D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43" creationId="{8BF218B7-0330-4BE2-9301-626B7C2D63F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44" creationId="{AB12A350-C47D-44EF-8BC8-14DE94B5E79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45" creationId="{7EBF4AE9-0081-4E24-9373-D2267AB4244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46" creationId="{6B6DCDAE-559D-4620-9C44-AC07033AB55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47" creationId="{0CE1E309-7949-4F7E-B62C-EEBD09CDEC4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48" creationId="{0E13F4DA-26E4-430F-A9A7-5C44CDDECCD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49" creationId="{0E41A563-5184-4808-AB91-81024AE0675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50" creationId="{120B362F-794D-4DFC-984D-E500E2785C8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51" creationId="{C2DE225A-BD89-42F3-88CD-F84EF5A81C3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52" creationId="{00403190-E59A-4DA4-816E-39C95ED565B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53" creationId="{7CFED07C-BD91-469E-8EDC-B09C5BA722E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54" creationId="{022D93DA-07FE-4DF0-B880-A41C9A39837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55" creationId="{D1746941-E827-45C9-809A-2CECCCA4051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56" creationId="{DC3781E0-A447-4B09-9079-C9C9E3CD4A5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57" creationId="{4D2DB53A-D9B0-41BA-AFC6-A181C676C97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58" creationId="{6FDA5A76-0F25-4A42-B4D7-AEABAE2C0C6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59" creationId="{DA642F5B-C652-4BFF-ACD3-98966A0486D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60" creationId="{3BBEFFED-9363-483B-AEF2-E96D0CCF413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61" creationId="{2EEC6DA7-F437-4649-A5E8-7D0D98C37DE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62" creationId="{CBD70991-5CC0-4C3A-8E12-C1FD8E844B2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63" creationId="{45D8F221-E740-41EB-92E4-BA77D3C8D7B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64" creationId="{8941BA0D-D7AE-4024-B470-1B6CF72F9F4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65" creationId="{0D394810-0BEF-4268-8402-488D4415B96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66" creationId="{56D2F277-D5D9-4453-A4E3-ADAAE9F7AF1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67" creationId="{9A457E68-3724-427A-8E40-CC395AAA25E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68" creationId="{3E53E62C-6030-4E69-BB8F-8F57B37DACB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69" creationId="{329E2F6F-8986-4CAF-81F5-356DA112799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70" creationId="{F7A44511-9407-41FE-A187-D3C086882CD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72" creationId="{BB0D631A-E57D-4DCF-B8C8-85157993786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73" creationId="{A54C1CF4-38EC-496B-BD41-64B73DF4172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74" creationId="{E73712BA-27C2-4171-A12B-2FD892DB7E4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75" creationId="{E284324F-1E75-4A60-8D2C-7411EF5A681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76" creationId="{995B9EFB-5B6C-429F-BFF2-14E58014AE1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77" creationId="{D7643829-9746-4A27-95FB-ACAD8F26B56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78" creationId="{44DBBD49-0709-40E4-8284-B14E21EDE41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79" creationId="{C2318927-03AC-40D5-89E6-606C8237F7A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81" creationId="{BCCA3B69-3C6F-4C75-9AC3-4813D062F87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82" creationId="{EE62C91C-062F-4140-BE3A-C6F3B251B75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83" creationId="{8B779E74-41D4-4478-9F99-75AE401BE63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84" creationId="{9332BE3D-E081-47F5-8E24-20153B64A13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85" creationId="{5196A3F1-FC46-45C1-A53C-536735BD86B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86" creationId="{41D70BE5-A32F-4FB2-8A05-C541736679E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87" creationId="{FE13BB3A-EFB1-403C-ACBD-36506231750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88" creationId="{3DA49243-92E2-4048-86F9-8088E511E98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89" creationId="{B4D47CB9-406F-4CF1-B31E-844C60EB832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90" creationId="{E02862CA-8674-49EA-B12C-102C365CF9A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91" creationId="{25B8ACD2-9069-4558-8A77-5024F28CE15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92" creationId="{D778021E-59D5-4B13-A326-187E673645F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93" creationId="{B60B1876-25F0-4729-B0D0-006176F4B0A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94" creationId="{429FBC94-AA6F-4F52-832E-033D71F31CB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95" creationId="{E8D88C71-87BC-4B73-88B2-606B7884E44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96" creationId="{C7C6E5AD-B102-4381-900C-0297EB638D5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97" creationId="{A334D210-C20B-48AF-927F-39FA6B015D4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98" creationId="{FB3FACDA-29E2-4FEB-9F5F-0FFC5DBF5A8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399" creationId="{8DC793AB-E8EF-4304-8C23-02362775924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00" creationId="{7A8F699D-894B-42EF-8C03-B2BE67E2D78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01" creationId="{043F8DA6-7209-4B46-BB4F-F8E89EDEA75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02" creationId="{13820F67-0283-4E2F-9EC4-F54B08F87A4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03" creationId="{F6B9F62C-6119-46C7-A9C9-F812329D0EA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04" creationId="{391CD10A-9CFF-4CFD-9691-AF050FAD8DC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05" creationId="{96852F92-B594-410A-990F-A3940916786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06" creationId="{909A321F-5C7E-4776-82D7-22F136B294D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07" creationId="{4AA542F6-A2EE-4963-9964-C4366E43ABE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08" creationId="{C2DCF5BA-61A5-4C1C-8B11-B0DF4EB2D01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09" creationId="{22CAD564-C9BB-463D-8849-02D04E0111E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10" creationId="{C8F24E7B-09A0-48A4-B4AC-65BE3F8CCEB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11" creationId="{D7D4A673-BE4B-4066-B5D6-A5329E515C8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12" creationId="{8EE2D190-423C-41E0-B618-1D387886A70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13" creationId="{CC32050F-1A2E-4930-9526-96EEAA9D3F8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14" creationId="{07305831-E1F9-4BC6-9578-E94DF935710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15" creationId="{92C9F824-F442-42C3-ACF2-4E57DF7739B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16" creationId="{50723EE5-2692-4AC4-B0B8-7FA44AA2963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17" creationId="{D002F63F-0173-4B18-B45B-CE530EB3576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18" creationId="{EDA1B85F-AC17-4B70-85D1-76636375FBE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19" creationId="{68534C82-59DB-4256-B4D7-3D6C504422E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20" creationId="{98B617A9-9416-40CE-A44A-A66CB18D1BB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21" creationId="{75F30197-4CF0-4B06-A915-D236BF651DA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22" creationId="{0C13BF48-9049-49C0-86C8-D84DA4D31A0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23" creationId="{4DDD2DAF-8E57-4655-9FC0-2B9ADB27614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24" creationId="{C2D6B4B2-0E3B-4EA0-AD4C-4B263F000B5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25" creationId="{3A18C9B0-5C1A-4FC1-B74D-3AFDAF01234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26" creationId="{9069D02D-B05E-408F-8FB8-483AFA3EB53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27" creationId="{FC0E2E49-C70F-4994-8950-A9F988C1970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28" creationId="{1B6AA6B9-0980-4E14-AF4B-3B87861E3D5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29" creationId="{8D110E85-635C-4D37-AC6C-7886C6CC664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30" creationId="{33FA3263-5BAF-45DA-A335-99550BFCE72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31" creationId="{73586C3C-992C-4312-BCF6-936100D0E93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32" creationId="{4334BC71-C57F-4E5F-8445-368918B0B58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33" creationId="{E591E228-947A-4CEE-BDDD-68819BAD0BD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34" creationId="{A83F2283-3E6E-42DA-840B-45A130B830A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35" creationId="{D0EF9C67-7A27-4685-B885-FE0A61F464D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36" creationId="{E1FA6CB8-8458-4BE4-B3B7-A80C0E9AD30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37" creationId="{6291C674-CA0A-4180-8671-822D594648B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38" creationId="{36BCE896-BBDF-4E66-BAEA-1E29B8C46DC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39" creationId="{74B7EC40-E1D4-464A-A55F-5DBDF32D9E7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40" creationId="{B9EE5339-3FE8-45C1-AFD0-0EEEB35B4A0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41" creationId="{D24D74AC-959E-4205-B7A1-CACB397BFD1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42" creationId="{ACB328D8-D3B0-440B-9196-99357D1FB73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43" creationId="{88D147A2-498D-4869-B7EF-71F905870CB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44" creationId="{EFDE6456-F5D6-4359-8E63-EAA70CD4B2E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45" creationId="{A5B82976-F9AB-4EEA-ACB5-03F3D2B36A3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46" creationId="{926B9D6F-1FB7-4910-A685-82B717466F1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47" creationId="{6C9B0812-B3E1-4237-8C3D-A0976FD2662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48" creationId="{F3B1EFDA-7F56-4229-980C-CDB0BBF2FF2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49" creationId="{DEF11024-EB8B-4900-BB90-1E3E4E9A557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50" creationId="{FF42D301-5CE5-470B-95F3-7338F872948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51" creationId="{443C78F7-FFC5-4531-9608-D8D5E73FDA0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52" creationId="{4BB7568A-EFC6-4AA5-A9A6-A62E3017C40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53" creationId="{CD30BE86-0407-4B9C-8FE7-50A4F696ECD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54" creationId="{D04CD417-2052-4558-8260-3E1954B5530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55" creationId="{9A587817-FA43-4F5D-B1A5-3CC56B4FA41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56" creationId="{7D8E8DE2-184C-47C0-BEC9-9A3D201CF27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57" creationId="{EBB1B36A-51B3-4D95-B7B0-1C83EEC4549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58" creationId="{D0DE6489-7786-43D4-9684-1BA8326E8BC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59" creationId="{E9276537-6998-45B9-9B8B-0AA3EEB2C36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60" creationId="{745D5695-5CBD-4B46-BF38-6D0AA0F06BA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61" creationId="{8BE57479-76EA-4B79-A294-C532AAE74C9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62" creationId="{25AD1905-64AF-4DE9-B849-C4640A552CE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63" creationId="{ADAAC77F-6DEC-402C-984A-5303937753C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64" creationId="{2BB2743D-B976-4799-99C8-71FD3098FA0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65" creationId="{48FF3DDE-BA45-49AE-BE0F-D4B23CF4145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66" creationId="{0D71D374-30AC-4BFF-B436-F605F6DB56D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67" creationId="{EE998D6E-4BF1-4860-BF67-9173A74FD12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68" creationId="{931A9AE4-AFCF-44EA-8BA9-93237AB169C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69" creationId="{C4097580-8783-4422-AA11-78A6196851A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70" creationId="{2DF865B3-BD5F-4D76-8A5A-97E268F5818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71" creationId="{861A1958-9361-452E-97E1-6F05D2938F3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72" creationId="{3537F84A-5B58-41B5-968B-580F7EE6211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73" creationId="{394C067A-1B32-458C-BAF4-D3DF95EC55C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74" creationId="{7421CECC-4D34-40C7-8CC4-7A71ED3AEE3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75" creationId="{CB3497E3-2FF6-47A8-B3ED-64C290FFC7F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76" creationId="{74394AFD-53BB-47F7-8EAD-D8BDA8333D3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77" creationId="{ED8A6B89-FFFA-4CE0-A131-0E94087B57A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78" creationId="{8C5F7732-511C-4E15-84E2-8D03BBFC277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79" creationId="{7C3BCA84-FA00-4449-85F3-E379035DE49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80" creationId="{F4412693-DAA4-4261-80D5-6A8E789E854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81" creationId="{FBDAD63C-6C7E-430F-9535-14D43B3F6F1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82" creationId="{7EC6B937-8C42-4833-BC14-CCE3ACE3D62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83" creationId="{0504D011-C7D1-4302-98F9-5CCFC3D3D99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84" creationId="{F6265BBD-0C24-44E0-9523-32B7841FFBA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85" creationId="{FCCFBD8B-6E8C-4642-A189-2D5E3D0F29F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86" creationId="{98CFA8A4-1A49-4F99-A777-69F504E89CC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87" creationId="{564F8EEF-AF45-4A38-B9F8-9637BE90BE8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88" creationId="{0F550749-371D-4BB6-9D9F-56DAD26D951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89" creationId="{E26F6E8C-D46C-4DB0-8FAA-4482B782A1F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90" creationId="{60A3E99E-3CE7-46CF-9BD3-E7FA1E43526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91" creationId="{B6D24EB6-291B-4E53-AD7E-17F5378DC57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92" creationId="{CF576F4A-A01D-43FC-92E5-5E054C42619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93" creationId="{0806C6F7-95FE-4E59-841F-2377CBE4750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94" creationId="{F6C06AE2-3679-42BA-ACB4-3577616D2EA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95" creationId="{C70B425E-7C23-47BA-9DC0-1A71B17D882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96" creationId="{9638329D-5416-4FC5-B688-7B25A67E40F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97" creationId="{CA996453-1234-4E0A-B391-0D5AA5FB91F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98" creationId="{AA770BE0-BE89-4BEF-AB60-EAFBD4A4B8C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499" creationId="{13CCC3A9-518F-48F0-92BA-F9682EE478C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00" creationId="{32F56D87-5744-4F9D-B338-EAF5AE4B2CD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01" creationId="{24BFE135-7F92-4886-96E7-9E9FE511F90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02" creationId="{1374F532-F41E-4B61-A02F-B5D5C3C332C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03" creationId="{9528CB17-4186-4638-B1C1-0CDF0E1F27F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04" creationId="{EE8EAF3F-5E60-44E4-A25B-7DD1CB04176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05" creationId="{C28419F0-C411-48CD-B235-CE06A89BD4A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06" creationId="{F17EB095-397A-4457-9867-0366D094607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07" creationId="{4867810F-F9AC-4C44-AF56-37ACFC497DC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08" creationId="{89501156-CA7B-494F-BC2C-657216EDE12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09" creationId="{60B5EF87-04E0-4634-AF1D-2751C21BA54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10" creationId="{7D751E3F-BC9D-45ED-864D-C8BD1DD9365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11" creationId="{AB10E172-8F4D-428B-BF89-6F93A457C8C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12" creationId="{3DD3EE2E-6CAC-488C-B0E6-2D6913D1DF2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13" creationId="{2A0308CA-FAEB-4D7F-8F41-CBB259497FEC}"/>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14" creationId="{4C84261C-E690-4712-9097-5EF5B3840E6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15" creationId="{D017C8CE-9C26-4A58-BF79-E2D55B520BD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16" creationId="{E0BC55C9-A151-41F4-BBFE-D982C7127B5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17" creationId="{8E4C9F5C-C41E-4F78-9E88-3A87E2829C1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18" creationId="{0DB83835-B604-4310-A5F1-CAFA2B81A09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19" creationId="{6486AE18-98B8-4EAD-9562-64C57FB09C4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20" creationId="{C7541E82-B5D2-4DDE-9C7B-54094C8C2B1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21" creationId="{EADED8DC-E3CB-40E6-9102-2BDC834D024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22" creationId="{B7EB7B50-5F4D-4A58-A9A8-51A8BA316CD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23" creationId="{79E13C66-8D96-4E74-8201-08BE87E282C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24" creationId="{53761AA1-7599-4D90-9DB8-4ACA7262656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25" creationId="{6393C355-6CE0-4946-9C12-F38A7C8C5F0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26" creationId="{81295155-E42D-44CB-8A4B-ED9A83A2DF1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27" creationId="{7FAD9DB6-11D0-4F55-9DD3-D3025FAEBA6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28" creationId="{7758E074-21DB-45C0-8F5A-95DCD937E22B}"/>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29" creationId="{1B45A0C1-9F2C-403B-8B70-1F87C1C60F4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30" creationId="{AD6F0801-5D2C-4774-BFAF-E2BA18FD3F6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31" creationId="{1CCC5CA9-7C50-4B33-91DA-09C321768B3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32" creationId="{5405B663-2D9D-4511-BA75-B907FF0B12B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33" creationId="{A91A93B1-9333-4C96-941A-B1DB765CCE68}"/>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34" creationId="{28097705-DE18-4C18-8BFF-05C3C97D920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35" creationId="{888ED422-4A2C-41A5-B936-3D5FE68B09B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36" creationId="{3C0C8D06-523D-493C-8C13-01C88958572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37" creationId="{A581620D-38A0-43D8-81D1-BDE0D23D602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38" creationId="{0435793C-4D3D-45FC-8636-5F087BB6983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39" creationId="{CA1F48C4-316B-4D1A-B453-08E60114FBE3}"/>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40" creationId="{BBDEE529-21B4-4A9F-B40C-84CBE324F43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41" creationId="{80124A49-23FB-482C-9862-CCDB7749487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42" creationId="{EF709D74-561B-4076-BD75-CB98396E50F5}"/>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43" creationId="{6EDD6275-F5B7-4804-81A3-4031705A573A}"/>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44" creationId="{D96B9773-4D0B-420E-9CDF-3D676018F007}"/>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45" creationId="{0CE7DDAB-478D-458C-BC63-F781DF554581}"/>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46" creationId="{48CF3AD2-E50C-44A6-9B44-B480028F6344}"/>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47" creationId="{18946985-B842-4573-A5B0-54B2005DE979}"/>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48" creationId="{217D385F-19E6-45E5-BC02-DAD6EDA4A530}"/>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49" creationId="{78CA4F25-7F0A-4D08-ACB8-A0A041AABF3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50" creationId="{870BB017-1AEE-431F-890C-E9420874C4D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51" creationId="{B33ABFB2-3AB3-4D7E-8B5C-407941B0C90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52" creationId="{A5703EC3-3B68-4940-8429-7DEA315ECBDE}"/>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53" creationId="{7BF2680E-BC13-4C18-A237-2C8A20F35BC2}"/>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54" creationId="{530AD145-829D-4387-ABA7-0033F13BE7E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55" creationId="{3EDB00FC-39C3-4796-B48A-294249124ABF}"/>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56" creationId="{62981A66-C0CC-4370-BC68-761CE8BE466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58" creationId="{DC829570-7430-4515-AB9B-E84C8CFD6F96}"/>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59" creationId="{5696B0A4-24C4-4894-B91F-E07A0E81F0DD}"/>
            </ac:spMkLst>
          </pc:spChg>
          <pc:spChg chg="mod">
            <ac:chgData name="Dirk Wübben" userId="a27602df-5b54-480c-866c-64260ceb4949" providerId="ADAL" clId="{6384D003-2B9C-4703-BBC3-6469E285D43F}" dt="2025-03-20T10:11:09.732" v="1579"/>
            <ac:spMkLst>
              <pc:docMk/>
              <pc:sldMasterMk cId="611449510" sldId="2147483686"/>
              <pc:sldLayoutMk cId="983434521" sldId="2147483703"/>
              <ac:spMk id="560" creationId="{75453BA6-9956-4FD5-813C-1DE5C7D7D125}"/>
            </ac:spMkLst>
          </pc:spChg>
          <pc:grpChg chg="mod">
            <ac:chgData name="Dirk Wübben" userId="a27602df-5b54-480c-866c-64260ceb4949" providerId="ADAL" clId="{6384D003-2B9C-4703-BBC3-6469E285D43F}" dt="2025-03-20T10:11:09.732" v="1579"/>
            <ac:grpSpMkLst>
              <pc:docMk/>
              <pc:sldMasterMk cId="611449510" sldId="2147483686"/>
              <pc:sldLayoutMk cId="983434521" sldId="2147483703"/>
              <ac:grpSpMk id="9" creationId="{BB952EB3-FEAB-4E80-8A84-D23233CA436D}"/>
            </ac:grpSpMkLst>
          </pc:grpChg>
          <pc:grpChg chg="mod">
            <ac:chgData name="Dirk Wübben" userId="a27602df-5b54-480c-866c-64260ceb4949" providerId="ADAL" clId="{6384D003-2B9C-4703-BBC3-6469E285D43F}" dt="2025-03-20T10:11:09.732" v="1579"/>
            <ac:grpSpMkLst>
              <pc:docMk/>
              <pc:sldMasterMk cId="611449510" sldId="2147483686"/>
              <pc:sldLayoutMk cId="983434521" sldId="2147483703"/>
              <ac:grpSpMk id="25" creationId="{47EBA7EC-A13C-4E91-8180-9E89149C81DB}"/>
            </ac:grpSpMkLst>
          </pc:grpChg>
          <pc:grpChg chg="mod">
            <ac:chgData name="Dirk Wübben" userId="a27602df-5b54-480c-866c-64260ceb4949" providerId="ADAL" clId="{6384D003-2B9C-4703-BBC3-6469E285D43F}" dt="2025-03-20T10:11:09.732" v="1579"/>
            <ac:grpSpMkLst>
              <pc:docMk/>
              <pc:sldMasterMk cId="611449510" sldId="2147483686"/>
              <pc:sldLayoutMk cId="983434521" sldId="2147483703"/>
              <ac:grpSpMk id="42" creationId="{A0F19CEE-A238-406B-B294-2B8A5CF77E64}"/>
            </ac:grpSpMkLst>
          </pc:grpChg>
          <pc:grpChg chg="mod">
            <ac:chgData name="Dirk Wübben" userId="a27602df-5b54-480c-866c-64260ceb4949" providerId="ADAL" clId="{6384D003-2B9C-4703-BBC3-6469E285D43F}" dt="2025-03-20T10:11:09.732" v="1579"/>
            <ac:grpSpMkLst>
              <pc:docMk/>
              <pc:sldMasterMk cId="611449510" sldId="2147483686"/>
              <pc:sldLayoutMk cId="983434521" sldId="2147483703"/>
              <ac:grpSpMk id="60" creationId="{8A52A964-444C-41E7-9476-AEDBBB5C87E0}"/>
            </ac:grpSpMkLst>
          </pc:grpChg>
          <pc:grpChg chg="mod">
            <ac:chgData name="Dirk Wübben" userId="a27602df-5b54-480c-866c-64260ceb4949" providerId="ADAL" clId="{6384D003-2B9C-4703-BBC3-6469E285D43F}" dt="2025-03-20T10:11:09.732" v="1579"/>
            <ac:grpSpMkLst>
              <pc:docMk/>
              <pc:sldMasterMk cId="611449510" sldId="2147483686"/>
              <pc:sldLayoutMk cId="983434521" sldId="2147483703"/>
              <ac:grpSpMk id="65" creationId="{D30A98DC-4BAF-42CA-97EE-25AFBA16B01F}"/>
            </ac:grpSpMkLst>
          </pc:grpChg>
          <pc:grpChg chg="mod">
            <ac:chgData name="Dirk Wübben" userId="a27602df-5b54-480c-866c-64260ceb4949" providerId="ADAL" clId="{6384D003-2B9C-4703-BBC3-6469E285D43F}" dt="2025-03-20T10:11:09.732" v="1579"/>
            <ac:grpSpMkLst>
              <pc:docMk/>
              <pc:sldMasterMk cId="611449510" sldId="2147483686"/>
              <pc:sldLayoutMk cId="983434521" sldId="2147483703"/>
              <ac:grpSpMk id="83" creationId="{13B6EF5B-5DA5-4129-B38E-3C39A6A88CEB}"/>
            </ac:grpSpMkLst>
          </pc:grpChg>
          <pc:grpChg chg="mod">
            <ac:chgData name="Dirk Wübben" userId="a27602df-5b54-480c-866c-64260ceb4949" providerId="ADAL" clId="{6384D003-2B9C-4703-BBC3-6469E285D43F}" dt="2025-03-20T10:11:09.732" v="1579"/>
            <ac:grpSpMkLst>
              <pc:docMk/>
              <pc:sldMasterMk cId="611449510" sldId="2147483686"/>
              <pc:sldLayoutMk cId="983434521" sldId="2147483703"/>
              <ac:grpSpMk id="97" creationId="{E4D9AEB2-DDA2-4C2B-BD34-869E20E203B6}"/>
            </ac:grpSpMkLst>
          </pc:grpChg>
          <pc:grpChg chg="mod">
            <ac:chgData name="Dirk Wübben" userId="a27602df-5b54-480c-866c-64260ceb4949" providerId="ADAL" clId="{6384D003-2B9C-4703-BBC3-6469E285D43F}" dt="2025-03-20T10:11:09.732" v="1579"/>
            <ac:grpSpMkLst>
              <pc:docMk/>
              <pc:sldMasterMk cId="611449510" sldId="2147483686"/>
              <pc:sldLayoutMk cId="983434521" sldId="2147483703"/>
              <ac:grpSpMk id="98" creationId="{37D763CC-C607-4485-A0E9-E893C4E3E868}"/>
            </ac:grpSpMkLst>
          </pc:grpChg>
          <pc:grpChg chg="mod">
            <ac:chgData name="Dirk Wübben" userId="a27602df-5b54-480c-866c-64260ceb4949" providerId="ADAL" clId="{6384D003-2B9C-4703-BBC3-6469E285D43F}" dt="2025-03-20T10:11:09.732" v="1579"/>
            <ac:grpSpMkLst>
              <pc:docMk/>
              <pc:sldMasterMk cId="611449510" sldId="2147483686"/>
              <pc:sldLayoutMk cId="983434521" sldId="2147483703"/>
              <ac:grpSpMk id="104" creationId="{49D05562-E0F0-401B-84F5-5CBABEE232D6}"/>
            </ac:grpSpMkLst>
          </pc:grpChg>
          <pc:grpChg chg="mod">
            <ac:chgData name="Dirk Wübben" userId="a27602df-5b54-480c-866c-64260ceb4949" providerId="ADAL" clId="{6384D003-2B9C-4703-BBC3-6469E285D43F}" dt="2025-03-20T10:11:09.732" v="1579"/>
            <ac:grpSpMkLst>
              <pc:docMk/>
              <pc:sldMasterMk cId="611449510" sldId="2147483686"/>
              <pc:sldLayoutMk cId="983434521" sldId="2147483703"/>
              <ac:grpSpMk id="218" creationId="{3A423E88-DA93-4270-A137-40B226762736}"/>
            </ac:grpSpMkLst>
          </pc:grpChg>
          <pc:grpChg chg="mod">
            <ac:chgData name="Dirk Wübben" userId="a27602df-5b54-480c-866c-64260ceb4949" providerId="ADAL" clId="{6384D003-2B9C-4703-BBC3-6469E285D43F}" dt="2025-03-20T10:11:09.732" v="1579"/>
            <ac:grpSpMkLst>
              <pc:docMk/>
              <pc:sldMasterMk cId="611449510" sldId="2147483686"/>
              <pc:sldLayoutMk cId="983434521" sldId="2147483703"/>
              <ac:grpSpMk id="274" creationId="{0A1687C8-29F0-4BB4-9902-DC6F2FC83918}"/>
            </ac:grpSpMkLst>
          </pc:grpChg>
          <pc:grpChg chg="mod">
            <ac:chgData name="Dirk Wübben" userId="a27602df-5b54-480c-866c-64260ceb4949" providerId="ADAL" clId="{6384D003-2B9C-4703-BBC3-6469E285D43F}" dt="2025-03-20T10:11:09.732" v="1579"/>
            <ac:grpSpMkLst>
              <pc:docMk/>
              <pc:sldMasterMk cId="611449510" sldId="2147483686"/>
              <pc:sldLayoutMk cId="983434521" sldId="2147483703"/>
              <ac:grpSpMk id="277" creationId="{C4DB9D7B-15C6-45F8-B766-E1B477A50145}"/>
            </ac:grpSpMkLst>
          </pc:grpChg>
          <pc:grpChg chg="mod">
            <ac:chgData name="Dirk Wübben" userId="a27602df-5b54-480c-866c-64260ceb4949" providerId="ADAL" clId="{6384D003-2B9C-4703-BBC3-6469E285D43F}" dt="2025-03-20T10:11:09.732" v="1579"/>
            <ac:grpSpMkLst>
              <pc:docMk/>
              <pc:sldMasterMk cId="611449510" sldId="2147483686"/>
              <pc:sldLayoutMk cId="983434521" sldId="2147483703"/>
              <ac:grpSpMk id="282" creationId="{1B60504C-EC06-4607-9F38-E7122DBF2388}"/>
            </ac:grpSpMkLst>
          </pc:grpChg>
          <pc:grpChg chg="mod">
            <ac:chgData name="Dirk Wübben" userId="a27602df-5b54-480c-866c-64260ceb4949" providerId="ADAL" clId="{6384D003-2B9C-4703-BBC3-6469E285D43F}" dt="2025-03-20T10:11:09.732" v="1579"/>
            <ac:grpSpMkLst>
              <pc:docMk/>
              <pc:sldMasterMk cId="611449510" sldId="2147483686"/>
              <pc:sldLayoutMk cId="983434521" sldId="2147483703"/>
              <ac:grpSpMk id="283" creationId="{8A6B2571-D084-4D62-ABAB-37432D885FA5}"/>
            </ac:grpSpMkLst>
          </pc:grpChg>
          <pc:grpChg chg="mod">
            <ac:chgData name="Dirk Wübben" userId="a27602df-5b54-480c-866c-64260ceb4949" providerId="ADAL" clId="{6384D003-2B9C-4703-BBC3-6469E285D43F}" dt="2025-03-20T10:11:09.732" v="1579"/>
            <ac:grpSpMkLst>
              <pc:docMk/>
              <pc:sldMasterMk cId="611449510" sldId="2147483686"/>
              <pc:sldLayoutMk cId="983434521" sldId="2147483703"/>
              <ac:grpSpMk id="288" creationId="{B3493DB3-00D0-44BB-85F5-81ABB9345E74}"/>
            </ac:grpSpMkLst>
          </pc:grpChg>
          <pc:grpChg chg="mod">
            <ac:chgData name="Dirk Wübben" userId="a27602df-5b54-480c-866c-64260ceb4949" providerId="ADAL" clId="{6384D003-2B9C-4703-BBC3-6469E285D43F}" dt="2025-03-20T10:11:09.732" v="1579"/>
            <ac:grpSpMkLst>
              <pc:docMk/>
              <pc:sldMasterMk cId="611449510" sldId="2147483686"/>
              <pc:sldLayoutMk cId="983434521" sldId="2147483703"/>
              <ac:grpSpMk id="371" creationId="{DCDBA144-DF24-46D7-8454-9DEE74ACF9F7}"/>
            </ac:grpSpMkLst>
          </pc:grpChg>
          <pc:grpChg chg="mod">
            <ac:chgData name="Dirk Wübben" userId="a27602df-5b54-480c-866c-64260ceb4949" providerId="ADAL" clId="{6384D003-2B9C-4703-BBC3-6469E285D43F}" dt="2025-03-20T10:11:09.732" v="1579"/>
            <ac:grpSpMkLst>
              <pc:docMk/>
              <pc:sldMasterMk cId="611449510" sldId="2147483686"/>
              <pc:sldLayoutMk cId="983434521" sldId="2147483703"/>
              <ac:grpSpMk id="380" creationId="{7E765D2E-C2F7-4E71-AD59-BA9A213BE80B}"/>
            </ac:grpSpMkLst>
          </pc:grpChg>
        </pc:sldLayoutChg>
        <pc:sldLayoutChg chg="modSp del">
          <pc:chgData name="Dirk Wübben" userId="a27602df-5b54-480c-866c-64260ceb4949" providerId="ADAL" clId="{6384D003-2B9C-4703-BBC3-6469E285D43F}" dt="2025-03-20T10:15:56.496" v="1629" actId="2696"/>
          <pc:sldLayoutMkLst>
            <pc:docMk/>
            <pc:sldMasterMk cId="611449510" sldId="2147483686"/>
            <pc:sldLayoutMk cId="2299665690" sldId="2147483704"/>
          </pc:sldLayoutMkLst>
        </pc:sldLayoutChg>
        <pc:sldLayoutChg chg="addSp delSp modSp mod modTransition">
          <pc:chgData name="Dirk Wübben" userId="a27602df-5b54-480c-866c-64260ceb4949" providerId="ADAL" clId="{6384D003-2B9C-4703-BBC3-6469E285D43F}" dt="2025-03-20T11:52:11.619" v="1972"/>
          <pc:sldLayoutMkLst>
            <pc:docMk/>
            <pc:sldMasterMk cId="611449510" sldId="2147483686"/>
            <pc:sldLayoutMk cId="94280457" sldId="2147483705"/>
          </pc:sldLayoutMkLst>
          <pc:spChg chg="add mod">
            <ac:chgData name="Dirk Wübben" userId="a27602df-5b54-480c-866c-64260ceb4949" providerId="ADAL" clId="{6384D003-2B9C-4703-BBC3-6469E285D43F}" dt="2025-03-20T10:11:09.732" v="1579"/>
            <ac:spMkLst>
              <pc:docMk/>
              <pc:sldMasterMk cId="611449510" sldId="2147483686"/>
              <pc:sldLayoutMk cId="94280457" sldId="2147483705"/>
              <ac:spMk id="9" creationId="{6C2B5BD4-BE90-4BB4-8332-837BDC64ADC1}"/>
            </ac:spMkLst>
          </pc:spChg>
          <pc:spChg chg="add mod">
            <ac:chgData name="Dirk Wübben" userId="a27602df-5b54-480c-866c-64260ceb4949" providerId="ADAL" clId="{6384D003-2B9C-4703-BBC3-6469E285D43F}" dt="2025-03-20T10:16:01.010" v="1630" actId="14100"/>
            <ac:spMkLst>
              <pc:docMk/>
              <pc:sldMasterMk cId="611449510" sldId="2147483686"/>
              <pc:sldLayoutMk cId="94280457" sldId="2147483705"/>
              <ac:spMk id="10" creationId="{1DEC45BD-5FBA-4427-AE6D-10920D761D52}"/>
            </ac:spMkLst>
          </pc:spChg>
        </pc:sldLayoutChg>
        <pc:sldLayoutChg chg="addSp delSp modSp mod modTransition">
          <pc:chgData name="Dirk Wübben" userId="a27602df-5b54-480c-866c-64260ceb4949" providerId="ADAL" clId="{6384D003-2B9C-4703-BBC3-6469E285D43F}" dt="2025-03-20T11:52:11.619" v="1972"/>
          <pc:sldLayoutMkLst>
            <pc:docMk/>
            <pc:sldMasterMk cId="611449510" sldId="2147483686"/>
            <pc:sldLayoutMk cId="3483529345" sldId="2147483706"/>
          </pc:sldLayoutMkLst>
          <pc:spChg chg="mod">
            <ac:chgData name="Dirk Wübben" userId="a27602df-5b54-480c-866c-64260ceb4949" providerId="ADAL" clId="{6384D003-2B9C-4703-BBC3-6469E285D43F}" dt="2025-03-20T10:13:48.668" v="1613" actId="14100"/>
            <ac:spMkLst>
              <pc:docMk/>
              <pc:sldMasterMk cId="611449510" sldId="2147483686"/>
              <pc:sldLayoutMk cId="3483529345" sldId="2147483706"/>
              <ac:spMk id="2" creationId="{ED8DF235-6A07-CD10-8992-28424C6ABBB5}"/>
            </ac:spMkLst>
          </pc:spChg>
          <pc:spChg chg="mod">
            <ac:chgData name="Dirk Wübben" userId="a27602df-5b54-480c-866c-64260ceb4949" providerId="ADAL" clId="{6384D003-2B9C-4703-BBC3-6469E285D43F}" dt="2025-03-20T09:26:50.103" v="1308" actId="1037"/>
            <ac:spMkLst>
              <pc:docMk/>
              <pc:sldMasterMk cId="611449510" sldId="2147483686"/>
              <pc:sldLayoutMk cId="3483529345" sldId="2147483706"/>
              <ac:spMk id="7" creationId="{F7DB6551-AD66-CC84-132E-55F366D38E94}"/>
            </ac:spMkLst>
          </pc:spChg>
          <pc:spChg chg="add mod">
            <ac:chgData name="Dirk Wübben" userId="a27602df-5b54-480c-866c-64260ceb4949" providerId="ADAL" clId="{6384D003-2B9C-4703-BBC3-6469E285D43F}" dt="2025-03-20T10:11:09.732" v="1579"/>
            <ac:spMkLst>
              <pc:docMk/>
              <pc:sldMasterMk cId="611449510" sldId="2147483686"/>
              <pc:sldLayoutMk cId="3483529345" sldId="2147483706"/>
              <ac:spMk id="10" creationId="{58779CA9-595B-49F4-A6BC-329B2A63A4AC}"/>
            </ac:spMkLst>
          </pc:spChg>
          <pc:spChg chg="add mod">
            <ac:chgData name="Dirk Wübben" userId="a27602df-5b54-480c-866c-64260ceb4949" providerId="ADAL" clId="{6384D003-2B9C-4703-BBC3-6469E285D43F}" dt="2025-03-20T10:11:09.732" v="1579"/>
            <ac:spMkLst>
              <pc:docMk/>
              <pc:sldMasterMk cId="611449510" sldId="2147483686"/>
              <pc:sldLayoutMk cId="3483529345" sldId="2147483706"/>
              <ac:spMk id="11" creationId="{B66DEC57-A7A6-4086-94CF-6D17C419997C}"/>
            </ac:spMkLst>
          </pc:spChg>
          <pc:spChg chg="add mod">
            <ac:chgData name="Dirk Wübben" userId="a27602df-5b54-480c-866c-64260ceb4949" providerId="ADAL" clId="{6384D003-2B9C-4703-BBC3-6469E285D43F}" dt="2025-03-20T10:11:09.732" v="1579"/>
            <ac:spMkLst>
              <pc:docMk/>
              <pc:sldMasterMk cId="611449510" sldId="2147483686"/>
              <pc:sldLayoutMk cId="3483529345" sldId="2147483706"/>
              <ac:spMk id="12" creationId="{16D8DD3C-A7D7-44AB-8CB9-3B51E2A7EDBB}"/>
            </ac:spMkLst>
          </pc:spChg>
          <pc:spChg chg="add mod">
            <ac:chgData name="Dirk Wübben" userId="a27602df-5b54-480c-866c-64260ceb4949" providerId="ADAL" clId="{6384D003-2B9C-4703-BBC3-6469E285D43F}" dt="2025-03-20T10:11:09.732" v="1579"/>
            <ac:spMkLst>
              <pc:docMk/>
              <pc:sldMasterMk cId="611449510" sldId="2147483686"/>
              <pc:sldLayoutMk cId="3483529345" sldId="2147483706"/>
              <ac:spMk id="13" creationId="{E1E4B99D-6BC1-43CC-816B-C36BB6BB7414}"/>
            </ac:spMkLst>
          </pc:spChg>
          <pc:spChg chg="add mod">
            <ac:chgData name="Dirk Wübben" userId="a27602df-5b54-480c-866c-64260ceb4949" providerId="ADAL" clId="{6384D003-2B9C-4703-BBC3-6469E285D43F}" dt="2025-03-20T10:11:09.732" v="1579"/>
            <ac:spMkLst>
              <pc:docMk/>
              <pc:sldMasterMk cId="611449510" sldId="2147483686"/>
              <pc:sldLayoutMk cId="3483529345" sldId="2147483706"/>
              <ac:spMk id="14" creationId="{44DFED23-CC00-41A1-896B-D47242D71C6F}"/>
            </ac:spMkLst>
          </pc:spChg>
          <pc:spChg chg="add mod">
            <ac:chgData name="Dirk Wübben" userId="a27602df-5b54-480c-866c-64260ceb4949" providerId="ADAL" clId="{6384D003-2B9C-4703-BBC3-6469E285D43F}" dt="2025-03-20T10:11:09.732" v="1579"/>
            <ac:spMkLst>
              <pc:docMk/>
              <pc:sldMasterMk cId="611449510" sldId="2147483686"/>
              <pc:sldLayoutMk cId="3483529345" sldId="2147483706"/>
              <ac:spMk id="15" creationId="{66AA4418-7009-4085-8DEB-87326FE74631}"/>
            </ac:spMkLst>
          </pc:spChg>
          <pc:spChg chg="add mod">
            <ac:chgData name="Dirk Wübben" userId="a27602df-5b54-480c-866c-64260ceb4949" providerId="ADAL" clId="{6384D003-2B9C-4703-BBC3-6469E285D43F}" dt="2025-03-20T10:11:09.732" v="1579"/>
            <ac:spMkLst>
              <pc:docMk/>
              <pc:sldMasterMk cId="611449510" sldId="2147483686"/>
              <pc:sldLayoutMk cId="3483529345" sldId="2147483706"/>
              <ac:spMk id="16" creationId="{2AC6389D-BD3A-460F-8798-0D605320A6E0}"/>
            </ac:spMkLst>
          </pc:spChg>
          <pc:spChg chg="add mod">
            <ac:chgData name="Dirk Wübben" userId="a27602df-5b54-480c-866c-64260ceb4949" providerId="ADAL" clId="{6384D003-2B9C-4703-BBC3-6469E285D43F}" dt="2025-03-20T10:11:09.732" v="1579"/>
            <ac:spMkLst>
              <pc:docMk/>
              <pc:sldMasterMk cId="611449510" sldId="2147483686"/>
              <pc:sldLayoutMk cId="3483529345" sldId="2147483706"/>
              <ac:spMk id="17" creationId="{62B7242D-9D05-48A0-80A4-BC7D66CC2187}"/>
            </ac:spMkLst>
          </pc:spChg>
        </pc:sldLayoutChg>
        <pc:sldLayoutChg chg="addSp delSp modSp mod modTransition">
          <pc:chgData name="Dirk Wübben" userId="a27602df-5b54-480c-866c-64260ceb4949" providerId="ADAL" clId="{6384D003-2B9C-4703-BBC3-6469E285D43F}" dt="2025-03-20T11:52:11.619" v="1972"/>
          <pc:sldLayoutMkLst>
            <pc:docMk/>
            <pc:sldMasterMk cId="611449510" sldId="2147483686"/>
            <pc:sldLayoutMk cId="2092867627" sldId="2147483707"/>
          </pc:sldLayoutMkLst>
          <pc:spChg chg="add mod">
            <ac:chgData name="Dirk Wübben" userId="a27602df-5b54-480c-866c-64260ceb4949" providerId="ADAL" clId="{6384D003-2B9C-4703-BBC3-6469E285D43F}" dt="2025-03-20T10:13:59.284" v="1615" actId="14100"/>
            <ac:spMkLst>
              <pc:docMk/>
              <pc:sldMasterMk cId="611449510" sldId="2147483686"/>
              <pc:sldLayoutMk cId="2092867627" sldId="2147483707"/>
              <ac:spMk id="3" creationId="{BE10681C-83B8-4223-A620-408004B1CA81}"/>
            </ac:spMkLst>
          </pc:spChg>
          <pc:spChg chg="add mod">
            <ac:chgData name="Dirk Wübben" userId="a27602df-5b54-480c-866c-64260ceb4949" providerId="ADAL" clId="{6384D003-2B9C-4703-BBC3-6469E285D43F}" dt="2025-03-20T10:14:52.557" v="1619"/>
            <ac:spMkLst>
              <pc:docMk/>
              <pc:sldMasterMk cId="611449510" sldId="2147483686"/>
              <pc:sldLayoutMk cId="2092867627" sldId="2147483707"/>
              <ac:spMk id="5" creationId="{17B69E67-EC49-49C9-8A86-FCC806717A0A}"/>
            </ac:spMkLst>
          </pc:spChg>
          <pc:spChg chg="add mod">
            <ac:chgData name="Dirk Wübben" userId="a27602df-5b54-480c-866c-64260ceb4949" providerId="ADAL" clId="{6384D003-2B9C-4703-BBC3-6469E285D43F}" dt="2025-03-20T10:14:52.557" v="1619"/>
            <ac:spMkLst>
              <pc:docMk/>
              <pc:sldMasterMk cId="611449510" sldId="2147483686"/>
              <pc:sldLayoutMk cId="2092867627" sldId="2147483707"/>
              <ac:spMk id="6" creationId="{47A98DBB-C0FF-4F22-80AD-A0FDD70D5FE0}"/>
            </ac:spMkLst>
          </pc:spChg>
          <pc:spChg chg="add mod">
            <ac:chgData name="Dirk Wübben" userId="a27602df-5b54-480c-866c-64260ceb4949" providerId="ADAL" clId="{6384D003-2B9C-4703-BBC3-6469E285D43F}" dt="2025-03-20T10:14:52.557" v="1619"/>
            <ac:spMkLst>
              <pc:docMk/>
              <pc:sldMasterMk cId="611449510" sldId="2147483686"/>
              <pc:sldLayoutMk cId="2092867627" sldId="2147483707"/>
              <ac:spMk id="7" creationId="{455A1E03-CA2B-4582-830B-FDBE33BA02B8}"/>
            </ac:spMkLst>
          </pc:spChg>
        </pc:sldLayoutChg>
        <pc:sldLayoutChg chg="del">
          <pc:chgData name="Dirk Wübben" userId="a27602df-5b54-480c-866c-64260ceb4949" providerId="ADAL" clId="{6384D003-2B9C-4703-BBC3-6469E285D43F}" dt="2025-03-28T08:54:52.455" v="4306" actId="47"/>
          <pc:sldLayoutMkLst>
            <pc:docMk/>
            <pc:sldMasterMk cId="611449510" sldId="2147483686"/>
            <pc:sldLayoutMk cId="457057690" sldId="2147483708"/>
          </pc:sldLayoutMkLst>
        </pc:sldLayoutChg>
        <pc:sldLayoutChg chg="del">
          <pc:chgData name="Dirk Wübben" userId="a27602df-5b54-480c-866c-64260ceb4949" providerId="ADAL" clId="{6384D003-2B9C-4703-BBC3-6469E285D43F}" dt="2025-03-20T10:21:38.872" v="1766" actId="47"/>
          <pc:sldLayoutMkLst>
            <pc:docMk/>
            <pc:sldMasterMk cId="611449510" sldId="2147483686"/>
            <pc:sldLayoutMk cId="1222100725" sldId="2147483708"/>
          </pc:sldLayoutMkLst>
        </pc:sldLayoutChg>
      </pc:sldMasterChg>
      <pc:sldMasterChg chg="addSp">
        <pc:chgData name="Dirk Wübben" userId="a27602df-5b54-480c-866c-64260ceb4949" providerId="ADAL" clId="{6384D003-2B9C-4703-BBC3-6469E285D43F}" dt="2025-03-20T10:08:11.014" v="1548"/>
        <pc:sldMasterMkLst>
          <pc:docMk/>
          <pc:sldMasterMk cId="405488641" sldId="2147483720"/>
        </pc:sldMasterMkLst>
      </pc:sldMasterChg>
      <pc:sldMasterChg chg="addSp">
        <pc:chgData name="Dirk Wübben" userId="a27602df-5b54-480c-866c-64260ceb4949" providerId="ADAL" clId="{6384D003-2B9C-4703-BBC3-6469E285D43F}" dt="2025-03-20T10:11:02.210" v="1564"/>
        <pc:sldMasterMkLst>
          <pc:docMk/>
          <pc:sldMasterMk cId="516765017" sldId="2147483720"/>
        </pc:sldMasterMkLst>
      </pc:sldMasterChg>
      <pc:sldMasterChg chg="addSp">
        <pc:chgData name="Dirk Wübben" userId="a27602df-5b54-480c-866c-64260ceb4949" providerId="ADAL" clId="{6384D003-2B9C-4703-BBC3-6469E285D43F}" dt="2025-03-20T10:07:52.440" v="1532"/>
        <pc:sldMasterMkLst>
          <pc:docMk/>
          <pc:sldMasterMk cId="2222420932" sldId="2147483720"/>
        </pc:sldMasterMkLst>
      </pc:sldMasterChg>
      <pc:sldMasterChg chg="del delSldLayout">
        <pc:chgData name="Dirk Wübben" userId="a27602df-5b54-480c-866c-64260ceb4949" providerId="ADAL" clId="{6384D003-2B9C-4703-BBC3-6469E285D43F}" dt="2025-03-05T10:35:12.232" v="1" actId="47"/>
        <pc:sldMasterMkLst>
          <pc:docMk/>
          <pc:sldMasterMk cId="1574006184" sldId="2147483723"/>
        </pc:sldMasterMkLst>
        <pc:sldLayoutChg chg="del">
          <pc:chgData name="Dirk Wübben" userId="a27602df-5b54-480c-866c-64260ceb4949" providerId="ADAL" clId="{6384D003-2B9C-4703-BBC3-6469E285D43F}" dt="2025-03-05T10:35:12.232" v="1" actId="47"/>
          <pc:sldLayoutMkLst>
            <pc:docMk/>
            <pc:sldMasterMk cId="1574006184" sldId="2147483723"/>
            <pc:sldLayoutMk cId="2175871649" sldId="2147483724"/>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4005501502" sldId="2147483725"/>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2879230695" sldId="2147483726"/>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3534971398" sldId="2147483727"/>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1560117913" sldId="2147483728"/>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2348990681" sldId="2147483729"/>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2947277438" sldId="2147483730"/>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1880653044" sldId="2147483731"/>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2383057182" sldId="2147483732"/>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2837426269" sldId="2147483733"/>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609228917" sldId="2147483734"/>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1467325669" sldId="2147483735"/>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2128938451" sldId="2147483736"/>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2880442337" sldId="2147483737"/>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2484995314" sldId="2147483738"/>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1371875038" sldId="2147483739"/>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702705872" sldId="2147483740"/>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475220269" sldId="2147483741"/>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903518807" sldId="2147483742"/>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929358077" sldId="2147483743"/>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31796694" sldId="2147483744"/>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1740401407" sldId="2147483745"/>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3966876535" sldId="2147483746"/>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1313196906" sldId="2147483747"/>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847166981" sldId="2147483748"/>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898968544" sldId="2147483749"/>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1816599303" sldId="2147483750"/>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1653811589" sldId="2147483751"/>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518899899" sldId="2147483752"/>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801903054" sldId="2147483753"/>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601156228" sldId="2147483754"/>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509959928" sldId="2147483755"/>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3792619065" sldId="2147483757"/>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1538889301" sldId="2147483758"/>
          </pc:sldLayoutMkLst>
        </pc:sldLayoutChg>
        <pc:sldLayoutChg chg="del">
          <pc:chgData name="Dirk Wübben" userId="a27602df-5b54-480c-866c-64260ceb4949" providerId="ADAL" clId="{6384D003-2B9C-4703-BBC3-6469E285D43F}" dt="2025-03-05T10:35:12.232" v="1" actId="47"/>
          <pc:sldLayoutMkLst>
            <pc:docMk/>
            <pc:sldMasterMk cId="1574006184" sldId="2147483723"/>
            <pc:sldLayoutMk cId="1890296825" sldId="2147483759"/>
          </pc:sldLayoutMkLst>
        </pc:sldLayoutChg>
      </pc:sldMasterChg>
    </pc:docChg>
  </pc:docChgLst>
  <pc:docChgLst>
    <pc:chgData name="Maike TADDIKEN (DSI)" userId="S::maike.taddiken_dsi-as.de#ext#@antunibremen.onmicrosoft.com::6657eb3a-1a1c-40e2-97f3-817609e7430a" providerId="AD" clId="Web-{E10FC6C2-E3BC-D0C4-EE73-21A87E2A1FCF}"/>
    <pc:docChg chg="modSld">
      <pc:chgData name="Maike TADDIKEN (DSI)" userId="S::maike.taddiken_dsi-as.de#ext#@antunibremen.onmicrosoft.com::6657eb3a-1a1c-40e2-97f3-817609e7430a" providerId="AD" clId="Web-{E10FC6C2-E3BC-D0C4-EE73-21A87E2A1FCF}" dt="2025-03-03T08:33:23.873" v="93"/>
      <pc:docMkLst>
        <pc:docMk/>
      </pc:docMkLst>
      <pc:sldChg chg="modSp">
        <pc:chgData name="Maike TADDIKEN (DSI)" userId="S::maike.taddiken_dsi-as.de#ext#@antunibremen.onmicrosoft.com::6657eb3a-1a1c-40e2-97f3-817609e7430a" providerId="AD" clId="Web-{E10FC6C2-E3BC-D0C4-EE73-21A87E2A1FCF}" dt="2025-03-03T08:33:23.873" v="93"/>
        <pc:sldMkLst>
          <pc:docMk/>
          <pc:sldMk cId="249829350" sldId="2147476980"/>
        </pc:sldMkLst>
      </pc:sldChg>
    </pc:docChg>
  </pc:docChgLst>
  <pc:docChgLst>
    <pc:chgData name="Maike TADDIKEN (DSI)" userId="S::maike.taddiken_dsi-as.de#ext#@antunibremen.onmicrosoft.com::6657eb3a-1a1c-40e2-97f3-817609e7430a" providerId="AD" clId="Web-{BBE359E2-ECA3-13FB-EB08-DF2E2663AEDF}"/>
    <pc:docChg chg="addSld delSld modSld sldOrd modSection">
      <pc:chgData name="Maike TADDIKEN (DSI)" userId="S::maike.taddiken_dsi-as.de#ext#@antunibremen.onmicrosoft.com::6657eb3a-1a1c-40e2-97f3-817609e7430a" providerId="AD" clId="Web-{BBE359E2-ECA3-13FB-EB08-DF2E2663AEDF}" dt="2025-03-04T08:17:26.887" v="311" actId="20577"/>
      <pc:docMkLst>
        <pc:docMk/>
      </pc:docMkLst>
      <pc:sldChg chg="addSp delSp modSp">
        <pc:chgData name="Maike TADDIKEN (DSI)" userId="S::maike.taddiken_dsi-as.de#ext#@antunibremen.onmicrosoft.com::6657eb3a-1a1c-40e2-97f3-817609e7430a" providerId="AD" clId="Web-{BBE359E2-ECA3-13FB-EB08-DF2E2663AEDF}" dt="2025-02-27T14:58:33.277" v="19" actId="1076"/>
        <pc:sldMkLst>
          <pc:docMk/>
          <pc:sldMk cId="2277072009" sldId="409"/>
        </pc:sldMkLst>
      </pc:sldChg>
      <pc:sldChg chg="addSp delSp modSp">
        <pc:chgData name="Maike TADDIKEN (DSI)" userId="S::maike.taddiken_dsi-as.de#ext#@antunibremen.onmicrosoft.com::6657eb3a-1a1c-40e2-97f3-817609e7430a" providerId="AD" clId="Web-{BBE359E2-ECA3-13FB-EB08-DF2E2663AEDF}" dt="2025-02-27T14:55:26.130" v="9" actId="14100"/>
        <pc:sldMkLst>
          <pc:docMk/>
          <pc:sldMk cId="1903714414" sldId="416"/>
        </pc:sldMkLst>
      </pc:sldChg>
      <pc:sldChg chg="ord">
        <pc:chgData name="Maike TADDIKEN (DSI)" userId="S::maike.taddiken_dsi-as.de#ext#@antunibremen.onmicrosoft.com::6657eb3a-1a1c-40e2-97f3-817609e7430a" providerId="AD" clId="Web-{BBE359E2-ECA3-13FB-EB08-DF2E2663AEDF}" dt="2025-02-27T15:01:50.971" v="20"/>
        <pc:sldMkLst>
          <pc:docMk/>
          <pc:sldMk cId="2275402349" sldId="2147476960"/>
        </pc:sldMkLst>
      </pc:sldChg>
      <pc:sldChg chg="new del">
        <pc:chgData name="Maike TADDIKEN (DSI)" userId="S::maike.taddiken_dsi-as.de#ext#@antunibremen.onmicrosoft.com::6657eb3a-1a1c-40e2-97f3-817609e7430a" providerId="AD" clId="Web-{BBE359E2-ECA3-13FB-EB08-DF2E2663AEDF}" dt="2025-02-27T15:04:58.603" v="48"/>
        <pc:sldMkLst>
          <pc:docMk/>
          <pc:sldMk cId="2929898029" sldId="2147476970"/>
        </pc:sldMkLst>
      </pc:sldChg>
      <pc:sldChg chg="modSp add del replId">
        <pc:chgData name="Maike TADDIKEN (DSI)" userId="S::maike.taddiken_dsi-as.de#ext#@antunibremen.onmicrosoft.com::6657eb3a-1a1c-40e2-97f3-817609e7430a" providerId="AD" clId="Web-{BBE359E2-ECA3-13FB-EB08-DF2E2663AEDF}" dt="2025-02-27T15:06:34.169" v="49"/>
        <pc:sldMkLst>
          <pc:docMk/>
          <pc:sldMk cId="3647617379" sldId="2147476971"/>
        </pc:sldMkLst>
      </pc:sldChg>
      <pc:sldChg chg="addSp delSp modSp add replId">
        <pc:chgData name="Maike TADDIKEN (DSI)" userId="S::maike.taddiken_dsi-as.de#ext#@antunibremen.onmicrosoft.com::6657eb3a-1a1c-40e2-97f3-817609e7430a" providerId="AD" clId="Web-{BBE359E2-ECA3-13FB-EB08-DF2E2663AEDF}" dt="2025-03-04T08:17:26.887" v="311" actId="20577"/>
        <pc:sldMkLst>
          <pc:docMk/>
          <pc:sldMk cId="1159854652" sldId="2147476996"/>
        </pc:sldMkLst>
      </pc:sldChg>
    </pc:docChg>
  </pc:docChgLst>
  <pc:docChgLst>
    <pc:chgData name="herbst@otaris.de" userId="S::herbst_otaris.de#ext#@antunibremen.onmicrosoft.com::cda1c2c2-ea13-4aa8-a0c6-7af0ed80aac7" providerId="AD" clId="Web-{28879985-8242-63C4-68C4-820894956540}"/>
    <pc:docChg chg="addSld delSld modSld modSection">
      <pc:chgData name="herbst@otaris.de" userId="S::herbst_otaris.de#ext#@antunibremen.onmicrosoft.com::cda1c2c2-ea13-4aa8-a0c6-7af0ed80aac7" providerId="AD" clId="Web-{28879985-8242-63C4-68C4-820894956540}" dt="2025-02-28T15:03:31.900" v="253"/>
      <pc:docMkLst>
        <pc:docMk/>
      </pc:docMkLst>
      <pc:sldChg chg="addSp modSp add">
        <pc:chgData name="herbst@otaris.de" userId="S::herbst_otaris.de#ext#@antunibremen.onmicrosoft.com::cda1c2c2-ea13-4aa8-a0c6-7af0ed80aac7" providerId="AD" clId="Web-{28879985-8242-63C4-68C4-820894956540}" dt="2025-02-28T15:03:31.900" v="253"/>
        <pc:sldMkLst>
          <pc:docMk/>
          <pc:sldMk cId="2543217205" sldId="2147472577"/>
        </pc:sldMkLst>
      </pc:sldChg>
      <pc:sldChg chg="addSp modSp add">
        <pc:chgData name="herbst@otaris.de" userId="S::herbst_otaris.de#ext#@antunibremen.onmicrosoft.com::cda1c2c2-ea13-4aa8-a0c6-7af0ed80aac7" providerId="AD" clId="Web-{28879985-8242-63C4-68C4-820894956540}" dt="2025-02-28T15:03:12.540" v="249" actId="1076"/>
        <pc:sldMkLst>
          <pc:docMk/>
          <pc:sldMk cId="1773030842" sldId="2147472582"/>
        </pc:sldMkLst>
      </pc:sldChg>
      <pc:sldChg chg="add del">
        <pc:chgData name="herbst@otaris.de" userId="S::herbst_otaris.de#ext#@antunibremen.onmicrosoft.com::cda1c2c2-ea13-4aa8-a0c6-7af0ed80aac7" providerId="AD" clId="Web-{28879985-8242-63C4-68C4-820894956540}" dt="2025-02-28T15:02:31.773" v="244"/>
        <pc:sldMkLst>
          <pc:docMk/>
          <pc:sldMk cId="1462118425" sldId="2147472583"/>
        </pc:sldMkLst>
      </pc:sldChg>
      <pc:sldChg chg="addSp modSp add">
        <pc:chgData name="herbst@otaris.de" userId="S::herbst_otaris.de#ext#@antunibremen.onmicrosoft.com::cda1c2c2-ea13-4aa8-a0c6-7af0ed80aac7" providerId="AD" clId="Web-{28879985-8242-63C4-68C4-820894956540}" dt="2025-02-28T15:03:24.635" v="251" actId="1076"/>
        <pc:sldMkLst>
          <pc:docMk/>
          <pc:sldMk cId="1714979313" sldId="2147472584"/>
        </pc:sldMkLst>
      </pc:sldChg>
      <pc:sldChg chg="addSp modSp add">
        <pc:chgData name="herbst@otaris.de" userId="S::herbst_otaris.de#ext#@antunibremen.onmicrosoft.com::cda1c2c2-ea13-4aa8-a0c6-7af0ed80aac7" providerId="AD" clId="Web-{28879985-8242-63C4-68C4-820894956540}" dt="2025-02-28T15:02:49.602" v="246" actId="1076"/>
        <pc:sldMkLst>
          <pc:docMk/>
          <pc:sldMk cId="3484443876" sldId="2147472585"/>
        </pc:sldMkLst>
      </pc:sldChg>
      <pc:sldChg chg="modSp">
        <pc:chgData name="herbst@otaris.de" userId="S::herbst_otaris.de#ext#@antunibremen.onmicrosoft.com::cda1c2c2-ea13-4aa8-a0c6-7af0ed80aac7" providerId="AD" clId="Web-{28879985-8242-63C4-68C4-820894956540}" dt="2025-02-28T15:02:01.366" v="243"/>
        <pc:sldMkLst>
          <pc:docMk/>
          <pc:sldMk cId="1139371620" sldId="2147476935"/>
        </pc:sldMkLst>
      </pc:sldChg>
      <pc:sldChg chg="addSp delSp modSp add replId">
        <pc:chgData name="herbst@otaris.de" userId="S::herbst_otaris.de#ext#@antunibremen.onmicrosoft.com::cda1c2c2-ea13-4aa8-a0c6-7af0ed80aac7" providerId="AD" clId="Web-{28879985-8242-63C4-68C4-820894956540}" dt="2025-02-28T15:01:54.413" v="241" actId="20577"/>
        <pc:sldMkLst>
          <pc:docMk/>
          <pc:sldMk cId="363272874" sldId="2147476978"/>
        </pc:sldMkLst>
      </pc:sldChg>
      <pc:sldChg chg="addSp modSp add">
        <pc:chgData name="herbst@otaris.de" userId="S::herbst_otaris.de#ext#@antunibremen.onmicrosoft.com::cda1c2c2-ea13-4aa8-a0c6-7af0ed80aac7" providerId="AD" clId="Web-{28879985-8242-63C4-68C4-820894956540}" dt="2025-02-28T15:01:48.522" v="240" actId="1076"/>
        <pc:sldMkLst>
          <pc:docMk/>
          <pc:sldMk cId="1599539662" sldId="2147476979"/>
        </pc:sldMkLst>
      </pc:sldChg>
    </pc:docChg>
  </pc:docChgLst>
  <pc:docChgLst>
    <pc:chgData name="Alexander Herbst" userId="e9713c7a-0a8c-4b92-92d1-6540c06c2c4b" providerId="ADAL" clId="{EB74FC19-2178-44EB-AF3D-B4D70E63D589}"/>
    <pc:docChg chg="undo custSel addSld delSld modSld sldOrd addSection modSection">
      <pc:chgData name="Alexander Herbst" userId="e9713c7a-0a8c-4b92-92d1-6540c06c2c4b" providerId="ADAL" clId="{EB74FC19-2178-44EB-AF3D-B4D70E63D589}" dt="2025-03-31T06:34:14.173" v="2010" actId="313"/>
      <pc:docMkLst>
        <pc:docMk/>
      </pc:docMkLst>
      <pc:sldChg chg="add mod modShow">
        <pc:chgData name="Alexander Herbst" userId="e9713c7a-0a8c-4b92-92d1-6540c06c2c4b" providerId="ADAL" clId="{EB74FC19-2178-44EB-AF3D-B4D70E63D589}" dt="2025-03-26T11:26:36.649" v="58" actId="729"/>
        <pc:sldMkLst>
          <pc:docMk/>
          <pc:sldMk cId="1812134370" sldId="2147476951"/>
        </pc:sldMkLst>
      </pc:sldChg>
      <pc:sldChg chg="modSp add del mod modNotesTx">
        <pc:chgData name="Alexander Herbst" userId="e9713c7a-0a8c-4b92-92d1-6540c06c2c4b" providerId="ADAL" clId="{EB74FC19-2178-44EB-AF3D-B4D70E63D589}" dt="2025-03-26T11:26:40.213" v="60" actId="47"/>
        <pc:sldMkLst>
          <pc:docMk/>
          <pc:sldMk cId="1338731232" sldId="2147476964"/>
        </pc:sldMkLst>
      </pc:sldChg>
      <pc:sldChg chg="modSp add mod ord">
        <pc:chgData name="Alexander Herbst" userId="e9713c7a-0a8c-4b92-92d1-6540c06c2c4b" providerId="ADAL" clId="{EB74FC19-2178-44EB-AF3D-B4D70E63D589}" dt="2025-03-25T08:54:44.419" v="12" actId="20577"/>
        <pc:sldMkLst>
          <pc:docMk/>
          <pc:sldMk cId="1255820952" sldId="2147477058"/>
        </pc:sldMkLst>
      </pc:sldChg>
      <pc:sldChg chg="new del">
        <pc:chgData name="Alexander Herbst" userId="e9713c7a-0a8c-4b92-92d1-6540c06c2c4b" providerId="ADAL" clId="{EB74FC19-2178-44EB-AF3D-B4D70E63D589}" dt="2025-03-25T08:54:29.646" v="1" actId="47"/>
        <pc:sldMkLst>
          <pc:docMk/>
          <pc:sldMk cId="1778172367" sldId="2147477058"/>
        </pc:sldMkLst>
      </pc:sldChg>
      <pc:sldChg chg="new del">
        <pc:chgData name="Alexander Herbst" userId="e9713c7a-0a8c-4b92-92d1-6540c06c2c4b" providerId="ADAL" clId="{EB74FC19-2178-44EB-AF3D-B4D70E63D589}" dt="2025-03-25T09:00:47.888" v="16" actId="2696"/>
        <pc:sldMkLst>
          <pc:docMk/>
          <pc:sldMk cId="2258045205" sldId="2147477059"/>
        </pc:sldMkLst>
      </pc:sldChg>
      <pc:sldChg chg="modSp add del mod modTransition">
        <pc:chgData name="Alexander Herbst" userId="e9713c7a-0a8c-4b92-92d1-6540c06c2c4b" providerId="ADAL" clId="{EB74FC19-2178-44EB-AF3D-B4D70E63D589}" dt="2025-03-26T11:27:13.749" v="63"/>
        <pc:sldMkLst>
          <pc:docMk/>
          <pc:sldMk cId="3324196512" sldId="2147477059"/>
        </pc:sldMkLst>
      </pc:sldChg>
      <pc:sldChg chg="add del">
        <pc:chgData name="Alexander Herbst" userId="e9713c7a-0a8c-4b92-92d1-6540c06c2c4b" providerId="ADAL" clId="{EB74FC19-2178-44EB-AF3D-B4D70E63D589}" dt="2025-03-25T09:00:58.031" v="18" actId="47"/>
        <pc:sldMkLst>
          <pc:docMk/>
          <pc:sldMk cId="3384877557" sldId="2147477059"/>
        </pc:sldMkLst>
      </pc:sldChg>
      <pc:sldChg chg="modSp add mod">
        <pc:chgData name="Alexander Herbst" userId="e9713c7a-0a8c-4b92-92d1-6540c06c2c4b" providerId="ADAL" clId="{EB74FC19-2178-44EB-AF3D-B4D70E63D589}" dt="2025-03-26T11:39:09.598" v="109" actId="1076"/>
        <pc:sldMkLst>
          <pc:docMk/>
          <pc:sldMk cId="66773229" sldId="2147477069"/>
        </pc:sldMkLst>
      </pc:sldChg>
      <pc:sldChg chg="add">
        <pc:chgData name="Alexander Herbst" userId="e9713c7a-0a8c-4b92-92d1-6540c06c2c4b" providerId="ADAL" clId="{EB74FC19-2178-44EB-AF3D-B4D70E63D589}" dt="2025-03-26T11:26:56.782" v="62"/>
        <pc:sldMkLst>
          <pc:docMk/>
          <pc:sldMk cId="1584862798" sldId="2147477072"/>
        </pc:sldMkLst>
      </pc:sldChg>
      <pc:sldChg chg="modNotesTx">
        <pc:chgData name="Alexander Herbst" userId="e9713c7a-0a8c-4b92-92d1-6540c06c2c4b" providerId="ADAL" clId="{EB74FC19-2178-44EB-AF3D-B4D70E63D589}" dt="2025-03-31T06:28:31.023" v="1232" actId="20577"/>
        <pc:sldMkLst>
          <pc:docMk/>
          <pc:sldMk cId="1308736631" sldId="2147477073"/>
        </pc:sldMkLst>
      </pc:sldChg>
      <pc:sldChg chg="modSp add mod modNotesTx">
        <pc:chgData name="Alexander Herbst" userId="e9713c7a-0a8c-4b92-92d1-6540c06c2c4b" providerId="ADAL" clId="{EB74FC19-2178-44EB-AF3D-B4D70E63D589}" dt="2025-03-31T06:34:14.173" v="2010" actId="313"/>
        <pc:sldMkLst>
          <pc:docMk/>
          <pc:sldMk cId="3757193397" sldId="2147477077"/>
        </pc:sldMkLst>
        <pc:spChg chg="mod">
          <ac:chgData name="Alexander Herbst" userId="e9713c7a-0a8c-4b92-92d1-6540c06c2c4b" providerId="ADAL" clId="{EB74FC19-2178-44EB-AF3D-B4D70E63D589}" dt="2025-03-28T10:45:50.664" v="200" actId="255"/>
          <ac:spMkLst>
            <pc:docMk/>
            <pc:sldMk cId="3757193397" sldId="2147477077"/>
            <ac:spMk id="3" creationId="{6BE873F6-18A5-5ED0-CAF6-E665DBC70CB6}"/>
          </ac:spMkLst>
        </pc:spChg>
      </pc:sldChg>
    </pc:docChg>
  </pc:docChgLst>
  <pc:docChgLst>
    <pc:chgData name="Hammouda Marwan" userId="S::hammouda@ant.uni-bremen.de::141c87ca-9386-4b1c-88e0-e9251bd241ba" providerId="AD" clId="Web-{EE027509-171A-5CD9-BB42-4B89EE675929}"/>
    <pc:docChg chg="modSld">
      <pc:chgData name="Hammouda Marwan" userId="S::hammouda@ant.uni-bremen.de::141c87ca-9386-4b1c-88e0-e9251bd241ba" providerId="AD" clId="Web-{EE027509-171A-5CD9-BB42-4B89EE675929}" dt="2025-03-28T14:02:59.766" v="226" actId="20577"/>
      <pc:docMkLst>
        <pc:docMk/>
      </pc:docMkLst>
      <pc:sldChg chg="addSp delSp modSp">
        <pc:chgData name="Hammouda Marwan" userId="S::hammouda@ant.uni-bremen.de::141c87ca-9386-4b1c-88e0-e9251bd241ba" providerId="AD" clId="Web-{EE027509-171A-5CD9-BB42-4B89EE675929}" dt="2025-03-28T14:02:59.766" v="226" actId="20577"/>
        <pc:sldMkLst>
          <pc:docMk/>
          <pc:sldMk cId="2599621944" sldId="2147477075"/>
        </pc:sldMkLst>
        <pc:spChg chg="mod">
          <ac:chgData name="Hammouda Marwan" userId="S::hammouda@ant.uni-bremen.de::141c87ca-9386-4b1c-88e0-e9251bd241ba" providerId="AD" clId="Web-{EE027509-171A-5CD9-BB42-4B89EE675929}" dt="2025-03-28T13:22:27.201" v="114" actId="1076"/>
          <ac:spMkLst>
            <pc:docMk/>
            <pc:sldMk cId="2599621944" sldId="2147477075"/>
            <ac:spMk id="2" creationId="{38F80290-CFCA-43EB-AB1D-738E632A410C}"/>
          </ac:spMkLst>
        </pc:spChg>
        <pc:spChg chg="mod">
          <ac:chgData name="Hammouda Marwan" userId="S::hammouda@ant.uni-bremen.de::141c87ca-9386-4b1c-88e0-e9251bd241ba" providerId="AD" clId="Web-{EE027509-171A-5CD9-BB42-4B89EE675929}" dt="2025-03-28T14:02:59.766" v="226" actId="20577"/>
          <ac:spMkLst>
            <pc:docMk/>
            <pc:sldMk cId="2599621944" sldId="2147477075"/>
            <ac:spMk id="3" creationId="{AC599F71-A8FD-409D-BA5F-8847061908C1}"/>
          </ac:spMkLst>
        </pc:spChg>
        <pc:spChg chg="mod">
          <ac:chgData name="Hammouda Marwan" userId="S::hammouda@ant.uni-bremen.de::141c87ca-9386-4b1c-88e0-e9251bd241ba" providerId="AD" clId="Web-{EE027509-171A-5CD9-BB42-4B89EE675929}" dt="2025-03-28T13:22:44.546" v="124" actId="1076"/>
          <ac:spMkLst>
            <pc:docMk/>
            <pc:sldMk cId="2599621944" sldId="2147477075"/>
            <ac:spMk id="4" creationId="{9428B25E-7E79-4D6D-9E3B-09EF8BD6B9F2}"/>
          </ac:spMkLst>
        </pc:spChg>
        <pc:spChg chg="add mod">
          <ac:chgData name="Hammouda Marwan" userId="S::hammouda@ant.uni-bremen.de::141c87ca-9386-4b1c-88e0-e9251bd241ba" providerId="AD" clId="Web-{EE027509-171A-5CD9-BB42-4B89EE675929}" dt="2025-03-28T13:22:40.077" v="122" actId="1076"/>
          <ac:spMkLst>
            <pc:docMk/>
            <pc:sldMk cId="2599621944" sldId="2147477075"/>
            <ac:spMk id="5" creationId="{FB760828-BABF-AD4F-FAE9-2E2760994BAD}"/>
          </ac:spMkLst>
        </pc:spChg>
        <pc:spChg chg="add mod">
          <ac:chgData name="Hammouda Marwan" userId="S::hammouda@ant.uni-bremen.de::141c87ca-9386-4b1c-88e0-e9251bd241ba" providerId="AD" clId="Web-{EE027509-171A-5CD9-BB42-4B89EE675929}" dt="2025-03-28T13:22:40.092" v="123" actId="1076"/>
          <ac:spMkLst>
            <pc:docMk/>
            <pc:sldMk cId="2599621944" sldId="2147477075"/>
            <ac:spMk id="9" creationId="{4230DDB9-B211-FCEE-D6B8-38D1AAD5D89C}"/>
          </ac:spMkLst>
        </pc:spChg>
        <pc:spChg chg="mod">
          <ac:chgData name="Hammouda Marwan" userId="S::hammouda@ant.uni-bremen.de::141c87ca-9386-4b1c-88e0-e9251bd241ba" providerId="AD" clId="Web-{EE027509-171A-5CD9-BB42-4B89EE675929}" dt="2025-03-28T13:22:39.983" v="116" actId="1076"/>
          <ac:spMkLst>
            <pc:docMk/>
            <pc:sldMk cId="2599621944" sldId="2147477075"/>
            <ac:spMk id="10" creationId="{98B66DDC-A4B9-4AC9-A3A3-2D817E0A6674}"/>
          </ac:spMkLst>
        </pc:spChg>
        <pc:spChg chg="mod">
          <ac:chgData name="Hammouda Marwan" userId="S::hammouda@ant.uni-bremen.de::141c87ca-9386-4b1c-88e0-e9251bd241ba" providerId="AD" clId="Web-{EE027509-171A-5CD9-BB42-4B89EE675929}" dt="2025-03-28T13:22:44.546" v="125" actId="1076"/>
          <ac:spMkLst>
            <pc:docMk/>
            <pc:sldMk cId="2599621944" sldId="2147477075"/>
            <ac:spMk id="12" creationId="{52FF4736-9B0D-408E-AAB0-26D51EA57E05}"/>
          </ac:spMkLst>
        </pc:spChg>
        <pc:spChg chg="mod">
          <ac:chgData name="Hammouda Marwan" userId="S::hammouda@ant.uni-bremen.de::141c87ca-9386-4b1c-88e0-e9251bd241ba" providerId="AD" clId="Web-{EE027509-171A-5CD9-BB42-4B89EE675929}" dt="2025-03-28T13:22:44.561" v="126" actId="1076"/>
          <ac:spMkLst>
            <pc:docMk/>
            <pc:sldMk cId="2599621944" sldId="2147477075"/>
            <ac:spMk id="13" creationId="{743B1652-2310-4DB3-A000-E721FA160CA8}"/>
          </ac:spMkLst>
        </pc:spChg>
        <pc:spChg chg="mod">
          <ac:chgData name="Hammouda Marwan" userId="S::hammouda@ant.uni-bremen.de::141c87ca-9386-4b1c-88e0-e9251bd241ba" providerId="AD" clId="Web-{EE027509-171A-5CD9-BB42-4B89EE675929}" dt="2025-03-28T13:22:44.577" v="128" actId="1076"/>
          <ac:spMkLst>
            <pc:docMk/>
            <pc:sldMk cId="2599621944" sldId="2147477075"/>
            <ac:spMk id="16" creationId="{28AC140A-4FC6-49B8-A60A-0891D2CE51F7}"/>
          </ac:spMkLst>
        </pc:spChg>
        <pc:spChg chg="mod">
          <ac:chgData name="Hammouda Marwan" userId="S::hammouda@ant.uni-bremen.de::141c87ca-9386-4b1c-88e0-e9251bd241ba" providerId="AD" clId="Web-{EE027509-171A-5CD9-BB42-4B89EE675929}" dt="2025-03-28T13:22:44.577" v="129" actId="1076"/>
          <ac:spMkLst>
            <pc:docMk/>
            <pc:sldMk cId="2599621944" sldId="2147477075"/>
            <ac:spMk id="17" creationId="{EE613CD6-6BC1-4A01-9237-736D7ED6A7E2}"/>
          </ac:spMkLst>
        </pc:spChg>
        <pc:spChg chg="mod">
          <ac:chgData name="Hammouda Marwan" userId="S::hammouda@ant.uni-bremen.de::141c87ca-9386-4b1c-88e0-e9251bd241ba" providerId="AD" clId="Web-{EE027509-171A-5CD9-BB42-4B89EE675929}" dt="2025-03-28T13:22:44.593" v="130" actId="1076"/>
          <ac:spMkLst>
            <pc:docMk/>
            <pc:sldMk cId="2599621944" sldId="2147477075"/>
            <ac:spMk id="18" creationId="{40CC9DF5-2138-461D-9CB4-C6DE39333350}"/>
          </ac:spMkLst>
        </pc:spChg>
        <pc:spChg chg="mod">
          <ac:chgData name="Hammouda Marwan" userId="S::hammouda@ant.uni-bremen.de::141c87ca-9386-4b1c-88e0-e9251bd241ba" providerId="AD" clId="Web-{EE027509-171A-5CD9-BB42-4B89EE675929}" dt="2025-03-28T13:22:39.983" v="117" actId="1076"/>
          <ac:spMkLst>
            <pc:docMk/>
            <pc:sldMk cId="2599621944" sldId="2147477075"/>
            <ac:spMk id="19" creationId="{50E92167-E58C-454D-93E8-2262DFFBE6C3}"/>
          </ac:spMkLst>
        </pc:spChg>
        <pc:spChg chg="mod">
          <ac:chgData name="Hammouda Marwan" userId="S::hammouda@ant.uni-bremen.de::141c87ca-9386-4b1c-88e0-e9251bd241ba" providerId="AD" clId="Web-{EE027509-171A-5CD9-BB42-4B89EE675929}" dt="2025-03-28T13:22:40.045" v="119" actId="1076"/>
          <ac:spMkLst>
            <pc:docMk/>
            <pc:sldMk cId="2599621944" sldId="2147477075"/>
            <ac:spMk id="34" creationId="{9A27BAA8-25AD-7E30-AF94-5692B73AE997}"/>
          </ac:spMkLst>
        </pc:spChg>
        <pc:spChg chg="mod">
          <ac:chgData name="Hammouda Marwan" userId="S::hammouda@ant.uni-bremen.de::141c87ca-9386-4b1c-88e0-e9251bd241ba" providerId="AD" clId="Web-{EE027509-171A-5CD9-BB42-4B89EE675929}" dt="2025-03-28T13:22:40.061" v="120" actId="1076"/>
          <ac:spMkLst>
            <pc:docMk/>
            <pc:sldMk cId="2599621944" sldId="2147477075"/>
            <ac:spMk id="35" creationId="{996878AE-0EE5-6282-1C5E-EF47F1D4CD63}"/>
          </ac:spMkLst>
        </pc:spChg>
        <pc:spChg chg="mod">
          <ac:chgData name="Hammouda Marwan" userId="S::hammouda@ant.uni-bremen.de::141c87ca-9386-4b1c-88e0-e9251bd241ba" providerId="AD" clId="Web-{EE027509-171A-5CD9-BB42-4B89EE675929}" dt="2025-03-28T13:22:40.077" v="121" actId="1076"/>
          <ac:spMkLst>
            <pc:docMk/>
            <pc:sldMk cId="2599621944" sldId="2147477075"/>
            <ac:spMk id="36" creationId="{A41859CF-6806-E9DC-494E-E29DF6543F5F}"/>
          </ac:spMkLst>
        </pc:spChg>
        <pc:picChg chg="mod">
          <ac:chgData name="Hammouda Marwan" userId="S::hammouda@ant.uni-bremen.de::141c87ca-9386-4b1c-88e0-e9251bd241ba" providerId="AD" clId="Web-{EE027509-171A-5CD9-BB42-4B89EE675929}" dt="2025-03-28T13:22:39.967" v="115" actId="1076"/>
          <ac:picMkLst>
            <pc:docMk/>
            <pc:sldMk cId="2599621944" sldId="2147477075"/>
            <ac:picMk id="6" creationId="{5CF42BF4-FA91-4B28-8571-42C643D57FA7}"/>
          </ac:picMkLst>
        </pc:picChg>
        <pc:picChg chg="mod">
          <ac:chgData name="Hammouda Marwan" userId="S::hammouda@ant.uni-bremen.de::141c87ca-9386-4b1c-88e0-e9251bd241ba" providerId="AD" clId="Web-{EE027509-171A-5CD9-BB42-4B89EE675929}" dt="2025-03-28T13:22:40.045" v="118" actId="1076"/>
          <ac:picMkLst>
            <pc:docMk/>
            <pc:sldMk cId="2599621944" sldId="2147477075"/>
            <ac:picMk id="33" creationId="{87742679-00EA-73A9-1D8C-DD0057E75721}"/>
          </ac:picMkLst>
        </pc:picChg>
        <pc:cxnChg chg="mod">
          <ac:chgData name="Hammouda Marwan" userId="S::hammouda@ant.uni-bremen.de::141c87ca-9386-4b1c-88e0-e9251bd241ba" providerId="AD" clId="Web-{EE027509-171A-5CD9-BB42-4B89EE675929}" dt="2025-03-28T13:22:44.561" v="127" actId="1076"/>
          <ac:cxnSpMkLst>
            <pc:docMk/>
            <pc:sldMk cId="2599621944" sldId="2147477075"/>
            <ac:cxnSpMk id="15" creationId="{3AE381AC-7FBC-45E1-8443-DDCDE522A6D3}"/>
          </ac:cxnSpMkLst>
        </pc:cxnChg>
      </pc:sldChg>
    </pc:docChg>
  </pc:docChgLst>
  <pc:docChgLst>
    <pc:chgData name="Hammouda Marwan" userId="S::hammouda@ant.uni-bremen.de::141c87ca-9386-4b1c-88e0-e9251bd241ba" providerId="AD" clId="Web-{27A616AE-B6EB-33C7-D296-0F73B0A36C02}"/>
    <pc:docChg chg="addSld modSld sldOrd modSection">
      <pc:chgData name="Hammouda Marwan" userId="S::hammouda@ant.uni-bremen.de::141c87ca-9386-4b1c-88e0-e9251bd241ba" providerId="AD" clId="Web-{27A616AE-B6EB-33C7-D296-0F73B0A36C02}" dt="2024-10-23T09:33:19.674" v="84" actId="1076"/>
      <pc:docMkLst>
        <pc:docMk/>
      </pc:docMkLst>
      <pc:sldChg chg="modSp ord">
        <pc:chgData name="Hammouda Marwan" userId="S::hammouda@ant.uni-bremen.de::141c87ca-9386-4b1c-88e0-e9251bd241ba" providerId="AD" clId="Web-{27A616AE-B6EB-33C7-D296-0F73B0A36C02}" dt="2024-10-23T09:29:04.781" v="73" actId="20577"/>
        <pc:sldMkLst>
          <pc:docMk/>
          <pc:sldMk cId="95809100" sldId="2147472554"/>
        </pc:sldMkLst>
      </pc:sldChg>
      <pc:sldChg chg="addSp delSp modSp">
        <pc:chgData name="Hammouda Marwan" userId="S::hammouda@ant.uni-bremen.de::141c87ca-9386-4b1c-88e0-e9251bd241ba" providerId="AD" clId="Web-{27A616AE-B6EB-33C7-D296-0F73B0A36C02}" dt="2024-10-23T09:26:38.318" v="69" actId="1076"/>
        <pc:sldMkLst>
          <pc:docMk/>
          <pc:sldMk cId="2951542647" sldId="2147476911"/>
        </pc:sldMkLst>
      </pc:sldChg>
      <pc:sldChg chg="add replId">
        <pc:chgData name="Hammouda Marwan" userId="S::hammouda@ant.uni-bremen.de::141c87ca-9386-4b1c-88e0-e9251bd241ba" providerId="AD" clId="Web-{27A616AE-B6EB-33C7-D296-0F73B0A36C02}" dt="2024-10-23T09:20:01.571" v="14"/>
        <pc:sldMkLst>
          <pc:docMk/>
          <pc:sldMk cId="3101646741" sldId="2147476918"/>
        </pc:sldMkLst>
      </pc:sldChg>
      <pc:sldChg chg="addSp delSp modSp add replId">
        <pc:chgData name="Hammouda Marwan" userId="S::hammouda@ant.uni-bremen.de::141c87ca-9386-4b1c-88e0-e9251bd241ba" providerId="AD" clId="Web-{27A616AE-B6EB-33C7-D296-0F73B0A36C02}" dt="2024-10-23T09:33:19.674" v="84" actId="1076"/>
        <pc:sldMkLst>
          <pc:docMk/>
          <pc:sldMk cId="1324875567" sldId="2147476919"/>
        </pc:sldMkLst>
      </pc:sldChg>
    </pc:docChg>
  </pc:docChgLst>
  <pc:docChgLst>
    <pc:chgData name="Álvaro HERNANDO LÓPEZ (FERCHAU)" userId="7960b7a3-f1c3-40c1-b1cd-339346c7c44c" providerId="ADAL" clId="{70303EA2-4F81-44F4-9108-BDD2E16B57C7}"/>
    <pc:docChg chg="undo redo custSel addSld delSld modSld modSection">
      <pc:chgData name="Álvaro HERNANDO LÓPEZ (FERCHAU)" userId="7960b7a3-f1c3-40c1-b1cd-339346c7c44c" providerId="ADAL" clId="{70303EA2-4F81-44F4-9108-BDD2E16B57C7}" dt="2025-03-28T13:32:13.793" v="6645" actId="20577"/>
      <pc:docMkLst>
        <pc:docMk/>
      </pc:docMkLst>
      <pc:sldChg chg="modSp mod">
        <pc:chgData name="Álvaro HERNANDO LÓPEZ (FERCHAU)" userId="7960b7a3-f1c3-40c1-b1cd-339346c7c44c" providerId="ADAL" clId="{70303EA2-4F81-44F4-9108-BDD2E16B57C7}" dt="2025-03-24T10:16:04.449" v="130" actId="1076"/>
        <pc:sldMkLst>
          <pc:docMk/>
          <pc:sldMk cId="3216846148" sldId="2147476958"/>
        </pc:sldMkLst>
      </pc:sldChg>
      <pc:sldChg chg="modSp mod">
        <pc:chgData name="Álvaro HERNANDO LÓPEZ (FERCHAU)" userId="7960b7a3-f1c3-40c1-b1cd-339346c7c44c" providerId="ADAL" clId="{70303EA2-4F81-44F4-9108-BDD2E16B57C7}" dt="2025-03-24T09:47:18.626" v="4" actId="1035"/>
        <pc:sldMkLst>
          <pc:docMk/>
          <pc:sldMk cId="3161152169" sldId="2147477035"/>
        </pc:sldMkLst>
        <pc:spChg chg="mod">
          <ac:chgData name="Álvaro HERNANDO LÓPEZ (FERCHAU)" userId="7960b7a3-f1c3-40c1-b1cd-339346c7c44c" providerId="ADAL" clId="{70303EA2-4F81-44F4-9108-BDD2E16B57C7}" dt="2025-03-24T09:47:18.626" v="4" actId="1035"/>
          <ac:spMkLst>
            <pc:docMk/>
            <pc:sldMk cId="3161152169" sldId="2147477035"/>
            <ac:spMk id="2" creationId="{2AF3EA10-2C0D-42B9-97DF-E52A052E36C9}"/>
          </ac:spMkLst>
        </pc:spChg>
      </pc:sldChg>
      <pc:sldChg chg="addSp delSp modSp add del mod modTransition modNotesTx">
        <pc:chgData name="Álvaro HERNANDO LÓPEZ (FERCHAU)" userId="7960b7a3-f1c3-40c1-b1cd-339346c7c44c" providerId="ADAL" clId="{70303EA2-4F81-44F4-9108-BDD2E16B57C7}" dt="2025-03-28T13:32:13.793" v="6645" actId="20577"/>
        <pc:sldMkLst>
          <pc:docMk/>
          <pc:sldMk cId="2869957903" sldId="2147477050"/>
        </pc:sldMkLst>
        <pc:spChg chg="mod">
          <ac:chgData name="Álvaro HERNANDO LÓPEZ (FERCHAU)" userId="7960b7a3-f1c3-40c1-b1cd-339346c7c44c" providerId="ADAL" clId="{70303EA2-4F81-44F4-9108-BDD2E16B57C7}" dt="2025-03-24T10:09:51.525" v="110" actId="20577"/>
          <ac:spMkLst>
            <pc:docMk/>
            <pc:sldMk cId="2869957903" sldId="2147477050"/>
            <ac:spMk id="2" creationId="{4167FF8C-9AC0-1A9C-8242-AD7D6EBAC22B}"/>
          </ac:spMkLst>
        </pc:spChg>
        <pc:spChg chg="add mod">
          <ac:chgData name="Álvaro HERNANDO LÓPEZ (FERCHAU)" userId="7960b7a3-f1c3-40c1-b1cd-339346c7c44c" providerId="ADAL" clId="{70303EA2-4F81-44F4-9108-BDD2E16B57C7}" dt="2025-03-26T16:10:15.359" v="1713" actId="14100"/>
          <ac:spMkLst>
            <pc:docMk/>
            <pc:sldMk cId="2869957903" sldId="2147477050"/>
            <ac:spMk id="3" creationId="{7E79FBEE-44EF-8371-F4A0-A436BA3ED9A4}"/>
          </ac:spMkLst>
        </pc:spChg>
        <pc:spChg chg="add mod">
          <ac:chgData name="Álvaro HERNANDO LÓPEZ (FERCHAU)" userId="7960b7a3-f1c3-40c1-b1cd-339346c7c44c" providerId="ADAL" clId="{70303EA2-4F81-44F4-9108-BDD2E16B57C7}" dt="2025-03-24T10:08:07.359" v="48" actId="164"/>
          <ac:spMkLst>
            <pc:docMk/>
            <pc:sldMk cId="2869957903" sldId="2147477050"/>
            <ac:spMk id="16" creationId="{11C3565A-622B-F833-797E-032C893E8B2D}"/>
          </ac:spMkLst>
        </pc:spChg>
        <pc:spChg chg="add mod">
          <ac:chgData name="Álvaro HERNANDO LÓPEZ (FERCHAU)" userId="7960b7a3-f1c3-40c1-b1cd-339346c7c44c" providerId="ADAL" clId="{70303EA2-4F81-44F4-9108-BDD2E16B57C7}" dt="2025-03-24T11:05:36.534" v="434"/>
          <ac:spMkLst>
            <pc:docMk/>
            <pc:sldMk cId="2869957903" sldId="2147477050"/>
            <ac:spMk id="47" creationId="{9CC0FF43-66C4-DB6D-39B8-4B09F02EBDBD}"/>
          </ac:spMkLst>
        </pc:spChg>
        <pc:spChg chg="add mod">
          <ac:chgData name="Álvaro HERNANDO LÓPEZ (FERCHAU)" userId="7960b7a3-f1c3-40c1-b1cd-339346c7c44c" providerId="ADAL" clId="{70303EA2-4F81-44F4-9108-BDD2E16B57C7}" dt="2025-03-24T11:05:36.534" v="434"/>
          <ac:spMkLst>
            <pc:docMk/>
            <pc:sldMk cId="2869957903" sldId="2147477050"/>
            <ac:spMk id="57" creationId="{0A7E8AC4-CF14-58B7-9BB8-2626E8864B1F}"/>
          </ac:spMkLst>
        </pc:spChg>
        <pc:spChg chg="add mod">
          <ac:chgData name="Álvaro HERNANDO LÓPEZ (FERCHAU)" userId="7960b7a3-f1c3-40c1-b1cd-339346c7c44c" providerId="ADAL" clId="{70303EA2-4F81-44F4-9108-BDD2E16B57C7}" dt="2025-03-26T16:10:10.116" v="1711" actId="14100"/>
          <ac:spMkLst>
            <pc:docMk/>
            <pc:sldMk cId="2869957903" sldId="2147477050"/>
            <ac:spMk id="60" creationId="{8247928A-2F22-AB69-8066-6579055732CF}"/>
          </ac:spMkLst>
        </pc:spChg>
        <pc:spChg chg="add mod">
          <ac:chgData name="Álvaro HERNANDO LÓPEZ (FERCHAU)" userId="7960b7a3-f1c3-40c1-b1cd-339346c7c44c" providerId="ADAL" clId="{70303EA2-4F81-44F4-9108-BDD2E16B57C7}" dt="2025-03-24T11:05:36.534" v="434"/>
          <ac:spMkLst>
            <pc:docMk/>
            <pc:sldMk cId="2869957903" sldId="2147477050"/>
            <ac:spMk id="1024" creationId="{F0C2A847-AE22-D464-EB65-908AA8666083}"/>
          </ac:spMkLst>
        </pc:spChg>
        <pc:spChg chg="add mod">
          <ac:chgData name="Álvaro HERNANDO LÓPEZ (FERCHAU)" userId="7960b7a3-f1c3-40c1-b1cd-339346c7c44c" providerId="ADAL" clId="{70303EA2-4F81-44F4-9108-BDD2E16B57C7}" dt="2025-03-24T11:05:36.534" v="434"/>
          <ac:spMkLst>
            <pc:docMk/>
            <pc:sldMk cId="2869957903" sldId="2147477050"/>
            <ac:spMk id="1025" creationId="{A33B4510-382C-5C64-78B6-9A9D04736BA3}"/>
          </ac:spMkLst>
        </pc:spChg>
        <pc:spChg chg="add mod">
          <ac:chgData name="Álvaro HERNANDO LÓPEZ (FERCHAU)" userId="7960b7a3-f1c3-40c1-b1cd-339346c7c44c" providerId="ADAL" clId="{70303EA2-4F81-44F4-9108-BDD2E16B57C7}" dt="2025-03-26T16:31:35.528" v="2178" actId="1076"/>
          <ac:spMkLst>
            <pc:docMk/>
            <pc:sldMk cId="2869957903" sldId="2147477050"/>
            <ac:spMk id="1026" creationId="{45F594CD-ED9D-FF7C-BCFB-DAF173E10E3D}"/>
          </ac:spMkLst>
        </pc:spChg>
        <pc:spChg chg="add mod">
          <ac:chgData name="Álvaro HERNANDO LÓPEZ (FERCHAU)" userId="7960b7a3-f1c3-40c1-b1cd-339346c7c44c" providerId="ADAL" clId="{70303EA2-4F81-44F4-9108-BDD2E16B57C7}" dt="2025-03-26T16:31:21.048" v="2177" actId="1076"/>
          <ac:spMkLst>
            <pc:docMk/>
            <pc:sldMk cId="2869957903" sldId="2147477050"/>
            <ac:spMk id="1028" creationId="{0DE490B6-6C4D-6755-C9BC-4D88705F9E44}"/>
          </ac:spMkLst>
        </pc:spChg>
        <pc:spChg chg="add mod">
          <ac:chgData name="Álvaro HERNANDO LÓPEZ (FERCHAU)" userId="7960b7a3-f1c3-40c1-b1cd-339346c7c44c" providerId="ADAL" clId="{70303EA2-4F81-44F4-9108-BDD2E16B57C7}" dt="2025-03-26T16:49:53.431" v="2433" actId="208"/>
          <ac:spMkLst>
            <pc:docMk/>
            <pc:sldMk cId="2869957903" sldId="2147477050"/>
            <ac:spMk id="1032" creationId="{34F75CC7-E3D7-1B18-E06D-253BC185E074}"/>
          </ac:spMkLst>
        </pc:spChg>
        <pc:spChg chg="add mod">
          <ac:chgData name="Álvaro HERNANDO LÓPEZ (FERCHAU)" userId="7960b7a3-f1c3-40c1-b1cd-339346c7c44c" providerId="ADAL" clId="{70303EA2-4F81-44F4-9108-BDD2E16B57C7}" dt="2025-03-26T16:49:53.431" v="2433" actId="208"/>
          <ac:spMkLst>
            <pc:docMk/>
            <pc:sldMk cId="2869957903" sldId="2147477050"/>
            <ac:spMk id="1033" creationId="{4F401EE7-E68F-6882-C28D-163BB9E136D2}"/>
          </ac:spMkLst>
        </pc:spChg>
        <pc:spChg chg="add mod">
          <ac:chgData name="Álvaro HERNANDO LÓPEZ (FERCHAU)" userId="7960b7a3-f1c3-40c1-b1cd-339346c7c44c" providerId="ADAL" clId="{70303EA2-4F81-44F4-9108-BDD2E16B57C7}" dt="2025-03-26T16:40:52.472" v="2359"/>
          <ac:spMkLst>
            <pc:docMk/>
            <pc:sldMk cId="2869957903" sldId="2147477050"/>
            <ac:spMk id="1035" creationId="{A69E8E96-AC48-7E9A-FF80-AD6737CBE249}"/>
          </ac:spMkLst>
        </pc:spChg>
        <pc:grpChg chg="add mod">
          <ac:chgData name="Álvaro HERNANDO LÓPEZ (FERCHAU)" userId="7960b7a3-f1c3-40c1-b1cd-339346c7c44c" providerId="ADAL" clId="{70303EA2-4F81-44F4-9108-BDD2E16B57C7}" dt="2025-03-26T16:48:36.681" v="2426" actId="1038"/>
          <ac:grpSpMkLst>
            <pc:docMk/>
            <pc:sldMk cId="2869957903" sldId="2147477050"/>
            <ac:grpSpMk id="21" creationId="{41B809CC-7EE4-6822-D049-5EE583B1026F}"/>
          </ac:grpSpMkLst>
        </pc:grpChg>
        <pc:grpChg chg="add mod">
          <ac:chgData name="Álvaro HERNANDO LÓPEZ (FERCHAU)" userId="7960b7a3-f1c3-40c1-b1cd-339346c7c44c" providerId="ADAL" clId="{70303EA2-4F81-44F4-9108-BDD2E16B57C7}" dt="2025-03-24T14:26:07.177" v="867" actId="1036"/>
          <ac:grpSpMkLst>
            <pc:docMk/>
            <pc:sldMk cId="2869957903" sldId="2147477050"/>
            <ac:grpSpMk id="1034" creationId="{DE1075C7-7031-4010-C00C-82782832978D}"/>
          </ac:grpSpMkLst>
        </pc:grpChg>
        <pc:picChg chg="add mod">
          <ac:chgData name="Álvaro HERNANDO LÓPEZ (FERCHAU)" userId="7960b7a3-f1c3-40c1-b1cd-339346c7c44c" providerId="ADAL" clId="{70303EA2-4F81-44F4-9108-BDD2E16B57C7}" dt="2025-03-25T10:13:53.028" v="1413" actId="1038"/>
          <ac:picMkLst>
            <pc:docMk/>
            <pc:sldMk cId="2869957903" sldId="2147477050"/>
            <ac:picMk id="6" creationId="{C1D971E2-6723-3583-42E4-24135D930B36}"/>
          </ac:picMkLst>
        </pc:picChg>
        <pc:picChg chg="add mod">
          <ac:chgData name="Álvaro HERNANDO LÓPEZ (FERCHAU)" userId="7960b7a3-f1c3-40c1-b1cd-339346c7c44c" providerId="ADAL" clId="{70303EA2-4F81-44F4-9108-BDD2E16B57C7}" dt="2025-03-25T10:13:16.936" v="1402" actId="207"/>
          <ac:picMkLst>
            <pc:docMk/>
            <pc:sldMk cId="2869957903" sldId="2147477050"/>
            <ac:picMk id="7" creationId="{4850C281-4779-1255-25EF-CFDD7E73508A}"/>
          </ac:picMkLst>
        </pc:picChg>
        <pc:picChg chg="add mod">
          <ac:chgData name="Álvaro HERNANDO LÓPEZ (FERCHAU)" userId="7960b7a3-f1c3-40c1-b1cd-339346c7c44c" providerId="ADAL" clId="{70303EA2-4F81-44F4-9108-BDD2E16B57C7}" dt="2025-03-24T10:08:07.359" v="48" actId="164"/>
          <ac:picMkLst>
            <pc:docMk/>
            <pc:sldMk cId="2869957903" sldId="2147477050"/>
            <ac:picMk id="9" creationId="{61E57458-4F77-33CB-83D9-D38BBEB6B4FC}"/>
          </ac:picMkLst>
        </pc:picChg>
        <pc:picChg chg="add mod">
          <ac:chgData name="Álvaro HERNANDO LÓPEZ (FERCHAU)" userId="7960b7a3-f1c3-40c1-b1cd-339346c7c44c" providerId="ADAL" clId="{70303EA2-4F81-44F4-9108-BDD2E16B57C7}" dt="2025-03-24T11:05:36.534" v="434"/>
          <ac:picMkLst>
            <pc:docMk/>
            <pc:sldMk cId="2869957903" sldId="2147477050"/>
            <ac:picMk id="45" creationId="{AA90E40B-4932-D329-F1BE-FFEB4726137B}"/>
          </ac:picMkLst>
        </pc:picChg>
        <pc:picChg chg="add mod">
          <ac:chgData name="Álvaro HERNANDO LÓPEZ (FERCHAU)" userId="7960b7a3-f1c3-40c1-b1cd-339346c7c44c" providerId="ADAL" clId="{70303EA2-4F81-44F4-9108-BDD2E16B57C7}" dt="2025-03-24T11:05:36.534" v="434"/>
          <ac:picMkLst>
            <pc:docMk/>
            <pc:sldMk cId="2869957903" sldId="2147477050"/>
            <ac:picMk id="46" creationId="{D80DE753-D09F-7991-A54F-1F1EF94FE000}"/>
          </ac:picMkLst>
        </pc:picChg>
        <pc:picChg chg="add mod">
          <ac:chgData name="Álvaro HERNANDO LÓPEZ (FERCHAU)" userId="7960b7a3-f1c3-40c1-b1cd-339346c7c44c" providerId="ADAL" clId="{70303EA2-4F81-44F4-9108-BDD2E16B57C7}" dt="2025-03-24T14:25:00.202" v="857" actId="1076"/>
          <ac:picMkLst>
            <pc:docMk/>
            <pc:sldMk cId="2869957903" sldId="2147477050"/>
            <ac:picMk id="53" creationId="{8DC3F20C-D774-7636-4EF4-6254B6AA4801}"/>
          </ac:picMkLst>
        </pc:picChg>
        <pc:picChg chg="add mod">
          <ac:chgData name="Álvaro HERNANDO LÓPEZ (FERCHAU)" userId="7960b7a3-f1c3-40c1-b1cd-339346c7c44c" providerId="ADAL" clId="{70303EA2-4F81-44F4-9108-BDD2E16B57C7}" dt="2025-03-24T11:05:36.534" v="434"/>
          <ac:picMkLst>
            <pc:docMk/>
            <pc:sldMk cId="2869957903" sldId="2147477050"/>
            <ac:picMk id="61" creationId="{3C1DB4A8-9DBA-A9D6-021A-CA02AFF86241}"/>
          </ac:picMkLst>
        </pc:picChg>
        <pc:cxnChg chg="mod">
          <ac:chgData name="Álvaro HERNANDO LÓPEZ (FERCHAU)" userId="7960b7a3-f1c3-40c1-b1cd-339346c7c44c" providerId="ADAL" clId="{70303EA2-4F81-44F4-9108-BDD2E16B57C7}" dt="2025-03-26T16:48:36.681" v="2426" actId="1038"/>
          <ac:cxnSpMkLst>
            <pc:docMk/>
            <pc:sldMk cId="2869957903" sldId="2147477050"/>
            <ac:cxnSpMk id="8" creationId="{1BB551FA-19FC-232B-B3C9-746806B728CC}"/>
          </ac:cxnSpMkLst>
        </pc:cxnChg>
        <pc:cxnChg chg="add mod">
          <ac:chgData name="Álvaro HERNANDO LÓPEZ (FERCHAU)" userId="7960b7a3-f1c3-40c1-b1cd-339346c7c44c" providerId="ADAL" clId="{70303EA2-4F81-44F4-9108-BDD2E16B57C7}" dt="2025-03-26T16:46:32.665" v="2380" actId="208"/>
          <ac:cxnSpMkLst>
            <pc:docMk/>
            <pc:sldMk cId="2869957903" sldId="2147477050"/>
            <ac:cxnSpMk id="10" creationId="{32EF81A2-D987-0376-5318-AED69201BC1D}"/>
          </ac:cxnSpMkLst>
        </pc:cxnChg>
        <pc:cxnChg chg="add mod">
          <ac:chgData name="Álvaro HERNANDO LÓPEZ (FERCHAU)" userId="7960b7a3-f1c3-40c1-b1cd-339346c7c44c" providerId="ADAL" clId="{70303EA2-4F81-44F4-9108-BDD2E16B57C7}" dt="2025-03-24T11:16:52.006" v="494"/>
          <ac:cxnSpMkLst>
            <pc:docMk/>
            <pc:sldMk cId="2869957903" sldId="2147477050"/>
            <ac:cxnSpMk id="1029" creationId="{3C6342D0-16E3-9141-70B1-8900CC575D49}"/>
          </ac:cxnSpMkLst>
        </pc:cxnChg>
        <pc:cxnChg chg="add mod">
          <ac:chgData name="Álvaro HERNANDO LÓPEZ (FERCHAU)" userId="7960b7a3-f1c3-40c1-b1cd-339346c7c44c" providerId="ADAL" clId="{70303EA2-4F81-44F4-9108-BDD2E16B57C7}" dt="2025-03-24T11:16:52.006" v="494"/>
          <ac:cxnSpMkLst>
            <pc:docMk/>
            <pc:sldMk cId="2869957903" sldId="2147477050"/>
            <ac:cxnSpMk id="1030" creationId="{6760F4FA-3252-4994-0865-F708A8DB0347}"/>
          </ac:cxnSpMkLst>
        </pc:cxnChg>
      </pc:sldChg>
      <pc:sldChg chg="addSp delSp modSp add del mod">
        <pc:chgData name="Álvaro HERNANDO LÓPEZ (FERCHAU)" userId="7960b7a3-f1c3-40c1-b1cd-339346c7c44c" providerId="ADAL" clId="{70303EA2-4F81-44F4-9108-BDD2E16B57C7}" dt="2025-03-24T10:24:40.968" v="198" actId="2696"/>
        <pc:sldMkLst>
          <pc:docMk/>
          <pc:sldMk cId="2042346157" sldId="2147477051"/>
        </pc:sldMkLst>
      </pc:sldChg>
      <pc:sldChg chg="addSp delSp modSp add mod modTransition modNotesTx">
        <pc:chgData name="Álvaro HERNANDO LÓPEZ (FERCHAU)" userId="7960b7a3-f1c3-40c1-b1cd-339346c7c44c" providerId="ADAL" clId="{70303EA2-4F81-44F4-9108-BDD2E16B57C7}" dt="2025-03-26T17:28:07.724" v="5351" actId="20577"/>
        <pc:sldMkLst>
          <pc:docMk/>
          <pc:sldMk cId="1516448176" sldId="2147477052"/>
        </pc:sldMkLst>
        <pc:spChg chg="add mod">
          <ac:chgData name="Álvaro HERNANDO LÓPEZ (FERCHAU)" userId="7960b7a3-f1c3-40c1-b1cd-339346c7c44c" providerId="ADAL" clId="{70303EA2-4F81-44F4-9108-BDD2E16B57C7}" dt="2025-03-26T16:32:57.160" v="2212" actId="1076"/>
          <ac:spMkLst>
            <pc:docMk/>
            <pc:sldMk cId="1516448176" sldId="2147477052"/>
            <ac:spMk id="4" creationId="{FAB29566-E513-465C-B630-A628FD78F2A2}"/>
          </ac:spMkLst>
        </pc:spChg>
        <pc:spChg chg="add mod">
          <ac:chgData name="Álvaro HERNANDO LÓPEZ (FERCHAU)" userId="7960b7a3-f1c3-40c1-b1cd-339346c7c44c" providerId="ADAL" clId="{70303EA2-4F81-44F4-9108-BDD2E16B57C7}" dt="2025-03-26T16:10:23.495" v="1714" actId="14100"/>
          <ac:spMkLst>
            <pc:docMk/>
            <pc:sldMk cId="1516448176" sldId="2147477052"/>
            <ac:spMk id="13" creationId="{766A21BB-D6D4-65E8-8D4B-A22132B28FB3}"/>
          </ac:spMkLst>
        </pc:spChg>
        <pc:spChg chg="mod">
          <ac:chgData name="Álvaro HERNANDO LÓPEZ (FERCHAU)" userId="7960b7a3-f1c3-40c1-b1cd-339346c7c44c" providerId="ADAL" clId="{70303EA2-4F81-44F4-9108-BDD2E16B57C7}" dt="2025-03-26T16:49:17.551" v="2428" actId="208"/>
          <ac:spMkLst>
            <pc:docMk/>
            <pc:sldMk cId="1516448176" sldId="2147477052"/>
            <ac:spMk id="18" creationId="{E528431A-6D1E-42A1-51BB-45CF6B77F1A0}"/>
          </ac:spMkLst>
        </pc:spChg>
        <pc:spChg chg="add mod">
          <ac:chgData name="Álvaro HERNANDO LÓPEZ (FERCHAU)" userId="7960b7a3-f1c3-40c1-b1cd-339346c7c44c" providerId="ADAL" clId="{70303EA2-4F81-44F4-9108-BDD2E16B57C7}" dt="2025-03-26T16:33:01.401" v="2213" actId="1076"/>
          <ac:spMkLst>
            <pc:docMk/>
            <pc:sldMk cId="1516448176" sldId="2147477052"/>
            <ac:spMk id="19" creationId="{1477956B-2F7B-A973-AA53-6656465719E9}"/>
          </ac:spMkLst>
        </pc:spChg>
        <pc:spChg chg="add mod">
          <ac:chgData name="Álvaro HERNANDO LÓPEZ (FERCHAU)" userId="7960b7a3-f1c3-40c1-b1cd-339346c7c44c" providerId="ADAL" clId="{70303EA2-4F81-44F4-9108-BDD2E16B57C7}" dt="2025-03-26T16:31:49.681" v="2180"/>
          <ac:spMkLst>
            <pc:docMk/>
            <pc:sldMk cId="1516448176" sldId="2147477052"/>
            <ac:spMk id="44" creationId="{53D76EC1-4E0A-B376-38E1-3B4F9FA85CC0}"/>
          </ac:spMkLst>
        </pc:spChg>
        <pc:spChg chg="add mod">
          <ac:chgData name="Álvaro HERNANDO LÓPEZ (FERCHAU)" userId="7960b7a3-f1c3-40c1-b1cd-339346c7c44c" providerId="ADAL" clId="{70303EA2-4F81-44F4-9108-BDD2E16B57C7}" dt="2025-03-26T16:31:49.681" v="2180"/>
          <ac:spMkLst>
            <pc:docMk/>
            <pc:sldMk cId="1516448176" sldId="2147477052"/>
            <ac:spMk id="45" creationId="{5B55DD25-08F1-E74F-60F2-9DA82A61A40D}"/>
          </ac:spMkLst>
        </pc:spChg>
        <pc:spChg chg="add mod">
          <ac:chgData name="Álvaro HERNANDO LÓPEZ (FERCHAU)" userId="7960b7a3-f1c3-40c1-b1cd-339346c7c44c" providerId="ADAL" clId="{70303EA2-4F81-44F4-9108-BDD2E16B57C7}" dt="2025-03-24T11:05:21.950" v="431"/>
          <ac:spMkLst>
            <pc:docMk/>
            <pc:sldMk cId="1516448176" sldId="2147477052"/>
            <ac:spMk id="53" creationId="{39205BC8-30AF-AEE9-1058-DFA03F237A90}"/>
          </ac:spMkLst>
        </pc:spChg>
        <pc:spChg chg="add mod">
          <ac:chgData name="Álvaro HERNANDO LÓPEZ (FERCHAU)" userId="7960b7a3-f1c3-40c1-b1cd-339346c7c44c" providerId="ADAL" clId="{70303EA2-4F81-44F4-9108-BDD2E16B57C7}" dt="2025-03-24T11:05:21.950" v="431"/>
          <ac:spMkLst>
            <pc:docMk/>
            <pc:sldMk cId="1516448176" sldId="2147477052"/>
            <ac:spMk id="63" creationId="{EC4C26E1-163D-B974-4ADB-AD07A5F188CA}"/>
          </ac:spMkLst>
        </pc:spChg>
        <pc:spChg chg="add mod">
          <ac:chgData name="Álvaro HERNANDO LÓPEZ (FERCHAU)" userId="7960b7a3-f1c3-40c1-b1cd-339346c7c44c" providerId="ADAL" clId="{70303EA2-4F81-44F4-9108-BDD2E16B57C7}" dt="2025-03-26T16:10:01.819" v="1707" actId="14100"/>
          <ac:spMkLst>
            <pc:docMk/>
            <pc:sldMk cId="1516448176" sldId="2147477052"/>
            <ac:spMk id="66" creationId="{9F3F1B7A-C435-F225-8E5D-BE1A381D3FB0}"/>
          </ac:spMkLst>
        </pc:spChg>
        <pc:spChg chg="add mod">
          <ac:chgData name="Álvaro HERNANDO LÓPEZ (FERCHAU)" userId="7960b7a3-f1c3-40c1-b1cd-339346c7c44c" providerId="ADAL" clId="{70303EA2-4F81-44F4-9108-BDD2E16B57C7}" dt="2025-03-26T16:09:25.197" v="1701" actId="14100"/>
          <ac:spMkLst>
            <pc:docMk/>
            <pc:sldMk cId="1516448176" sldId="2147477052"/>
            <ac:spMk id="70" creationId="{778E8D34-7602-0A76-9A6F-F6DA19B8CD65}"/>
          </ac:spMkLst>
        </pc:spChg>
        <pc:spChg chg="add mod">
          <ac:chgData name="Álvaro HERNANDO LÓPEZ (FERCHAU)" userId="7960b7a3-f1c3-40c1-b1cd-339346c7c44c" providerId="ADAL" clId="{70303EA2-4F81-44F4-9108-BDD2E16B57C7}" dt="2025-03-24T11:05:21.950" v="431"/>
          <ac:spMkLst>
            <pc:docMk/>
            <pc:sldMk cId="1516448176" sldId="2147477052"/>
            <ac:spMk id="71" creationId="{34F825AE-9F9A-1BFA-0BC6-7EE7482762CE}"/>
          </ac:spMkLst>
        </pc:spChg>
        <pc:spChg chg="add mod">
          <ac:chgData name="Álvaro HERNANDO LÓPEZ (FERCHAU)" userId="7960b7a3-f1c3-40c1-b1cd-339346c7c44c" providerId="ADAL" clId="{70303EA2-4F81-44F4-9108-BDD2E16B57C7}" dt="2025-03-26T16:40:47.696" v="2357"/>
          <ac:spMkLst>
            <pc:docMk/>
            <pc:sldMk cId="1516448176" sldId="2147477052"/>
            <ac:spMk id="75" creationId="{9E03144B-A968-D735-0874-E84D380C5813}"/>
          </ac:spMkLst>
        </pc:spChg>
        <pc:spChg chg="mod">
          <ac:chgData name="Álvaro HERNANDO LÓPEZ (FERCHAU)" userId="7960b7a3-f1c3-40c1-b1cd-339346c7c44c" providerId="ADAL" clId="{70303EA2-4F81-44F4-9108-BDD2E16B57C7}" dt="2025-03-26T16:49:10.817" v="2427" actId="208"/>
          <ac:spMkLst>
            <pc:docMk/>
            <pc:sldMk cId="1516448176" sldId="2147477052"/>
            <ac:spMk id="79" creationId="{DC27DE3A-3F1E-FA29-5834-9A4A18930152}"/>
          </ac:spMkLst>
        </pc:spChg>
        <pc:spChg chg="mod">
          <ac:chgData name="Álvaro HERNANDO LÓPEZ (FERCHAU)" userId="7960b7a3-f1c3-40c1-b1cd-339346c7c44c" providerId="ADAL" clId="{70303EA2-4F81-44F4-9108-BDD2E16B57C7}" dt="2025-03-26T16:49:10.817" v="2427" actId="208"/>
          <ac:spMkLst>
            <pc:docMk/>
            <pc:sldMk cId="1516448176" sldId="2147477052"/>
            <ac:spMk id="80" creationId="{EF3311D3-C9D6-265E-AA85-27270662DDB1}"/>
          </ac:spMkLst>
        </pc:spChg>
        <pc:grpChg chg="mod">
          <ac:chgData name="Álvaro HERNANDO LÓPEZ (FERCHAU)" userId="7960b7a3-f1c3-40c1-b1cd-339346c7c44c" providerId="ADAL" clId="{70303EA2-4F81-44F4-9108-BDD2E16B57C7}" dt="2025-03-26T16:19:31.536" v="2003" actId="1035"/>
          <ac:grpSpMkLst>
            <pc:docMk/>
            <pc:sldMk cId="1516448176" sldId="2147477052"/>
            <ac:grpSpMk id="21" creationId="{6F94DBAB-C99E-2AF7-80B2-D887D67ED94D}"/>
          </ac:grpSpMkLst>
        </pc:grpChg>
        <pc:grpChg chg="add mod">
          <ac:chgData name="Álvaro HERNANDO LÓPEZ (FERCHAU)" userId="7960b7a3-f1c3-40c1-b1cd-339346c7c44c" providerId="ADAL" clId="{70303EA2-4F81-44F4-9108-BDD2E16B57C7}" dt="2025-03-25T09:14:21.278" v="872" actId="1037"/>
          <ac:grpSpMkLst>
            <pc:docMk/>
            <pc:sldMk cId="1516448176" sldId="2147477052"/>
            <ac:grpSpMk id="78" creationId="{B4016E1E-B489-CD68-3F47-8D5397D75ACB}"/>
          </ac:grpSpMkLst>
        </pc:grpChg>
        <pc:picChg chg="add mod">
          <ac:chgData name="Álvaro HERNANDO LÓPEZ (FERCHAU)" userId="7960b7a3-f1c3-40c1-b1cd-339346c7c44c" providerId="ADAL" clId="{70303EA2-4F81-44F4-9108-BDD2E16B57C7}" dt="2025-03-25T09:55:41.667" v="1091"/>
          <ac:picMkLst>
            <pc:docMk/>
            <pc:sldMk cId="1516448176" sldId="2147477052"/>
            <ac:picMk id="3" creationId="{B6F90D8C-A5B6-F8E8-4FCA-311E8BD0F853}"/>
          </ac:picMkLst>
        </pc:picChg>
        <pc:picChg chg="add mod">
          <ac:chgData name="Álvaro HERNANDO LÓPEZ (FERCHAU)" userId="7960b7a3-f1c3-40c1-b1cd-339346c7c44c" providerId="ADAL" clId="{70303EA2-4F81-44F4-9108-BDD2E16B57C7}" dt="2025-03-24T10:46:36.691" v="295" actId="1076"/>
          <ac:picMkLst>
            <pc:docMk/>
            <pc:sldMk cId="1516448176" sldId="2147477052"/>
            <ac:picMk id="7" creationId="{12C063C3-3125-3CE1-E921-B5690EC657D3}"/>
          </ac:picMkLst>
        </pc:picChg>
        <pc:picChg chg="add mod">
          <ac:chgData name="Álvaro HERNANDO LÓPEZ (FERCHAU)" userId="7960b7a3-f1c3-40c1-b1cd-339346c7c44c" providerId="ADAL" clId="{70303EA2-4F81-44F4-9108-BDD2E16B57C7}" dt="2025-03-25T10:18:58.400" v="1414"/>
          <ac:picMkLst>
            <pc:docMk/>
            <pc:sldMk cId="1516448176" sldId="2147477052"/>
            <ac:picMk id="17" creationId="{5C79BD59-7AF9-543B-06AD-E8BB4DD18979}"/>
          </ac:picMkLst>
        </pc:picChg>
        <pc:picChg chg="add mod">
          <ac:chgData name="Álvaro HERNANDO LÓPEZ (FERCHAU)" userId="7960b7a3-f1c3-40c1-b1cd-339346c7c44c" providerId="ADAL" clId="{70303EA2-4F81-44F4-9108-BDD2E16B57C7}" dt="2025-03-25T10:18:58.400" v="1414"/>
          <ac:picMkLst>
            <pc:docMk/>
            <pc:sldMk cId="1516448176" sldId="2147477052"/>
            <ac:picMk id="22" creationId="{B6B755FF-D922-0C07-5B54-B988777A4B52}"/>
          </ac:picMkLst>
        </pc:picChg>
        <pc:picChg chg="add mod">
          <ac:chgData name="Álvaro HERNANDO LÓPEZ (FERCHAU)" userId="7960b7a3-f1c3-40c1-b1cd-339346c7c44c" providerId="ADAL" clId="{70303EA2-4F81-44F4-9108-BDD2E16B57C7}" dt="2025-03-24T11:05:21.950" v="431"/>
          <ac:picMkLst>
            <pc:docMk/>
            <pc:sldMk cId="1516448176" sldId="2147477052"/>
            <ac:picMk id="59" creationId="{5C000D02-FA52-A69B-7AD5-39F74A095350}"/>
          </ac:picMkLst>
        </pc:picChg>
        <pc:picChg chg="add mod">
          <ac:chgData name="Álvaro HERNANDO LÓPEZ (FERCHAU)" userId="7960b7a3-f1c3-40c1-b1cd-339346c7c44c" providerId="ADAL" clId="{70303EA2-4F81-44F4-9108-BDD2E16B57C7}" dt="2025-03-24T11:05:21.950" v="431"/>
          <ac:picMkLst>
            <pc:docMk/>
            <pc:sldMk cId="1516448176" sldId="2147477052"/>
            <ac:picMk id="60" creationId="{47DE67D7-DC7F-62FC-A3E9-FF15CE4BC49E}"/>
          </ac:picMkLst>
        </pc:picChg>
        <pc:picChg chg="add mod">
          <ac:chgData name="Álvaro HERNANDO LÓPEZ (FERCHAU)" userId="7960b7a3-f1c3-40c1-b1cd-339346c7c44c" providerId="ADAL" clId="{70303EA2-4F81-44F4-9108-BDD2E16B57C7}" dt="2025-03-24T11:05:21.950" v="431"/>
          <ac:picMkLst>
            <pc:docMk/>
            <pc:sldMk cId="1516448176" sldId="2147477052"/>
            <ac:picMk id="62" creationId="{14FF3862-450D-1702-0F59-22D64B879EB8}"/>
          </ac:picMkLst>
        </pc:picChg>
        <pc:picChg chg="add mod">
          <ac:chgData name="Álvaro HERNANDO LÓPEZ (FERCHAU)" userId="7960b7a3-f1c3-40c1-b1cd-339346c7c44c" providerId="ADAL" clId="{70303EA2-4F81-44F4-9108-BDD2E16B57C7}" dt="2025-03-24T11:05:21.950" v="431"/>
          <ac:picMkLst>
            <pc:docMk/>
            <pc:sldMk cId="1516448176" sldId="2147477052"/>
            <ac:picMk id="67" creationId="{F52D68E2-766C-8906-60E0-4B774A3EEFAB}"/>
          </ac:picMkLst>
        </pc:picChg>
        <pc:cxnChg chg="add mod">
          <ac:chgData name="Álvaro HERNANDO LÓPEZ (FERCHAU)" userId="7960b7a3-f1c3-40c1-b1cd-339346c7c44c" providerId="ADAL" clId="{70303EA2-4F81-44F4-9108-BDD2E16B57C7}" dt="2025-03-25T09:55:41.667" v="1091"/>
          <ac:cxnSpMkLst>
            <pc:docMk/>
            <pc:sldMk cId="1516448176" sldId="2147477052"/>
            <ac:cxnSpMk id="6" creationId="{AE6121F5-B684-910D-837E-B3B2F90414EA}"/>
          </ac:cxnSpMkLst>
        </pc:cxnChg>
        <pc:cxnChg chg="add mod">
          <ac:chgData name="Álvaro HERNANDO LÓPEZ (FERCHAU)" userId="7960b7a3-f1c3-40c1-b1cd-339346c7c44c" providerId="ADAL" clId="{70303EA2-4F81-44F4-9108-BDD2E16B57C7}" dt="2025-03-25T10:02:09.155" v="1316"/>
          <ac:cxnSpMkLst>
            <pc:docMk/>
            <pc:sldMk cId="1516448176" sldId="2147477052"/>
            <ac:cxnSpMk id="12" creationId="{7E95612C-565E-59A0-E3F7-F2EC8A9BA014}"/>
          </ac:cxnSpMkLst>
        </pc:cxnChg>
        <pc:cxnChg chg="mod ord">
          <ac:chgData name="Álvaro HERNANDO LÓPEZ (FERCHAU)" userId="7960b7a3-f1c3-40c1-b1cd-339346c7c44c" providerId="ADAL" clId="{70303EA2-4F81-44F4-9108-BDD2E16B57C7}" dt="2025-03-26T16:46:45.231" v="2382" actId="208"/>
          <ac:cxnSpMkLst>
            <pc:docMk/>
            <pc:sldMk cId="1516448176" sldId="2147477052"/>
            <ac:cxnSpMk id="15" creationId="{61F221D4-E0F8-3FEA-7013-AB7F45802F3B}"/>
          </ac:cxnSpMkLst>
        </pc:cxnChg>
        <pc:cxnChg chg="add mod">
          <ac:chgData name="Álvaro HERNANDO LÓPEZ (FERCHAU)" userId="7960b7a3-f1c3-40c1-b1cd-339346c7c44c" providerId="ADAL" clId="{70303EA2-4F81-44F4-9108-BDD2E16B57C7}" dt="2025-03-24T10:46:36.691" v="295" actId="1076"/>
          <ac:cxnSpMkLst>
            <pc:docMk/>
            <pc:sldMk cId="1516448176" sldId="2147477052"/>
            <ac:cxnSpMk id="20" creationId="{B6BB5384-197E-50A2-942D-F2B103C7011F}"/>
          </ac:cxnSpMkLst>
        </pc:cxnChg>
        <pc:cxnChg chg="add mod">
          <ac:chgData name="Álvaro HERNANDO LÓPEZ (FERCHAU)" userId="7960b7a3-f1c3-40c1-b1cd-339346c7c44c" providerId="ADAL" clId="{70303EA2-4F81-44F4-9108-BDD2E16B57C7}" dt="2025-03-24T10:46:36.691" v="295" actId="1076"/>
          <ac:cxnSpMkLst>
            <pc:docMk/>
            <pc:sldMk cId="1516448176" sldId="2147477052"/>
            <ac:cxnSpMk id="23" creationId="{F5E94AF3-DC92-F9B2-BD18-0D4B059F717F}"/>
          </ac:cxnSpMkLst>
        </pc:cxnChg>
        <pc:cxnChg chg="add mod">
          <ac:chgData name="Álvaro HERNANDO LÓPEZ (FERCHAU)" userId="7960b7a3-f1c3-40c1-b1cd-339346c7c44c" providerId="ADAL" clId="{70303EA2-4F81-44F4-9108-BDD2E16B57C7}" dt="2025-03-26T16:46:48.782" v="2383" actId="208"/>
          <ac:cxnSpMkLst>
            <pc:docMk/>
            <pc:sldMk cId="1516448176" sldId="2147477052"/>
            <ac:cxnSpMk id="26" creationId="{9F5CC907-3045-2A6C-DC2F-99048B02054E}"/>
          </ac:cxnSpMkLst>
        </pc:cxnChg>
        <pc:cxnChg chg="add mod">
          <ac:chgData name="Álvaro HERNANDO LÓPEZ (FERCHAU)" userId="7960b7a3-f1c3-40c1-b1cd-339346c7c44c" providerId="ADAL" clId="{70303EA2-4F81-44F4-9108-BDD2E16B57C7}" dt="2025-03-26T16:46:41.336" v="2381" actId="208"/>
          <ac:cxnSpMkLst>
            <pc:docMk/>
            <pc:sldMk cId="1516448176" sldId="2147477052"/>
            <ac:cxnSpMk id="37" creationId="{A7414322-4784-E3D8-69C5-1D6E9FD7E22B}"/>
          </ac:cxnSpMkLst>
        </pc:cxnChg>
        <pc:cxnChg chg="add mod">
          <ac:chgData name="Álvaro HERNANDO LÓPEZ (FERCHAU)" userId="7960b7a3-f1c3-40c1-b1cd-339346c7c44c" providerId="ADAL" clId="{70303EA2-4F81-44F4-9108-BDD2E16B57C7}" dt="2025-03-26T16:44:21.806" v="2368" actId="208"/>
          <ac:cxnSpMkLst>
            <pc:docMk/>
            <pc:sldMk cId="1516448176" sldId="2147477052"/>
            <ac:cxnSpMk id="47" creationId="{6E197CFF-64BA-7D91-D33E-EDB7C708291B}"/>
          </ac:cxnSpMkLst>
        </pc:cxnChg>
        <pc:cxnChg chg="add mod">
          <ac:chgData name="Álvaro HERNANDO LÓPEZ (FERCHAU)" userId="7960b7a3-f1c3-40c1-b1cd-339346c7c44c" providerId="ADAL" clId="{70303EA2-4F81-44F4-9108-BDD2E16B57C7}" dt="2025-03-24T11:16:50.345" v="493"/>
          <ac:cxnSpMkLst>
            <pc:docMk/>
            <pc:sldMk cId="1516448176" sldId="2147477052"/>
            <ac:cxnSpMk id="73" creationId="{8D719CD2-F961-DD0B-ADAE-8A12ED7F1944}"/>
          </ac:cxnSpMkLst>
        </pc:cxnChg>
        <pc:cxnChg chg="add mod">
          <ac:chgData name="Álvaro HERNANDO LÓPEZ (FERCHAU)" userId="7960b7a3-f1c3-40c1-b1cd-339346c7c44c" providerId="ADAL" clId="{70303EA2-4F81-44F4-9108-BDD2E16B57C7}" dt="2025-03-24T11:16:50.345" v="493"/>
          <ac:cxnSpMkLst>
            <pc:docMk/>
            <pc:sldMk cId="1516448176" sldId="2147477052"/>
            <ac:cxnSpMk id="74" creationId="{76868B51-E73C-D8A7-2892-88ACDF4899AB}"/>
          </ac:cxnSpMkLst>
        </pc:cxnChg>
      </pc:sldChg>
      <pc:sldChg chg="addSp delSp modSp add del mod">
        <pc:chgData name="Álvaro HERNANDO LÓPEZ (FERCHAU)" userId="7960b7a3-f1c3-40c1-b1cd-339346c7c44c" providerId="ADAL" clId="{70303EA2-4F81-44F4-9108-BDD2E16B57C7}" dt="2025-03-24T10:51:07.468" v="323" actId="2696"/>
        <pc:sldMkLst>
          <pc:docMk/>
          <pc:sldMk cId="2783395780" sldId="2147477053"/>
        </pc:sldMkLst>
      </pc:sldChg>
      <pc:sldChg chg="addSp delSp modSp add mod modTransition modNotesTx">
        <pc:chgData name="Álvaro HERNANDO LÓPEZ (FERCHAU)" userId="7960b7a3-f1c3-40c1-b1cd-339346c7c44c" providerId="ADAL" clId="{70303EA2-4F81-44F4-9108-BDD2E16B57C7}" dt="2025-03-26T17:13:52.172" v="4374"/>
        <pc:sldMkLst>
          <pc:docMk/>
          <pc:sldMk cId="3749321561" sldId="2147477054"/>
        </pc:sldMkLst>
        <pc:spChg chg="mod">
          <ac:chgData name="Álvaro HERNANDO LÓPEZ (FERCHAU)" userId="7960b7a3-f1c3-40c1-b1cd-339346c7c44c" providerId="ADAL" clId="{70303EA2-4F81-44F4-9108-BDD2E16B57C7}" dt="2025-03-26T16:49:24.592" v="2429" actId="208"/>
          <ac:spMkLst>
            <pc:docMk/>
            <pc:sldMk cId="3749321561" sldId="2147477054"/>
            <ac:spMk id="18" creationId="{2F6D8AF1-9A02-38C7-1F49-770A71706099}"/>
          </ac:spMkLst>
        </pc:spChg>
        <pc:spChg chg="mod">
          <ac:chgData name="Álvaro HERNANDO LÓPEZ (FERCHAU)" userId="7960b7a3-f1c3-40c1-b1cd-339346c7c44c" providerId="ADAL" clId="{70303EA2-4F81-44F4-9108-BDD2E16B57C7}" dt="2025-03-26T16:49:24.592" v="2429" actId="208"/>
          <ac:spMkLst>
            <pc:docMk/>
            <pc:sldMk cId="3749321561" sldId="2147477054"/>
            <ac:spMk id="22" creationId="{3F5B8DA5-8A52-F06F-385F-B3E9F60FB807}"/>
          </ac:spMkLst>
        </pc:spChg>
        <pc:spChg chg="add mod">
          <ac:chgData name="Álvaro HERNANDO LÓPEZ (FERCHAU)" userId="7960b7a3-f1c3-40c1-b1cd-339346c7c44c" providerId="ADAL" clId="{70303EA2-4F81-44F4-9108-BDD2E16B57C7}" dt="2025-03-25T09:32:27.945" v="927"/>
          <ac:spMkLst>
            <pc:docMk/>
            <pc:sldMk cId="3749321561" sldId="2147477054"/>
            <ac:spMk id="28" creationId="{ACCFB0F1-42BB-4B97-7E7F-59E38E83E147}"/>
          </ac:spMkLst>
        </pc:spChg>
        <pc:spChg chg="add mod">
          <ac:chgData name="Álvaro HERNANDO LÓPEZ (FERCHAU)" userId="7960b7a3-f1c3-40c1-b1cd-339346c7c44c" providerId="ADAL" clId="{70303EA2-4F81-44F4-9108-BDD2E16B57C7}" dt="2025-03-26T16:10:31.223" v="1715" actId="14100"/>
          <ac:spMkLst>
            <pc:docMk/>
            <pc:sldMk cId="3749321561" sldId="2147477054"/>
            <ac:spMk id="29" creationId="{7AB85E92-ABC1-3173-5720-0E95054F161E}"/>
          </ac:spMkLst>
        </pc:spChg>
        <pc:spChg chg="add mod">
          <ac:chgData name="Álvaro HERNANDO LÓPEZ (FERCHAU)" userId="7960b7a3-f1c3-40c1-b1cd-339346c7c44c" providerId="ADAL" clId="{70303EA2-4F81-44F4-9108-BDD2E16B57C7}" dt="2025-03-26T16:33:22.146" v="2216"/>
          <ac:spMkLst>
            <pc:docMk/>
            <pc:sldMk cId="3749321561" sldId="2147477054"/>
            <ac:spMk id="52" creationId="{E35FD030-AD52-5C68-97B7-68ED6CA59E23}"/>
          </ac:spMkLst>
        </pc:spChg>
        <pc:spChg chg="add mod">
          <ac:chgData name="Álvaro HERNANDO LÓPEZ (FERCHAU)" userId="7960b7a3-f1c3-40c1-b1cd-339346c7c44c" providerId="ADAL" clId="{70303EA2-4F81-44F4-9108-BDD2E16B57C7}" dt="2025-03-26T16:33:59.417" v="2219" actId="1076"/>
          <ac:spMkLst>
            <pc:docMk/>
            <pc:sldMk cId="3749321561" sldId="2147477054"/>
            <ac:spMk id="54" creationId="{6BE4D712-05B4-6B69-15FA-D2F122BB6D68}"/>
          </ac:spMkLst>
        </pc:spChg>
        <pc:spChg chg="add mod">
          <ac:chgData name="Álvaro HERNANDO LÓPEZ (FERCHAU)" userId="7960b7a3-f1c3-40c1-b1cd-339346c7c44c" providerId="ADAL" clId="{70303EA2-4F81-44F4-9108-BDD2E16B57C7}" dt="2025-03-26T16:34:09.184" v="2220" actId="1076"/>
          <ac:spMkLst>
            <pc:docMk/>
            <pc:sldMk cId="3749321561" sldId="2147477054"/>
            <ac:spMk id="55" creationId="{FF09222B-FC2A-24CB-63C9-34661618D3CA}"/>
          </ac:spMkLst>
        </pc:spChg>
        <pc:spChg chg="add mod">
          <ac:chgData name="Álvaro HERNANDO LÓPEZ (FERCHAU)" userId="7960b7a3-f1c3-40c1-b1cd-339346c7c44c" providerId="ADAL" clId="{70303EA2-4F81-44F4-9108-BDD2E16B57C7}" dt="2025-03-26T16:42:02.316" v="2365" actId="1076"/>
          <ac:spMkLst>
            <pc:docMk/>
            <pc:sldMk cId="3749321561" sldId="2147477054"/>
            <ac:spMk id="58" creationId="{789A3F3B-D42E-3783-8CCC-0ACF7A8F7754}"/>
          </ac:spMkLst>
        </pc:spChg>
        <pc:spChg chg="add mod">
          <ac:chgData name="Álvaro HERNANDO LÓPEZ (FERCHAU)" userId="7960b7a3-f1c3-40c1-b1cd-339346c7c44c" providerId="ADAL" clId="{70303EA2-4F81-44F4-9108-BDD2E16B57C7}" dt="2025-03-26T17:13:52.172" v="4374"/>
          <ac:spMkLst>
            <pc:docMk/>
            <pc:sldMk cId="3749321561" sldId="2147477054"/>
            <ac:spMk id="60" creationId="{A96C0BC4-6ACF-2B0C-1865-43FD80ABF4C0}"/>
          </ac:spMkLst>
        </pc:spChg>
        <pc:spChg chg="add mod">
          <ac:chgData name="Álvaro HERNANDO LÓPEZ (FERCHAU)" userId="7960b7a3-f1c3-40c1-b1cd-339346c7c44c" providerId="ADAL" clId="{70303EA2-4F81-44F4-9108-BDD2E16B57C7}" dt="2025-03-24T11:05:04.529" v="429"/>
          <ac:spMkLst>
            <pc:docMk/>
            <pc:sldMk cId="3749321561" sldId="2147477054"/>
            <ac:spMk id="90" creationId="{D9F80D5A-23AC-CED2-FB46-3D736CFE4CC1}"/>
          </ac:spMkLst>
        </pc:spChg>
        <pc:spChg chg="add mod">
          <ac:chgData name="Álvaro HERNANDO LÓPEZ (FERCHAU)" userId="7960b7a3-f1c3-40c1-b1cd-339346c7c44c" providerId="ADAL" clId="{70303EA2-4F81-44F4-9108-BDD2E16B57C7}" dt="2025-03-24T11:05:04.529" v="429"/>
          <ac:spMkLst>
            <pc:docMk/>
            <pc:sldMk cId="3749321561" sldId="2147477054"/>
            <ac:spMk id="100" creationId="{7DC394E7-C590-6C57-BFAA-AB6CB4FD0A2E}"/>
          </ac:spMkLst>
        </pc:spChg>
        <pc:spChg chg="add mod">
          <ac:chgData name="Álvaro HERNANDO LÓPEZ (FERCHAU)" userId="7960b7a3-f1c3-40c1-b1cd-339346c7c44c" providerId="ADAL" clId="{70303EA2-4F81-44F4-9108-BDD2E16B57C7}" dt="2025-03-24T11:05:04.529" v="429"/>
          <ac:spMkLst>
            <pc:docMk/>
            <pc:sldMk cId="3749321561" sldId="2147477054"/>
            <ac:spMk id="103" creationId="{105DE431-FE21-2A5C-7E7F-91A8A4CCA105}"/>
          </ac:spMkLst>
        </pc:spChg>
        <pc:spChg chg="add mod">
          <ac:chgData name="Álvaro HERNANDO LÓPEZ (FERCHAU)" userId="7960b7a3-f1c3-40c1-b1cd-339346c7c44c" providerId="ADAL" clId="{70303EA2-4F81-44F4-9108-BDD2E16B57C7}" dt="2025-03-24T11:05:04.529" v="429"/>
          <ac:spMkLst>
            <pc:docMk/>
            <pc:sldMk cId="3749321561" sldId="2147477054"/>
            <ac:spMk id="107" creationId="{D9BC72D1-1BB9-F880-D8C8-C9F0D72E0667}"/>
          </ac:spMkLst>
        </pc:spChg>
        <pc:spChg chg="add mod">
          <ac:chgData name="Álvaro HERNANDO LÓPEZ (FERCHAU)" userId="7960b7a3-f1c3-40c1-b1cd-339346c7c44c" providerId="ADAL" clId="{70303EA2-4F81-44F4-9108-BDD2E16B57C7}" dt="2025-03-24T11:05:04.529" v="429"/>
          <ac:spMkLst>
            <pc:docMk/>
            <pc:sldMk cId="3749321561" sldId="2147477054"/>
            <ac:spMk id="108" creationId="{76B266B2-A6EC-4486-A2E7-C881C5E83274}"/>
          </ac:spMkLst>
        </pc:spChg>
        <pc:grpChg chg="add mod">
          <ac:chgData name="Álvaro HERNANDO LÓPEZ (FERCHAU)" userId="7960b7a3-f1c3-40c1-b1cd-339346c7c44c" providerId="ADAL" clId="{70303EA2-4F81-44F4-9108-BDD2E16B57C7}" dt="2025-03-25T09:18:40.429" v="885" actId="1035"/>
          <ac:grpSpMkLst>
            <pc:docMk/>
            <pc:sldMk cId="3749321561" sldId="2147477054"/>
            <ac:grpSpMk id="17" creationId="{F1648C02-717B-A625-11AE-B8537D941921}"/>
          </ac:grpSpMkLst>
        </pc:grpChg>
        <pc:grpChg chg="mod">
          <ac:chgData name="Álvaro HERNANDO LÓPEZ (FERCHAU)" userId="7960b7a3-f1c3-40c1-b1cd-339346c7c44c" providerId="ADAL" clId="{70303EA2-4F81-44F4-9108-BDD2E16B57C7}" dt="2025-03-26T16:19:31.600" v="2005" actId="1035"/>
          <ac:grpSpMkLst>
            <pc:docMk/>
            <pc:sldMk cId="3749321561" sldId="2147477054"/>
            <ac:grpSpMk id="21" creationId="{ED3EAAEE-FDFB-33C0-76FB-73F49A471407}"/>
          </ac:grpSpMkLst>
        </pc:grpChg>
        <pc:picChg chg="add del mod">
          <ac:chgData name="Álvaro HERNANDO LÓPEZ (FERCHAU)" userId="7960b7a3-f1c3-40c1-b1cd-339346c7c44c" providerId="ADAL" clId="{70303EA2-4F81-44F4-9108-BDD2E16B57C7}" dt="2025-03-24T10:50:45.538" v="316" actId="478"/>
          <ac:picMkLst>
            <pc:docMk/>
            <pc:sldMk cId="3749321561" sldId="2147477054"/>
            <ac:picMk id="6" creationId="{3C21C17F-A9B3-EB4E-3786-EE848CD1E593}"/>
          </ac:picMkLst>
        </pc:picChg>
        <pc:picChg chg="add mod">
          <ac:chgData name="Álvaro HERNANDO LÓPEZ (FERCHAU)" userId="7960b7a3-f1c3-40c1-b1cd-339346c7c44c" providerId="ADAL" clId="{70303EA2-4F81-44F4-9108-BDD2E16B57C7}" dt="2025-03-25T10:19:02.524" v="1415"/>
          <ac:picMkLst>
            <pc:docMk/>
            <pc:sldMk cId="3749321561" sldId="2147477054"/>
            <ac:picMk id="31" creationId="{5AB696C7-E477-0DDF-9CFA-FE23D31EAE80}"/>
          </ac:picMkLst>
        </pc:picChg>
        <pc:picChg chg="add mod">
          <ac:chgData name="Álvaro HERNANDO LÓPEZ (FERCHAU)" userId="7960b7a3-f1c3-40c1-b1cd-339346c7c44c" providerId="ADAL" clId="{70303EA2-4F81-44F4-9108-BDD2E16B57C7}" dt="2025-03-25T10:19:02.524" v="1415"/>
          <ac:picMkLst>
            <pc:docMk/>
            <pc:sldMk cId="3749321561" sldId="2147477054"/>
            <ac:picMk id="32" creationId="{38A2D090-EFDA-9DAE-CCEC-C3EF8A72265D}"/>
          </ac:picMkLst>
        </pc:picChg>
        <pc:picChg chg="add mod">
          <ac:chgData name="Álvaro HERNANDO LÓPEZ (FERCHAU)" userId="7960b7a3-f1c3-40c1-b1cd-339346c7c44c" providerId="ADAL" clId="{70303EA2-4F81-44F4-9108-BDD2E16B57C7}" dt="2025-03-24T11:05:04.529" v="429"/>
          <ac:picMkLst>
            <pc:docMk/>
            <pc:sldMk cId="3749321561" sldId="2147477054"/>
            <ac:picMk id="92" creationId="{EBA2E77A-639E-5B0E-1A82-E55E8CCB6CC7}"/>
          </ac:picMkLst>
        </pc:picChg>
        <pc:picChg chg="add mod">
          <ac:chgData name="Álvaro HERNANDO LÓPEZ (FERCHAU)" userId="7960b7a3-f1c3-40c1-b1cd-339346c7c44c" providerId="ADAL" clId="{70303EA2-4F81-44F4-9108-BDD2E16B57C7}" dt="2025-03-24T11:05:04.529" v="429"/>
          <ac:picMkLst>
            <pc:docMk/>
            <pc:sldMk cId="3749321561" sldId="2147477054"/>
            <ac:picMk id="99" creationId="{2BE4C1C5-B82D-CED4-E8A1-D70AF21262FB}"/>
          </ac:picMkLst>
        </pc:picChg>
        <pc:picChg chg="add mod">
          <ac:chgData name="Álvaro HERNANDO LÓPEZ (FERCHAU)" userId="7960b7a3-f1c3-40c1-b1cd-339346c7c44c" providerId="ADAL" clId="{70303EA2-4F81-44F4-9108-BDD2E16B57C7}" dt="2025-03-24T11:05:04.529" v="429"/>
          <ac:picMkLst>
            <pc:docMk/>
            <pc:sldMk cId="3749321561" sldId="2147477054"/>
            <ac:picMk id="104" creationId="{8918D648-2DF7-B742-D7F0-8467E1889FE7}"/>
          </ac:picMkLst>
        </pc:picChg>
        <pc:picChg chg="add mod">
          <ac:chgData name="Álvaro HERNANDO LÓPEZ (FERCHAU)" userId="7960b7a3-f1c3-40c1-b1cd-339346c7c44c" providerId="ADAL" clId="{70303EA2-4F81-44F4-9108-BDD2E16B57C7}" dt="2025-03-24T11:05:04.529" v="429"/>
          <ac:picMkLst>
            <pc:docMk/>
            <pc:sldMk cId="3749321561" sldId="2147477054"/>
            <ac:picMk id="106" creationId="{7C80618F-F8F8-D263-97CB-FDAB4C8280CA}"/>
          </ac:picMkLst>
        </pc:picChg>
        <pc:cxnChg chg="add del mod">
          <ac:chgData name="Álvaro HERNANDO LÓPEZ (FERCHAU)" userId="7960b7a3-f1c3-40c1-b1cd-339346c7c44c" providerId="ADAL" clId="{70303EA2-4F81-44F4-9108-BDD2E16B57C7}" dt="2025-03-24T10:50:45.538" v="316" actId="478"/>
          <ac:cxnSpMkLst>
            <pc:docMk/>
            <pc:sldMk cId="3749321561" sldId="2147477054"/>
            <ac:cxnSpMk id="12" creationId="{5670F402-5D10-1551-7DD2-0C27564EBC5C}"/>
          </ac:cxnSpMkLst>
        </pc:cxnChg>
        <pc:cxnChg chg="add del mod">
          <ac:chgData name="Álvaro HERNANDO LÓPEZ (FERCHAU)" userId="7960b7a3-f1c3-40c1-b1cd-339346c7c44c" providerId="ADAL" clId="{70303EA2-4F81-44F4-9108-BDD2E16B57C7}" dt="2025-03-24T10:50:45.538" v="316" actId="478"/>
          <ac:cxnSpMkLst>
            <pc:docMk/>
            <pc:sldMk cId="3749321561" sldId="2147477054"/>
            <ac:cxnSpMk id="13" creationId="{D1801291-AA1F-BCB6-3057-C5EE206B74E0}"/>
          </ac:cxnSpMkLst>
        </pc:cxnChg>
        <pc:cxnChg chg="mod">
          <ac:chgData name="Álvaro HERNANDO LÓPEZ (FERCHAU)" userId="7960b7a3-f1c3-40c1-b1cd-339346c7c44c" providerId="ADAL" clId="{70303EA2-4F81-44F4-9108-BDD2E16B57C7}" dt="2025-03-24T10:50:47.395" v="322" actId="14100"/>
          <ac:cxnSpMkLst>
            <pc:docMk/>
            <pc:sldMk cId="3749321561" sldId="2147477054"/>
            <ac:cxnSpMk id="20" creationId="{4A5F99BB-16CE-6A6C-BF33-50A57954DFEF}"/>
          </ac:cxnSpMkLst>
        </pc:cxnChg>
        <pc:cxnChg chg="mod">
          <ac:chgData name="Álvaro HERNANDO LÓPEZ (FERCHAU)" userId="7960b7a3-f1c3-40c1-b1cd-339346c7c44c" providerId="ADAL" clId="{70303EA2-4F81-44F4-9108-BDD2E16B57C7}" dt="2025-03-24T10:50:47.143" v="321" actId="14100"/>
          <ac:cxnSpMkLst>
            <pc:docMk/>
            <pc:sldMk cId="3749321561" sldId="2147477054"/>
            <ac:cxnSpMk id="23" creationId="{92577B72-EED4-92C5-1C76-3F6396D235E5}"/>
          </ac:cxnSpMkLst>
        </pc:cxnChg>
        <pc:cxnChg chg="mod">
          <ac:chgData name="Álvaro HERNANDO LÓPEZ (FERCHAU)" userId="7960b7a3-f1c3-40c1-b1cd-339346c7c44c" providerId="ADAL" clId="{70303EA2-4F81-44F4-9108-BDD2E16B57C7}" dt="2025-03-26T16:46:59.295" v="2384" actId="208"/>
          <ac:cxnSpMkLst>
            <pc:docMk/>
            <pc:sldMk cId="3749321561" sldId="2147477054"/>
            <ac:cxnSpMk id="26" creationId="{A1A42723-8025-958B-60C9-7254AE0C04BA}"/>
          </ac:cxnSpMkLst>
        </pc:cxnChg>
        <pc:cxnChg chg="add mod">
          <ac:chgData name="Álvaro HERNANDO LÓPEZ (FERCHAU)" userId="7960b7a3-f1c3-40c1-b1cd-339346c7c44c" providerId="ADAL" clId="{70303EA2-4F81-44F4-9108-BDD2E16B57C7}" dt="2025-03-26T15:49:49.725" v="1555" actId="208"/>
          <ac:cxnSpMkLst>
            <pc:docMk/>
            <pc:sldMk cId="3749321561" sldId="2147477054"/>
            <ac:cxnSpMk id="27" creationId="{A48F9F7C-C85A-EFA0-9D2D-33A06B8D4910}"/>
          </ac:cxnSpMkLst>
        </pc:cxnChg>
        <pc:cxnChg chg="add del mod">
          <ac:chgData name="Álvaro HERNANDO LÓPEZ (FERCHAU)" userId="7960b7a3-f1c3-40c1-b1cd-339346c7c44c" providerId="ADAL" clId="{70303EA2-4F81-44F4-9108-BDD2E16B57C7}" dt="2025-03-26T16:45:56.969" v="2376" actId="208"/>
          <ac:cxnSpMkLst>
            <pc:docMk/>
            <pc:sldMk cId="3749321561" sldId="2147477054"/>
            <ac:cxnSpMk id="37" creationId="{32F6CE3F-0E2A-7065-F103-E2FC6825F700}"/>
          </ac:cxnSpMkLst>
        </pc:cxnChg>
        <pc:cxnChg chg="add mod">
          <ac:chgData name="Álvaro HERNANDO LÓPEZ (FERCHAU)" userId="7960b7a3-f1c3-40c1-b1cd-339346c7c44c" providerId="ADAL" clId="{70303EA2-4F81-44F4-9108-BDD2E16B57C7}" dt="2025-03-26T16:47:02.792" v="2385" actId="208"/>
          <ac:cxnSpMkLst>
            <pc:docMk/>
            <pc:sldMk cId="3749321561" sldId="2147477054"/>
            <ac:cxnSpMk id="41" creationId="{FA972129-80D4-7890-D815-1D20D92D95D1}"/>
          </ac:cxnSpMkLst>
        </pc:cxnChg>
        <pc:cxnChg chg="add mod">
          <ac:chgData name="Álvaro HERNANDO LÓPEZ (FERCHAU)" userId="7960b7a3-f1c3-40c1-b1cd-339346c7c44c" providerId="ADAL" clId="{70303EA2-4F81-44F4-9108-BDD2E16B57C7}" dt="2025-03-24T11:16:47.677" v="492"/>
          <ac:cxnSpMkLst>
            <pc:docMk/>
            <pc:sldMk cId="3749321561" sldId="2147477054"/>
            <ac:cxnSpMk id="110" creationId="{F7C6E841-46C3-B1FB-1B9E-2B9E321BBA3A}"/>
          </ac:cxnSpMkLst>
        </pc:cxnChg>
        <pc:cxnChg chg="add mod">
          <ac:chgData name="Álvaro HERNANDO LÓPEZ (FERCHAU)" userId="7960b7a3-f1c3-40c1-b1cd-339346c7c44c" providerId="ADAL" clId="{70303EA2-4F81-44F4-9108-BDD2E16B57C7}" dt="2025-03-24T11:16:47.677" v="492"/>
          <ac:cxnSpMkLst>
            <pc:docMk/>
            <pc:sldMk cId="3749321561" sldId="2147477054"/>
            <ac:cxnSpMk id="111" creationId="{A1F17100-A044-5688-8077-984FEAB41898}"/>
          </ac:cxnSpMkLst>
        </pc:cxnChg>
      </pc:sldChg>
      <pc:sldChg chg="add del">
        <pc:chgData name="Álvaro HERNANDO LÓPEZ (FERCHAU)" userId="7960b7a3-f1c3-40c1-b1cd-339346c7c44c" providerId="ADAL" clId="{70303EA2-4F81-44F4-9108-BDD2E16B57C7}" dt="2025-03-24T10:54:21.376" v="341" actId="2696"/>
        <pc:sldMkLst>
          <pc:docMk/>
          <pc:sldMk cId="1457515487" sldId="2147477055"/>
        </pc:sldMkLst>
      </pc:sldChg>
      <pc:sldChg chg="addSp delSp modSp add mod modTransition modNotesTx">
        <pc:chgData name="Álvaro HERNANDO LÓPEZ (FERCHAU)" userId="7960b7a3-f1c3-40c1-b1cd-339346c7c44c" providerId="ADAL" clId="{70303EA2-4F81-44F4-9108-BDD2E16B57C7}" dt="2025-03-28T13:03:01.987" v="6328" actId="20577"/>
        <pc:sldMkLst>
          <pc:docMk/>
          <pc:sldMk cId="3013585730" sldId="2147477055"/>
        </pc:sldMkLst>
        <pc:spChg chg="mod">
          <ac:chgData name="Álvaro HERNANDO LÓPEZ (FERCHAU)" userId="7960b7a3-f1c3-40c1-b1cd-339346c7c44c" providerId="ADAL" clId="{70303EA2-4F81-44F4-9108-BDD2E16B57C7}" dt="2025-03-26T16:35:25.343" v="2244" actId="1076"/>
          <ac:spMkLst>
            <pc:docMk/>
            <pc:sldMk cId="3013585730" sldId="2147477055"/>
            <ac:spMk id="4" creationId="{8CC23AB9-C409-98B3-26F0-E8F535C8B10A}"/>
          </ac:spMkLst>
        </pc:spChg>
        <pc:spChg chg="mod">
          <ac:chgData name="Álvaro HERNANDO LÓPEZ (FERCHAU)" userId="7960b7a3-f1c3-40c1-b1cd-339346c7c44c" providerId="ADAL" clId="{70303EA2-4F81-44F4-9108-BDD2E16B57C7}" dt="2025-03-26T16:49:38.742" v="2431" actId="208"/>
          <ac:spMkLst>
            <pc:docMk/>
            <pc:sldMk cId="3013585730" sldId="2147477055"/>
            <ac:spMk id="5" creationId="{D4A27D20-2F02-47B8-B600-B323617191C0}"/>
          </ac:spMkLst>
        </pc:spChg>
        <pc:spChg chg="mod">
          <ac:chgData name="Álvaro HERNANDO LÓPEZ (FERCHAU)" userId="7960b7a3-f1c3-40c1-b1cd-339346c7c44c" providerId="ADAL" clId="{70303EA2-4F81-44F4-9108-BDD2E16B57C7}" dt="2025-03-26T16:34:51.216" v="2234" actId="1076"/>
          <ac:spMkLst>
            <pc:docMk/>
            <pc:sldMk cId="3013585730" sldId="2147477055"/>
            <ac:spMk id="18" creationId="{6E07D154-DA6B-0BA1-369E-25B2ED519704}"/>
          </ac:spMkLst>
        </pc:spChg>
        <pc:spChg chg="mod">
          <ac:chgData name="Álvaro HERNANDO LÓPEZ (FERCHAU)" userId="7960b7a3-f1c3-40c1-b1cd-339346c7c44c" providerId="ADAL" clId="{70303EA2-4F81-44F4-9108-BDD2E16B57C7}" dt="2025-03-26T16:49:33.528" v="2430" actId="208"/>
          <ac:spMkLst>
            <pc:docMk/>
            <pc:sldMk cId="3013585730" sldId="2147477055"/>
            <ac:spMk id="46" creationId="{EDD33569-C52F-3DEB-4C17-B7FE1365B546}"/>
          </ac:spMkLst>
        </pc:spChg>
        <pc:spChg chg="add mod">
          <ac:chgData name="Álvaro HERNANDO LÓPEZ (FERCHAU)" userId="7960b7a3-f1c3-40c1-b1cd-339346c7c44c" providerId="ADAL" clId="{70303EA2-4F81-44F4-9108-BDD2E16B57C7}" dt="2025-03-25T09:32:02.107" v="926" actId="1076"/>
          <ac:spMkLst>
            <pc:docMk/>
            <pc:sldMk cId="3013585730" sldId="2147477055"/>
            <ac:spMk id="49" creationId="{6B02CAA7-1B5F-8D25-320E-91A0D00A3C62}"/>
          </ac:spMkLst>
        </pc:spChg>
        <pc:spChg chg="add mod">
          <ac:chgData name="Álvaro HERNANDO LÓPEZ (FERCHAU)" userId="7960b7a3-f1c3-40c1-b1cd-339346c7c44c" providerId="ADAL" clId="{70303EA2-4F81-44F4-9108-BDD2E16B57C7}" dt="2025-03-26T16:10:35.968" v="1716" actId="14100"/>
          <ac:spMkLst>
            <pc:docMk/>
            <pc:sldMk cId="3013585730" sldId="2147477055"/>
            <ac:spMk id="53" creationId="{BE6EA1B8-7C9B-48C2-38C6-681DF023BCF8}"/>
          </ac:spMkLst>
        </pc:spChg>
        <pc:spChg chg="add mod">
          <ac:chgData name="Álvaro HERNANDO LÓPEZ (FERCHAU)" userId="7960b7a3-f1c3-40c1-b1cd-339346c7c44c" providerId="ADAL" clId="{70303EA2-4F81-44F4-9108-BDD2E16B57C7}" dt="2025-03-26T16:34:33.266" v="2226"/>
          <ac:spMkLst>
            <pc:docMk/>
            <pc:sldMk cId="3013585730" sldId="2147477055"/>
            <ac:spMk id="82" creationId="{A2B2D018-A3CC-0849-EAF1-568DB8D1787B}"/>
          </ac:spMkLst>
        </pc:spChg>
        <pc:spChg chg="add mod">
          <ac:chgData name="Álvaro HERNANDO LÓPEZ (FERCHAU)" userId="7960b7a3-f1c3-40c1-b1cd-339346c7c44c" providerId="ADAL" clId="{70303EA2-4F81-44F4-9108-BDD2E16B57C7}" dt="2025-03-26T16:34:33.266" v="2226"/>
          <ac:spMkLst>
            <pc:docMk/>
            <pc:sldMk cId="3013585730" sldId="2147477055"/>
            <ac:spMk id="85" creationId="{5A8377F6-DD7D-B641-8D74-44CCCA48F339}"/>
          </ac:spMkLst>
        </pc:spChg>
        <pc:spChg chg="add mod">
          <ac:chgData name="Álvaro HERNANDO LÓPEZ (FERCHAU)" userId="7960b7a3-f1c3-40c1-b1cd-339346c7c44c" providerId="ADAL" clId="{70303EA2-4F81-44F4-9108-BDD2E16B57C7}" dt="2025-03-26T16:34:33.266" v="2226"/>
          <ac:spMkLst>
            <pc:docMk/>
            <pc:sldMk cId="3013585730" sldId="2147477055"/>
            <ac:spMk id="86" creationId="{D8F5F812-A660-423E-6598-F0FA3883A9C3}"/>
          </ac:spMkLst>
        </pc:spChg>
        <pc:spChg chg="add mod">
          <ac:chgData name="Álvaro HERNANDO LÓPEZ (FERCHAU)" userId="7960b7a3-f1c3-40c1-b1cd-339346c7c44c" providerId="ADAL" clId="{70303EA2-4F81-44F4-9108-BDD2E16B57C7}" dt="2025-03-26T16:34:33.266" v="2226"/>
          <ac:spMkLst>
            <pc:docMk/>
            <pc:sldMk cId="3013585730" sldId="2147477055"/>
            <ac:spMk id="87" creationId="{8EBEA50F-B285-0348-9894-D8D3E10B8DEC}"/>
          </ac:spMkLst>
        </pc:spChg>
        <pc:spChg chg="add mod">
          <ac:chgData name="Álvaro HERNANDO LÓPEZ (FERCHAU)" userId="7960b7a3-f1c3-40c1-b1cd-339346c7c44c" providerId="ADAL" clId="{70303EA2-4F81-44F4-9108-BDD2E16B57C7}" dt="2025-03-26T16:41:02.943" v="2360"/>
          <ac:spMkLst>
            <pc:docMk/>
            <pc:sldMk cId="3013585730" sldId="2147477055"/>
            <ac:spMk id="88" creationId="{9620C15B-EE33-5215-0EE2-32F11F0CF702}"/>
          </ac:spMkLst>
        </pc:spChg>
        <pc:spChg chg="add mod">
          <ac:chgData name="Álvaro HERNANDO LÓPEZ (FERCHAU)" userId="7960b7a3-f1c3-40c1-b1cd-339346c7c44c" providerId="ADAL" clId="{70303EA2-4F81-44F4-9108-BDD2E16B57C7}" dt="2025-03-26T16:35:03.281" v="2239" actId="1076"/>
          <ac:spMkLst>
            <pc:docMk/>
            <pc:sldMk cId="3013585730" sldId="2147477055"/>
            <ac:spMk id="103" creationId="{66DE3250-B62A-AAF1-92CA-AE511925D1D1}"/>
          </ac:spMkLst>
        </pc:spChg>
        <pc:grpChg chg="mod">
          <ac:chgData name="Álvaro HERNANDO LÓPEZ (FERCHAU)" userId="7960b7a3-f1c3-40c1-b1cd-339346c7c44c" providerId="ADAL" clId="{70303EA2-4F81-44F4-9108-BDD2E16B57C7}" dt="2025-03-24T11:01:42.715" v="379" actId="1076"/>
          <ac:grpSpMkLst>
            <pc:docMk/>
            <pc:sldMk cId="3013585730" sldId="2147477055"/>
            <ac:grpSpMk id="21" creationId="{C597D651-D7F2-C3B5-33F4-6216B15211EB}"/>
          </ac:grpSpMkLst>
        </pc:grpChg>
        <pc:picChg chg="mod">
          <ac:chgData name="Álvaro HERNANDO LÓPEZ (FERCHAU)" userId="7960b7a3-f1c3-40c1-b1cd-339346c7c44c" providerId="ADAL" clId="{70303EA2-4F81-44F4-9108-BDD2E16B57C7}" dt="2025-03-24T11:03:59.325" v="422" actId="1038"/>
          <ac:picMkLst>
            <pc:docMk/>
            <pc:sldMk cId="3013585730" sldId="2147477055"/>
            <ac:picMk id="8" creationId="{3E069A1E-62C9-BF72-1602-D325A0503187}"/>
          </ac:picMkLst>
        </pc:picChg>
        <pc:picChg chg="add mod">
          <ac:chgData name="Álvaro HERNANDO LÓPEZ (FERCHAU)" userId="7960b7a3-f1c3-40c1-b1cd-339346c7c44c" providerId="ADAL" clId="{70303EA2-4F81-44F4-9108-BDD2E16B57C7}" dt="2025-03-24T13:05:07.526" v="684" actId="1036"/>
          <ac:picMkLst>
            <pc:docMk/>
            <pc:sldMk cId="3013585730" sldId="2147477055"/>
            <ac:picMk id="42" creationId="{4E23A96A-E848-532F-F025-9E333B74D318}"/>
          </ac:picMkLst>
        </pc:picChg>
        <pc:picChg chg="add mod">
          <ac:chgData name="Álvaro HERNANDO LÓPEZ (FERCHAU)" userId="7960b7a3-f1c3-40c1-b1cd-339346c7c44c" providerId="ADAL" clId="{70303EA2-4F81-44F4-9108-BDD2E16B57C7}" dt="2025-03-25T10:19:04.937" v="1416"/>
          <ac:picMkLst>
            <pc:docMk/>
            <pc:sldMk cId="3013585730" sldId="2147477055"/>
            <ac:picMk id="56" creationId="{FDE34B56-F471-9F9B-DCA4-329D6F2C7FD2}"/>
          </ac:picMkLst>
        </pc:picChg>
        <pc:picChg chg="add mod">
          <ac:chgData name="Álvaro HERNANDO LÓPEZ (FERCHAU)" userId="7960b7a3-f1c3-40c1-b1cd-339346c7c44c" providerId="ADAL" clId="{70303EA2-4F81-44F4-9108-BDD2E16B57C7}" dt="2025-03-25T10:19:04.937" v="1416"/>
          <ac:picMkLst>
            <pc:docMk/>
            <pc:sldMk cId="3013585730" sldId="2147477055"/>
            <ac:picMk id="63" creationId="{E1A00617-6979-0D03-B763-98FE72E4CDCA}"/>
          </ac:picMkLst>
        </pc:picChg>
        <pc:picChg chg="add mod">
          <ac:chgData name="Álvaro HERNANDO LÓPEZ (FERCHAU)" userId="7960b7a3-f1c3-40c1-b1cd-339346c7c44c" providerId="ADAL" clId="{70303EA2-4F81-44F4-9108-BDD2E16B57C7}" dt="2025-03-24T13:09:31.995" v="775" actId="1037"/>
          <ac:picMkLst>
            <pc:docMk/>
            <pc:sldMk cId="3013585730" sldId="2147477055"/>
            <ac:picMk id="83" creationId="{6124AA37-C68C-EFB8-DD7A-A795E0313BDB}"/>
          </ac:picMkLst>
        </pc:picChg>
        <pc:picChg chg="add mod">
          <ac:chgData name="Álvaro HERNANDO LÓPEZ (FERCHAU)" userId="7960b7a3-f1c3-40c1-b1cd-339346c7c44c" providerId="ADAL" clId="{70303EA2-4F81-44F4-9108-BDD2E16B57C7}" dt="2025-03-24T13:06:12.010" v="694" actId="1076"/>
          <ac:picMkLst>
            <pc:docMk/>
            <pc:sldMk cId="3013585730" sldId="2147477055"/>
            <ac:picMk id="84" creationId="{FEFC84C0-C21F-8EB0-7983-77EBDB15EBB7}"/>
          </ac:picMkLst>
        </pc:picChg>
        <pc:cxnChg chg="mod">
          <ac:chgData name="Álvaro HERNANDO LÓPEZ (FERCHAU)" userId="7960b7a3-f1c3-40c1-b1cd-339346c7c44c" providerId="ADAL" clId="{70303EA2-4F81-44F4-9108-BDD2E16B57C7}" dt="2025-03-24T13:01:08.738" v="640" actId="14100"/>
          <ac:cxnSpMkLst>
            <pc:docMk/>
            <pc:sldMk cId="3013585730" sldId="2147477055"/>
            <ac:cxnSpMk id="13" creationId="{6B1E1022-A77D-DB0F-271F-AF68646A702D}"/>
          </ac:cxnSpMkLst>
        </pc:cxnChg>
        <pc:cxnChg chg="mod">
          <ac:chgData name="Álvaro HERNANDO LÓPEZ (FERCHAU)" userId="7960b7a3-f1c3-40c1-b1cd-339346c7c44c" providerId="ADAL" clId="{70303EA2-4F81-44F4-9108-BDD2E16B57C7}" dt="2025-03-24T13:01:23.506" v="643" actId="14100"/>
          <ac:cxnSpMkLst>
            <pc:docMk/>
            <pc:sldMk cId="3013585730" sldId="2147477055"/>
            <ac:cxnSpMk id="23" creationId="{8F9C53A3-5FA2-B2E0-C04D-CB31FE5EEBFC}"/>
          </ac:cxnSpMkLst>
        </pc:cxnChg>
        <pc:cxnChg chg="mod">
          <ac:chgData name="Álvaro HERNANDO LÓPEZ (FERCHAU)" userId="7960b7a3-f1c3-40c1-b1cd-339346c7c44c" providerId="ADAL" clId="{70303EA2-4F81-44F4-9108-BDD2E16B57C7}" dt="2025-03-26T16:47:09.749" v="2386" actId="208"/>
          <ac:cxnSpMkLst>
            <pc:docMk/>
            <pc:sldMk cId="3013585730" sldId="2147477055"/>
            <ac:cxnSpMk id="37" creationId="{6A5BEF84-C6B5-4594-2C5C-001127E2AB2B}"/>
          </ac:cxnSpMkLst>
        </pc:cxnChg>
        <pc:cxnChg chg="add mod">
          <ac:chgData name="Álvaro HERNANDO LÓPEZ (FERCHAU)" userId="7960b7a3-f1c3-40c1-b1cd-339346c7c44c" providerId="ADAL" clId="{70303EA2-4F81-44F4-9108-BDD2E16B57C7}" dt="2025-03-24T13:05:19.041" v="686" actId="14100"/>
          <ac:cxnSpMkLst>
            <pc:docMk/>
            <pc:sldMk cId="3013585730" sldId="2147477055"/>
            <ac:cxnSpMk id="44" creationId="{8F9603D4-8DC0-BF7B-B7A3-289CAEF2A0D7}"/>
          </ac:cxnSpMkLst>
        </pc:cxnChg>
        <pc:cxnChg chg="add mod">
          <ac:chgData name="Álvaro HERNANDO LÓPEZ (FERCHAU)" userId="7960b7a3-f1c3-40c1-b1cd-339346c7c44c" providerId="ADAL" clId="{70303EA2-4F81-44F4-9108-BDD2E16B57C7}" dt="2025-03-24T13:05:45.314" v="687" actId="14100"/>
          <ac:cxnSpMkLst>
            <pc:docMk/>
            <pc:sldMk cId="3013585730" sldId="2147477055"/>
            <ac:cxnSpMk id="45" creationId="{FA6271C8-BBDA-8C74-4889-D19C521B7ABD}"/>
          </ac:cxnSpMkLst>
        </pc:cxnChg>
        <pc:cxnChg chg="add mod">
          <ac:chgData name="Álvaro HERNANDO LÓPEZ (FERCHAU)" userId="7960b7a3-f1c3-40c1-b1cd-339346c7c44c" providerId="ADAL" clId="{70303EA2-4F81-44F4-9108-BDD2E16B57C7}" dt="2025-03-24T13:05:07.526" v="684" actId="1036"/>
          <ac:cxnSpMkLst>
            <pc:docMk/>
            <pc:sldMk cId="3013585730" sldId="2147477055"/>
            <ac:cxnSpMk id="47" creationId="{8EC14E56-B7CE-3276-074E-299BCBDB2376}"/>
          </ac:cxnSpMkLst>
        </pc:cxnChg>
        <pc:cxnChg chg="mod">
          <ac:chgData name="Álvaro HERNANDO LÓPEZ (FERCHAU)" userId="7960b7a3-f1c3-40c1-b1cd-339346c7c44c" providerId="ADAL" clId="{70303EA2-4F81-44F4-9108-BDD2E16B57C7}" dt="2025-03-26T15:49:58.556" v="1556" actId="208"/>
          <ac:cxnSpMkLst>
            <pc:docMk/>
            <pc:sldMk cId="3013585730" sldId="2147477055"/>
            <ac:cxnSpMk id="57" creationId="{B63A0FC2-5AF6-BC35-AB5C-382A4AD9A715}"/>
          </ac:cxnSpMkLst>
        </pc:cxnChg>
        <pc:cxnChg chg="add mod">
          <ac:chgData name="Álvaro HERNANDO LÓPEZ (FERCHAU)" userId="7960b7a3-f1c3-40c1-b1cd-339346c7c44c" providerId="ADAL" clId="{70303EA2-4F81-44F4-9108-BDD2E16B57C7}" dt="2025-03-24T11:15:05.554" v="475" actId="1076"/>
          <ac:cxnSpMkLst>
            <pc:docMk/>
            <pc:sldMk cId="3013585730" sldId="2147477055"/>
            <ac:cxnSpMk id="59" creationId="{CCFA1141-46E1-F9F9-3CA1-110FD786FFC8}"/>
          </ac:cxnSpMkLst>
        </pc:cxnChg>
        <pc:cxnChg chg="add mod">
          <ac:chgData name="Álvaro HERNANDO LÓPEZ (FERCHAU)" userId="7960b7a3-f1c3-40c1-b1cd-339346c7c44c" providerId="ADAL" clId="{70303EA2-4F81-44F4-9108-BDD2E16B57C7}" dt="2025-03-24T11:16:27.515" v="489" actId="14100"/>
          <ac:cxnSpMkLst>
            <pc:docMk/>
            <pc:sldMk cId="3013585730" sldId="2147477055"/>
            <ac:cxnSpMk id="60" creationId="{CD0FDC1C-58BB-591D-AC23-0DFF5AC7FFF8}"/>
          </ac:cxnSpMkLst>
        </pc:cxnChg>
        <pc:cxnChg chg="add mod">
          <ac:chgData name="Álvaro HERNANDO LÓPEZ (FERCHAU)" userId="7960b7a3-f1c3-40c1-b1cd-339346c7c44c" providerId="ADAL" clId="{70303EA2-4F81-44F4-9108-BDD2E16B57C7}" dt="2025-03-26T16:47:16.879" v="2388" actId="208"/>
          <ac:cxnSpMkLst>
            <pc:docMk/>
            <pc:sldMk cId="3013585730" sldId="2147477055"/>
            <ac:cxnSpMk id="66" creationId="{CAA37426-23D1-940E-C28F-E9D888B0823B}"/>
          </ac:cxnSpMkLst>
        </pc:cxnChg>
        <pc:cxnChg chg="add mod">
          <ac:chgData name="Álvaro HERNANDO LÓPEZ (FERCHAU)" userId="7960b7a3-f1c3-40c1-b1cd-339346c7c44c" providerId="ADAL" clId="{70303EA2-4F81-44F4-9108-BDD2E16B57C7}" dt="2025-03-26T17:14:09.367" v="4376"/>
          <ac:cxnSpMkLst>
            <pc:docMk/>
            <pc:sldMk cId="3013585730" sldId="2147477055"/>
            <ac:cxnSpMk id="89" creationId="{EEAE6FDE-75E9-CB0A-C67D-BBA70569D278}"/>
          </ac:cxnSpMkLst>
        </pc:cxnChg>
        <pc:cxnChg chg="add mod">
          <ac:chgData name="Álvaro HERNANDO LÓPEZ (FERCHAU)" userId="7960b7a3-f1c3-40c1-b1cd-339346c7c44c" providerId="ADAL" clId="{70303EA2-4F81-44F4-9108-BDD2E16B57C7}" dt="2025-03-24T13:04:21.297" v="664" actId="14100"/>
          <ac:cxnSpMkLst>
            <pc:docMk/>
            <pc:sldMk cId="3013585730" sldId="2147477055"/>
            <ac:cxnSpMk id="94" creationId="{63F9FC79-E694-C5BB-BE50-B4FC7CDA6D5D}"/>
          </ac:cxnSpMkLst>
        </pc:cxnChg>
        <pc:cxnChg chg="add mod">
          <ac:chgData name="Álvaro HERNANDO LÓPEZ (FERCHAU)" userId="7960b7a3-f1c3-40c1-b1cd-339346c7c44c" providerId="ADAL" clId="{70303EA2-4F81-44F4-9108-BDD2E16B57C7}" dt="2025-03-24T13:03:53.600" v="663" actId="14100"/>
          <ac:cxnSpMkLst>
            <pc:docMk/>
            <pc:sldMk cId="3013585730" sldId="2147477055"/>
            <ac:cxnSpMk id="95" creationId="{DE6D7CDA-4326-77D7-0C7C-B4AB8CD4FF48}"/>
          </ac:cxnSpMkLst>
        </pc:cxnChg>
        <pc:cxnChg chg="add mod">
          <ac:chgData name="Álvaro HERNANDO LÓPEZ (FERCHAU)" userId="7960b7a3-f1c3-40c1-b1cd-339346c7c44c" providerId="ADAL" clId="{70303EA2-4F81-44F4-9108-BDD2E16B57C7}" dt="2025-03-24T13:08:02.451" v="740" actId="1076"/>
          <ac:cxnSpMkLst>
            <pc:docMk/>
            <pc:sldMk cId="3013585730" sldId="2147477055"/>
            <ac:cxnSpMk id="106" creationId="{A0BCAAA4-9EFB-1907-6CC9-D5B3D1A2CAD3}"/>
          </ac:cxnSpMkLst>
        </pc:cxnChg>
        <pc:cxnChg chg="add mod">
          <ac:chgData name="Álvaro HERNANDO LÓPEZ (FERCHAU)" userId="7960b7a3-f1c3-40c1-b1cd-339346c7c44c" providerId="ADAL" clId="{70303EA2-4F81-44F4-9108-BDD2E16B57C7}" dt="2025-03-24T13:08:02.451" v="740" actId="1076"/>
          <ac:cxnSpMkLst>
            <pc:docMk/>
            <pc:sldMk cId="3013585730" sldId="2147477055"/>
            <ac:cxnSpMk id="107" creationId="{DF858278-A408-E91B-F5A5-95D7ADA6FBDD}"/>
          </ac:cxnSpMkLst>
        </pc:cxnChg>
        <pc:cxnChg chg="add mod">
          <ac:chgData name="Álvaro HERNANDO LÓPEZ (FERCHAU)" userId="7960b7a3-f1c3-40c1-b1cd-339346c7c44c" providerId="ADAL" clId="{70303EA2-4F81-44F4-9108-BDD2E16B57C7}" dt="2025-03-24T13:09:54.259" v="778" actId="14100"/>
          <ac:cxnSpMkLst>
            <pc:docMk/>
            <pc:sldMk cId="3013585730" sldId="2147477055"/>
            <ac:cxnSpMk id="108" creationId="{8B8CF2E5-234C-9845-4524-150533B2292B}"/>
          </ac:cxnSpMkLst>
        </pc:cxnChg>
        <pc:cxnChg chg="add mod">
          <ac:chgData name="Álvaro HERNANDO LÓPEZ (FERCHAU)" userId="7960b7a3-f1c3-40c1-b1cd-339346c7c44c" providerId="ADAL" clId="{70303EA2-4F81-44F4-9108-BDD2E16B57C7}" dt="2025-03-24T13:10:06.746" v="781" actId="14100"/>
          <ac:cxnSpMkLst>
            <pc:docMk/>
            <pc:sldMk cId="3013585730" sldId="2147477055"/>
            <ac:cxnSpMk id="111" creationId="{25ED01F4-E9C3-81BB-4BC5-1CB282D154C3}"/>
          </ac:cxnSpMkLst>
        </pc:cxnChg>
        <pc:cxnChg chg="add mod">
          <ac:chgData name="Álvaro HERNANDO LÓPEZ (FERCHAU)" userId="7960b7a3-f1c3-40c1-b1cd-339346c7c44c" providerId="ADAL" clId="{70303EA2-4F81-44F4-9108-BDD2E16B57C7}" dt="2025-03-26T16:47:13.614" v="2387" actId="208"/>
          <ac:cxnSpMkLst>
            <pc:docMk/>
            <pc:sldMk cId="3013585730" sldId="2147477055"/>
            <ac:cxnSpMk id="114" creationId="{24AB5662-8480-8319-683A-396F208BA7F2}"/>
          </ac:cxnSpMkLst>
        </pc:cxnChg>
      </pc:sldChg>
      <pc:sldChg chg="add del">
        <pc:chgData name="Álvaro HERNANDO LÓPEZ (FERCHAU)" userId="7960b7a3-f1c3-40c1-b1cd-339346c7c44c" providerId="ADAL" clId="{70303EA2-4F81-44F4-9108-BDD2E16B57C7}" dt="2025-03-24T11:02:58.387" v="391" actId="47"/>
        <pc:sldMkLst>
          <pc:docMk/>
          <pc:sldMk cId="1117734585" sldId="2147477056"/>
        </pc:sldMkLst>
      </pc:sldChg>
      <pc:sldChg chg="addSp delSp modSp add mod modTransition modNotesTx">
        <pc:chgData name="Álvaro HERNANDO LÓPEZ (FERCHAU)" userId="7960b7a3-f1c3-40c1-b1cd-339346c7c44c" providerId="ADAL" clId="{70303EA2-4F81-44F4-9108-BDD2E16B57C7}" dt="2025-03-28T13:06:12.663" v="6643" actId="20577"/>
        <pc:sldMkLst>
          <pc:docMk/>
          <pc:sldMk cId="1590415788" sldId="2147477056"/>
        </pc:sldMkLst>
        <pc:spChg chg="mod">
          <ac:chgData name="Álvaro HERNANDO LÓPEZ (FERCHAU)" userId="7960b7a3-f1c3-40c1-b1cd-339346c7c44c" providerId="ADAL" clId="{70303EA2-4F81-44F4-9108-BDD2E16B57C7}" dt="2025-03-26T16:49:44.336" v="2432" actId="208"/>
          <ac:spMkLst>
            <pc:docMk/>
            <pc:sldMk cId="1590415788" sldId="2147477056"/>
            <ac:spMk id="38" creationId="{1FC862AD-311C-2A10-AD23-68387E56F100}"/>
          </ac:spMkLst>
        </pc:spChg>
        <pc:spChg chg="mod">
          <ac:chgData name="Álvaro HERNANDO LÓPEZ (FERCHAU)" userId="7960b7a3-f1c3-40c1-b1cd-339346c7c44c" providerId="ADAL" clId="{70303EA2-4F81-44F4-9108-BDD2E16B57C7}" dt="2025-03-26T16:49:44.336" v="2432" actId="208"/>
          <ac:spMkLst>
            <pc:docMk/>
            <pc:sldMk cId="1590415788" sldId="2147477056"/>
            <ac:spMk id="46" creationId="{ACDC4C8D-2AAF-9463-36CA-D2A34CAC23E3}"/>
          </ac:spMkLst>
        </pc:spChg>
        <pc:spChg chg="add mod">
          <ac:chgData name="Álvaro HERNANDO LÓPEZ (FERCHAU)" userId="7960b7a3-f1c3-40c1-b1cd-339346c7c44c" providerId="ADAL" clId="{70303EA2-4F81-44F4-9108-BDD2E16B57C7}" dt="2025-03-25T09:32:43.423" v="929"/>
          <ac:spMkLst>
            <pc:docMk/>
            <pc:sldMk cId="1590415788" sldId="2147477056"/>
            <ac:spMk id="56" creationId="{8B5D863F-11DA-8A27-DCF2-47D06ED8B6A0}"/>
          </ac:spMkLst>
        </pc:spChg>
        <pc:spChg chg="add mod">
          <ac:chgData name="Álvaro HERNANDO LÓPEZ (FERCHAU)" userId="7960b7a3-f1c3-40c1-b1cd-339346c7c44c" providerId="ADAL" clId="{70303EA2-4F81-44F4-9108-BDD2E16B57C7}" dt="2025-03-26T16:10:39.687" v="1717" actId="14100"/>
          <ac:spMkLst>
            <pc:docMk/>
            <pc:sldMk cId="1590415788" sldId="2147477056"/>
            <ac:spMk id="76" creationId="{D05723C5-FF83-3429-FCF5-8C11F8AC670F}"/>
          </ac:spMkLst>
        </pc:spChg>
        <pc:spChg chg="add mod">
          <ac:chgData name="Álvaro HERNANDO LÓPEZ (FERCHAU)" userId="7960b7a3-f1c3-40c1-b1cd-339346c7c44c" providerId="ADAL" clId="{70303EA2-4F81-44F4-9108-BDD2E16B57C7}" dt="2025-03-26T16:35:55.358" v="2253"/>
          <ac:spMkLst>
            <pc:docMk/>
            <pc:sldMk cId="1590415788" sldId="2147477056"/>
            <ac:spMk id="90" creationId="{91B72D5E-F569-858E-B84F-13441ABECAF0}"/>
          </ac:spMkLst>
        </pc:spChg>
        <pc:spChg chg="add mod">
          <ac:chgData name="Álvaro HERNANDO LÓPEZ (FERCHAU)" userId="7960b7a3-f1c3-40c1-b1cd-339346c7c44c" providerId="ADAL" clId="{70303EA2-4F81-44F4-9108-BDD2E16B57C7}" dt="2025-03-26T16:35:55.358" v="2253"/>
          <ac:spMkLst>
            <pc:docMk/>
            <pc:sldMk cId="1590415788" sldId="2147477056"/>
            <ac:spMk id="91" creationId="{496FD099-34AB-E2BF-D470-A5BD4B9DA8C1}"/>
          </ac:spMkLst>
        </pc:spChg>
        <pc:spChg chg="add mod">
          <ac:chgData name="Álvaro HERNANDO LÓPEZ (FERCHAU)" userId="7960b7a3-f1c3-40c1-b1cd-339346c7c44c" providerId="ADAL" clId="{70303EA2-4F81-44F4-9108-BDD2E16B57C7}" dt="2025-03-26T16:35:55.358" v="2253"/>
          <ac:spMkLst>
            <pc:docMk/>
            <pc:sldMk cId="1590415788" sldId="2147477056"/>
            <ac:spMk id="92" creationId="{CB1DF9B2-B4B1-059E-035C-4C3D27BAFC4D}"/>
          </ac:spMkLst>
        </pc:spChg>
        <pc:spChg chg="add mod">
          <ac:chgData name="Álvaro HERNANDO LÓPEZ (FERCHAU)" userId="7960b7a3-f1c3-40c1-b1cd-339346c7c44c" providerId="ADAL" clId="{70303EA2-4F81-44F4-9108-BDD2E16B57C7}" dt="2025-03-26T16:35:55.358" v="2253"/>
          <ac:spMkLst>
            <pc:docMk/>
            <pc:sldMk cId="1590415788" sldId="2147477056"/>
            <ac:spMk id="96" creationId="{35971D50-61AF-2698-D541-728C45D66A41}"/>
          </ac:spMkLst>
        </pc:spChg>
        <pc:spChg chg="add mod">
          <ac:chgData name="Álvaro HERNANDO LÓPEZ (FERCHAU)" userId="7960b7a3-f1c3-40c1-b1cd-339346c7c44c" providerId="ADAL" clId="{70303EA2-4F81-44F4-9108-BDD2E16B57C7}" dt="2025-03-26T16:35:55.358" v="2253"/>
          <ac:spMkLst>
            <pc:docMk/>
            <pc:sldMk cId="1590415788" sldId="2147477056"/>
            <ac:spMk id="97" creationId="{C7EB1156-75AD-DFE9-19D0-9F711F355822}"/>
          </ac:spMkLst>
        </pc:spChg>
        <pc:spChg chg="add mod">
          <ac:chgData name="Álvaro HERNANDO LÓPEZ (FERCHAU)" userId="7960b7a3-f1c3-40c1-b1cd-339346c7c44c" providerId="ADAL" clId="{70303EA2-4F81-44F4-9108-BDD2E16B57C7}" dt="2025-03-26T16:35:55.358" v="2253"/>
          <ac:spMkLst>
            <pc:docMk/>
            <pc:sldMk cId="1590415788" sldId="2147477056"/>
            <ac:spMk id="98" creationId="{E5D76F97-AB84-6286-4D0E-4C885C574157}"/>
          </ac:spMkLst>
        </pc:spChg>
        <pc:spChg chg="add mod">
          <ac:chgData name="Álvaro HERNANDO LÓPEZ (FERCHAU)" userId="7960b7a3-f1c3-40c1-b1cd-339346c7c44c" providerId="ADAL" clId="{70303EA2-4F81-44F4-9108-BDD2E16B57C7}" dt="2025-03-26T16:35:55.358" v="2253"/>
          <ac:spMkLst>
            <pc:docMk/>
            <pc:sldMk cId="1590415788" sldId="2147477056"/>
            <ac:spMk id="99" creationId="{D1122937-D709-56F5-C464-2B6984FF51BF}"/>
          </ac:spMkLst>
        </pc:spChg>
        <pc:spChg chg="add mod">
          <ac:chgData name="Álvaro HERNANDO LÓPEZ (FERCHAU)" userId="7960b7a3-f1c3-40c1-b1cd-339346c7c44c" providerId="ADAL" clId="{70303EA2-4F81-44F4-9108-BDD2E16B57C7}" dt="2025-03-26T16:41:04.980" v="2361"/>
          <ac:spMkLst>
            <pc:docMk/>
            <pc:sldMk cId="1590415788" sldId="2147477056"/>
            <ac:spMk id="100" creationId="{7444AFD7-112D-53B1-89CF-E057F944C2FB}"/>
          </ac:spMkLst>
        </pc:spChg>
        <pc:grpChg chg="mod">
          <ac:chgData name="Álvaro HERNANDO LÓPEZ (FERCHAU)" userId="7960b7a3-f1c3-40c1-b1cd-339346c7c44c" providerId="ADAL" clId="{70303EA2-4F81-44F4-9108-BDD2E16B57C7}" dt="2025-03-24T13:12:05.174" v="812" actId="1037"/>
          <ac:grpSpMkLst>
            <pc:docMk/>
            <pc:sldMk cId="1590415788" sldId="2147477056"/>
            <ac:grpSpMk id="21" creationId="{0219B000-F2CC-110B-DCDA-C66C64C919F6}"/>
          </ac:grpSpMkLst>
        </pc:grpChg>
        <pc:grpChg chg="add mod">
          <ac:chgData name="Álvaro HERNANDO LÓPEZ (FERCHAU)" userId="7960b7a3-f1c3-40c1-b1cd-339346c7c44c" providerId="ADAL" clId="{70303EA2-4F81-44F4-9108-BDD2E16B57C7}" dt="2025-03-25T09:23:33.198" v="900" actId="1076"/>
          <ac:grpSpMkLst>
            <pc:docMk/>
            <pc:sldMk cId="1590415788" sldId="2147477056"/>
            <ac:grpSpMk id="37" creationId="{AAAB7E94-70B7-84E3-73F8-547AAED904E9}"/>
          </ac:grpSpMkLst>
        </pc:grpChg>
        <pc:picChg chg="mod">
          <ac:chgData name="Álvaro HERNANDO LÓPEZ (FERCHAU)" userId="7960b7a3-f1c3-40c1-b1cd-339346c7c44c" providerId="ADAL" clId="{70303EA2-4F81-44F4-9108-BDD2E16B57C7}" dt="2025-03-24T13:11:58.479" v="798" actId="1037"/>
          <ac:picMkLst>
            <pc:docMk/>
            <pc:sldMk cId="1590415788" sldId="2147477056"/>
            <ac:picMk id="9" creationId="{A4B23EB9-02FD-83B0-3774-204F2AC0435C}"/>
          </ac:picMkLst>
        </pc:picChg>
        <pc:picChg chg="mod">
          <ac:chgData name="Álvaro HERNANDO LÓPEZ (FERCHAU)" userId="7960b7a3-f1c3-40c1-b1cd-339346c7c44c" providerId="ADAL" clId="{70303EA2-4F81-44F4-9108-BDD2E16B57C7}" dt="2025-03-26T16:27:02.696" v="2119" actId="14100"/>
          <ac:picMkLst>
            <pc:docMk/>
            <pc:sldMk cId="1590415788" sldId="2147477056"/>
            <ac:picMk id="50" creationId="{0AA08DCE-10D1-4693-759E-30B5F3E8A94C}"/>
          </ac:picMkLst>
        </pc:picChg>
        <pc:picChg chg="add mod">
          <ac:chgData name="Álvaro HERNANDO LÓPEZ (FERCHAU)" userId="7960b7a3-f1c3-40c1-b1cd-339346c7c44c" providerId="ADAL" clId="{70303EA2-4F81-44F4-9108-BDD2E16B57C7}" dt="2025-03-26T16:28:56.683" v="2142"/>
          <ac:picMkLst>
            <pc:docMk/>
            <pc:sldMk cId="1590415788" sldId="2147477056"/>
            <ac:picMk id="74" creationId="{0BEA8172-D0DE-772B-74F2-CFAE5D94D894}"/>
          </ac:picMkLst>
        </pc:picChg>
        <pc:picChg chg="add mod">
          <ac:chgData name="Álvaro HERNANDO LÓPEZ (FERCHAU)" userId="7960b7a3-f1c3-40c1-b1cd-339346c7c44c" providerId="ADAL" clId="{70303EA2-4F81-44F4-9108-BDD2E16B57C7}" dt="2025-03-25T10:19:09.010" v="1417"/>
          <ac:picMkLst>
            <pc:docMk/>
            <pc:sldMk cId="1590415788" sldId="2147477056"/>
            <ac:picMk id="80" creationId="{85A68DDB-B3E6-7A92-E7CB-FFA5A4357EEE}"/>
          </ac:picMkLst>
        </pc:picChg>
        <pc:picChg chg="add mod">
          <ac:chgData name="Álvaro HERNANDO LÓPEZ (FERCHAU)" userId="7960b7a3-f1c3-40c1-b1cd-339346c7c44c" providerId="ADAL" clId="{70303EA2-4F81-44F4-9108-BDD2E16B57C7}" dt="2025-03-25T10:19:09.010" v="1417"/>
          <ac:picMkLst>
            <pc:docMk/>
            <pc:sldMk cId="1590415788" sldId="2147477056"/>
            <ac:picMk id="82" creationId="{C119E6A7-3ADF-4BD0-CC5B-40ED4ADBD179}"/>
          </ac:picMkLst>
        </pc:picChg>
        <pc:picChg chg="add mod">
          <ac:chgData name="Álvaro HERNANDO LÓPEZ (FERCHAU)" userId="7960b7a3-f1c3-40c1-b1cd-339346c7c44c" providerId="ADAL" clId="{70303EA2-4F81-44F4-9108-BDD2E16B57C7}" dt="2025-03-26T16:28:56.683" v="2142"/>
          <ac:picMkLst>
            <pc:docMk/>
            <pc:sldMk cId="1590415788" sldId="2147477056"/>
            <ac:picMk id="85" creationId="{CCCB3419-D9B4-9543-C37D-71F04500BA2B}"/>
          </ac:picMkLst>
        </pc:picChg>
        <pc:cxnChg chg="add mod">
          <ac:chgData name="Álvaro HERNANDO LÓPEZ (FERCHAU)" userId="7960b7a3-f1c3-40c1-b1cd-339346c7c44c" providerId="ADAL" clId="{70303EA2-4F81-44F4-9108-BDD2E16B57C7}" dt="2025-03-26T16:47:24.823" v="2389" actId="208"/>
          <ac:cxnSpMkLst>
            <pc:docMk/>
            <pc:sldMk cId="1590415788" sldId="2147477056"/>
            <ac:cxnSpMk id="5" creationId="{E93AF955-4C6C-1232-85A0-2FDB3629338F}"/>
          </ac:cxnSpMkLst>
        </pc:cxnChg>
        <pc:cxnChg chg="mod">
          <ac:chgData name="Álvaro HERNANDO LÓPEZ (FERCHAU)" userId="7960b7a3-f1c3-40c1-b1cd-339346c7c44c" providerId="ADAL" clId="{70303EA2-4F81-44F4-9108-BDD2E16B57C7}" dt="2025-03-26T15:50:12.880" v="1558" actId="208"/>
          <ac:cxnSpMkLst>
            <pc:docMk/>
            <pc:sldMk cId="1590415788" sldId="2147477056"/>
            <ac:cxnSpMk id="57" creationId="{5AB55FE5-367C-223C-7D12-7FB1E48298BC}"/>
          </ac:cxnSpMkLst>
        </pc:cxnChg>
        <pc:cxnChg chg="add mod">
          <ac:chgData name="Álvaro HERNANDO LÓPEZ (FERCHAU)" userId="7960b7a3-f1c3-40c1-b1cd-339346c7c44c" providerId="ADAL" clId="{70303EA2-4F81-44F4-9108-BDD2E16B57C7}" dt="2025-03-26T16:28:56.683" v="2142"/>
          <ac:cxnSpMkLst>
            <pc:docMk/>
            <pc:sldMk cId="1590415788" sldId="2147477056"/>
            <ac:cxnSpMk id="75" creationId="{AD3D2F11-4F31-648F-C5E9-E8688B78E082}"/>
          </ac:cxnSpMkLst>
        </pc:cxnChg>
        <pc:cxnChg chg="add mod">
          <ac:chgData name="Álvaro HERNANDO LÓPEZ (FERCHAU)" userId="7960b7a3-f1c3-40c1-b1cd-339346c7c44c" providerId="ADAL" clId="{70303EA2-4F81-44F4-9108-BDD2E16B57C7}" dt="2025-03-26T16:28:56.683" v="2142"/>
          <ac:cxnSpMkLst>
            <pc:docMk/>
            <pc:sldMk cId="1590415788" sldId="2147477056"/>
            <ac:cxnSpMk id="77" creationId="{F8190FB3-279B-9C73-1589-41F70AAA3363}"/>
          </ac:cxnSpMkLst>
        </pc:cxnChg>
        <pc:cxnChg chg="add mod">
          <ac:chgData name="Álvaro HERNANDO LÓPEZ (FERCHAU)" userId="7960b7a3-f1c3-40c1-b1cd-339346c7c44c" providerId="ADAL" clId="{70303EA2-4F81-44F4-9108-BDD2E16B57C7}" dt="2025-03-26T16:28:56.683" v="2142"/>
          <ac:cxnSpMkLst>
            <pc:docMk/>
            <pc:sldMk cId="1590415788" sldId="2147477056"/>
            <ac:cxnSpMk id="78" creationId="{FAC5D0F6-BACF-6293-E249-18D0DE150E40}"/>
          </ac:cxnSpMkLst>
        </pc:cxnChg>
        <pc:cxnChg chg="add mod">
          <ac:chgData name="Álvaro HERNANDO LÓPEZ (FERCHAU)" userId="7960b7a3-f1c3-40c1-b1cd-339346c7c44c" providerId="ADAL" clId="{70303EA2-4F81-44F4-9108-BDD2E16B57C7}" dt="2025-03-26T16:28:56.683" v="2142"/>
          <ac:cxnSpMkLst>
            <pc:docMk/>
            <pc:sldMk cId="1590415788" sldId="2147477056"/>
            <ac:cxnSpMk id="79" creationId="{E33AC563-0FB9-0B57-45C3-361F1695E64E}"/>
          </ac:cxnSpMkLst>
        </pc:cxnChg>
        <pc:cxnChg chg="add mod">
          <ac:chgData name="Álvaro HERNANDO LÓPEZ (FERCHAU)" userId="7960b7a3-f1c3-40c1-b1cd-339346c7c44c" providerId="ADAL" clId="{70303EA2-4F81-44F4-9108-BDD2E16B57C7}" dt="2025-03-26T16:28:56.683" v="2142"/>
          <ac:cxnSpMkLst>
            <pc:docMk/>
            <pc:sldMk cId="1590415788" sldId="2147477056"/>
            <ac:cxnSpMk id="86" creationId="{DC8DD379-3479-1379-5CB6-5EB43D679152}"/>
          </ac:cxnSpMkLst>
        </pc:cxnChg>
        <pc:cxnChg chg="add mod">
          <ac:chgData name="Álvaro HERNANDO LÓPEZ (FERCHAU)" userId="7960b7a3-f1c3-40c1-b1cd-339346c7c44c" providerId="ADAL" clId="{70303EA2-4F81-44F4-9108-BDD2E16B57C7}" dt="2025-03-26T16:48:08.257" v="2397" actId="14100"/>
          <ac:cxnSpMkLst>
            <pc:docMk/>
            <pc:sldMk cId="1590415788" sldId="2147477056"/>
            <ac:cxnSpMk id="101" creationId="{ECD89574-49B3-ADB9-8190-CA1CF6F5D1C2}"/>
          </ac:cxnSpMkLst>
        </pc:cxnChg>
        <pc:cxnChg chg="add mod">
          <ac:chgData name="Álvaro HERNANDO LÓPEZ (FERCHAU)" userId="7960b7a3-f1c3-40c1-b1cd-339346c7c44c" providerId="ADAL" clId="{70303EA2-4F81-44F4-9108-BDD2E16B57C7}" dt="2025-03-26T17:14:13.625" v="4378"/>
          <ac:cxnSpMkLst>
            <pc:docMk/>
            <pc:sldMk cId="1590415788" sldId="2147477056"/>
            <ac:cxnSpMk id="110" creationId="{1595F64D-51EB-5CE7-EFE6-09C00E8D2C8B}"/>
          </ac:cxnSpMkLst>
        </pc:cxnChg>
        <pc:cxnChg chg="mod">
          <ac:chgData name="Álvaro HERNANDO LÓPEZ (FERCHAU)" userId="7960b7a3-f1c3-40c1-b1cd-339346c7c44c" providerId="ADAL" clId="{70303EA2-4F81-44F4-9108-BDD2E16B57C7}" dt="2025-03-26T16:29:09.722" v="2143" actId="14100"/>
          <ac:cxnSpMkLst>
            <pc:docMk/>
            <pc:sldMk cId="1590415788" sldId="2147477056"/>
            <ac:cxnSpMk id="111" creationId="{EC228ED6-FB30-A42D-57A5-DF0607E075C6}"/>
          </ac:cxnSpMkLst>
        </pc:cxnChg>
      </pc:sldChg>
    </pc:docChg>
  </pc:docChgLst>
  <pc:docChgLst>
    <pc:chgData name="Breitbach, Markus" userId="S::m.breitbach_telekom.de#ext#@antunibremen.onmicrosoft.com::10c158ad-965e-4490-8b4a-81e4e8a03889" providerId="AD" clId="Web-{68936AC5-64D3-3F78-C46B-9E010BFAB5AA}"/>
    <pc:docChg chg="addSld delSld modSld modSection">
      <pc:chgData name="Breitbach, Markus" userId="S::m.breitbach_telekom.de#ext#@antunibremen.onmicrosoft.com::10c158ad-965e-4490-8b4a-81e4e8a03889" providerId="AD" clId="Web-{68936AC5-64D3-3F78-C46B-9E010BFAB5AA}" dt="2025-03-28T12:59:06.163" v="131"/>
      <pc:docMkLst>
        <pc:docMk/>
      </pc:docMkLst>
      <pc:sldChg chg="addSp delSp modSp">
        <pc:chgData name="Breitbach, Markus" userId="S::m.breitbach_telekom.de#ext#@antunibremen.onmicrosoft.com::10c158ad-965e-4490-8b4a-81e4e8a03889" providerId="AD" clId="Web-{68936AC5-64D3-3F78-C46B-9E010BFAB5AA}" dt="2025-03-28T12:59:06.163" v="131"/>
        <pc:sldMkLst>
          <pc:docMk/>
          <pc:sldMk cId="1641422220" sldId="288"/>
        </pc:sldMkLst>
        <pc:picChg chg="mod">
          <ac:chgData name="Breitbach, Markus" userId="S::m.breitbach_telekom.de#ext#@antunibremen.onmicrosoft.com::10c158ad-965e-4490-8b4a-81e4e8a03889" providerId="AD" clId="Web-{68936AC5-64D3-3F78-C46B-9E010BFAB5AA}" dt="2025-03-28T12:58:19.880" v="128" actId="1076"/>
          <ac:picMkLst>
            <pc:docMk/>
            <pc:sldMk cId="1641422220" sldId="288"/>
            <ac:picMk id="14" creationId="{55DD648F-5D75-4E38-BBAD-182206B8BC4E}"/>
          </ac:picMkLst>
        </pc:picChg>
      </pc:sldChg>
      <pc:sldChg chg="modSp">
        <pc:chgData name="Breitbach, Markus" userId="S::m.breitbach_telekom.de#ext#@antunibremen.onmicrosoft.com::10c158ad-965e-4490-8b4a-81e4e8a03889" providerId="AD" clId="Web-{68936AC5-64D3-3F78-C46B-9E010BFAB5AA}" dt="2025-03-28T11:50:47.850" v="4" actId="1076"/>
        <pc:sldMkLst>
          <pc:docMk/>
          <pc:sldMk cId="484452169" sldId="2147477049"/>
        </pc:sldMkLst>
      </pc:sldChg>
      <pc:sldChg chg="delSp">
        <pc:chgData name="Breitbach, Markus" userId="S::m.breitbach_telekom.de#ext#@antunibremen.onmicrosoft.com::10c158ad-965e-4490-8b4a-81e4e8a03889" providerId="AD" clId="Web-{68936AC5-64D3-3F78-C46B-9E010BFAB5AA}" dt="2025-03-28T11:50:57.194" v="6"/>
        <pc:sldMkLst>
          <pc:docMk/>
          <pc:sldMk cId="2673052505" sldId="2147477071"/>
        </pc:sldMkLst>
      </pc:sldChg>
      <pc:sldChg chg="addSp delSp modSp del">
        <pc:chgData name="Breitbach, Markus" userId="S::m.breitbach_telekom.de#ext#@antunibremen.onmicrosoft.com::10c158ad-965e-4490-8b4a-81e4e8a03889" providerId="AD" clId="Web-{68936AC5-64D3-3F78-C46B-9E010BFAB5AA}" dt="2025-03-28T11:58:38.852" v="101"/>
        <pc:sldMkLst>
          <pc:docMk/>
          <pc:sldMk cId="1288718153" sldId="2147477076"/>
        </pc:sldMkLst>
      </pc:sldChg>
      <pc:sldChg chg="addSp delSp modSp add replId">
        <pc:chgData name="Breitbach, Markus" userId="S::m.breitbach_telekom.de#ext#@antunibremen.onmicrosoft.com::10c158ad-965e-4490-8b4a-81e4e8a03889" providerId="AD" clId="Web-{68936AC5-64D3-3F78-C46B-9E010BFAB5AA}" dt="2025-03-28T12:03:23.660" v="121" actId="1076"/>
        <pc:sldMkLst>
          <pc:docMk/>
          <pc:sldMk cId="918037416" sldId="2147477078"/>
        </pc:sldMkLst>
        <pc:spChg chg="mod">
          <ac:chgData name="Breitbach, Markus" userId="S::m.breitbach_telekom.de#ext#@antunibremen.onmicrosoft.com::10c158ad-965e-4490-8b4a-81e4e8a03889" providerId="AD" clId="Web-{68936AC5-64D3-3F78-C46B-9E010BFAB5AA}" dt="2025-03-28T11:59:09.135" v="105" actId="20577"/>
          <ac:spMkLst>
            <pc:docMk/>
            <pc:sldMk cId="918037416" sldId="2147477078"/>
            <ac:spMk id="24" creationId="{8E99C9A6-EA85-9176-1CE2-6AB9E41D3017}"/>
          </ac:spMkLst>
        </pc:spChg>
        <pc:spChg chg="mod">
          <ac:chgData name="Breitbach, Markus" userId="S::m.breitbach_telekom.de#ext#@antunibremen.onmicrosoft.com::10c158ad-965e-4490-8b4a-81e4e8a03889" providerId="AD" clId="Web-{68936AC5-64D3-3F78-C46B-9E010BFAB5AA}" dt="2025-03-28T12:03:23.660" v="121" actId="1076"/>
          <ac:spMkLst>
            <pc:docMk/>
            <pc:sldMk cId="918037416" sldId="2147477078"/>
            <ac:spMk id="26" creationId="{2448BF05-0BCA-481D-2628-DEAF8C89DCAE}"/>
          </ac:spMkLst>
        </pc:spChg>
        <pc:picChg chg="add mod modCrop">
          <ac:chgData name="Breitbach, Markus" userId="S::m.breitbach_telekom.de#ext#@antunibremen.onmicrosoft.com::10c158ad-965e-4490-8b4a-81e4e8a03889" providerId="AD" clId="Web-{68936AC5-64D3-3F78-C46B-9E010BFAB5AA}" dt="2025-03-28T12:03:19.551" v="120" actId="1076"/>
          <ac:picMkLst>
            <pc:docMk/>
            <pc:sldMk cId="918037416" sldId="2147477078"/>
            <ac:picMk id="3" creationId="{2511BE0C-3DB6-C805-62BA-3C1BE8AE7864}"/>
          </ac:picMkLst>
        </pc:picChg>
        <pc:picChg chg="mod ord">
          <ac:chgData name="Breitbach, Markus" userId="S::m.breitbach_telekom.de#ext#@antunibremen.onmicrosoft.com::10c158ad-965e-4490-8b4a-81e4e8a03889" providerId="AD" clId="Web-{68936AC5-64D3-3F78-C46B-9E010BFAB5AA}" dt="2025-03-28T11:59:04.041" v="104" actId="1076"/>
          <ac:picMkLst>
            <pc:docMk/>
            <pc:sldMk cId="918037416" sldId="2147477078"/>
            <ac:picMk id="22" creationId="{43BB490B-9AB7-835E-70DF-B5BB8C124288}"/>
          </ac:picMkLst>
        </pc:picChg>
      </pc:sldChg>
    </pc:docChg>
  </pc:docChgLst>
  <pc:docChgLst>
    <pc:chgData name="Hammouda Marwan" userId="S::hammouda@ant.uni-bremen.de::141c87ca-9386-4b1c-88e0-e9251bd241ba" providerId="AD" clId="Web-{C9143FA7-F39F-E79B-F421-35A66C4D6F5D}"/>
    <pc:docChg chg="addSld modSld modSection">
      <pc:chgData name="Hammouda Marwan" userId="S::hammouda@ant.uni-bremen.de::141c87ca-9386-4b1c-88e0-e9251bd241ba" providerId="AD" clId="Web-{C9143FA7-F39F-E79B-F421-35A66C4D6F5D}" dt="2025-02-28T14:18:38.602" v="679"/>
      <pc:docMkLst>
        <pc:docMk/>
      </pc:docMkLst>
      <pc:sldChg chg="addSp delSp modSp mod setBg">
        <pc:chgData name="Hammouda Marwan" userId="S::hammouda@ant.uni-bremen.de::141c87ca-9386-4b1c-88e0-e9251bd241ba" providerId="AD" clId="Web-{C9143FA7-F39F-E79B-F421-35A66C4D6F5D}" dt="2025-02-28T13:08:35.521" v="215" actId="20577"/>
        <pc:sldMkLst>
          <pc:docMk/>
          <pc:sldMk cId="2006419099" sldId="2147476962"/>
        </pc:sldMkLst>
      </pc:sldChg>
      <pc:sldChg chg="modSp">
        <pc:chgData name="Hammouda Marwan" userId="S::hammouda@ant.uni-bremen.de::141c87ca-9386-4b1c-88e0-e9251bd241ba" providerId="AD" clId="Web-{C9143FA7-F39F-E79B-F421-35A66C4D6F5D}" dt="2025-02-28T14:04:11.166" v="673" actId="20577"/>
        <pc:sldMkLst>
          <pc:docMk/>
          <pc:sldMk cId="3721334223" sldId="2147476969"/>
        </pc:sldMkLst>
      </pc:sldChg>
      <pc:sldChg chg="addSp delSp modSp">
        <pc:chgData name="Hammouda Marwan" userId="S::hammouda@ant.uni-bremen.de::141c87ca-9386-4b1c-88e0-e9251bd241ba" providerId="AD" clId="Web-{C9143FA7-F39F-E79B-F421-35A66C4D6F5D}" dt="2025-02-28T14:18:38.602" v="679"/>
        <pc:sldMkLst>
          <pc:docMk/>
          <pc:sldMk cId="1350914574" sldId="2147476971"/>
        </pc:sldMkLst>
      </pc:sldChg>
      <pc:sldChg chg="add replId">
        <pc:chgData name="Hammouda Marwan" userId="S::hammouda@ant.uni-bremen.de::141c87ca-9386-4b1c-88e0-e9251bd241ba" providerId="AD" clId="Web-{C9143FA7-F39F-E79B-F421-35A66C4D6F5D}" dt="2025-02-28T12:49:34.529" v="0"/>
        <pc:sldMkLst>
          <pc:docMk/>
          <pc:sldMk cId="681780769" sldId="2147476976"/>
        </pc:sldMkLst>
      </pc:sldChg>
      <pc:sldChg chg="addSp delSp modSp add replId">
        <pc:chgData name="Hammouda Marwan" userId="S::hammouda@ant.uni-bremen.de::141c87ca-9386-4b1c-88e0-e9251bd241ba" providerId="AD" clId="Web-{C9143FA7-F39F-E79B-F421-35A66C4D6F5D}" dt="2025-02-28T14:18:13.133" v="677" actId="20577"/>
        <pc:sldMkLst>
          <pc:docMk/>
          <pc:sldMk cId="2744120505" sldId="2147476977"/>
        </pc:sldMkLst>
      </pc:sldChg>
    </pc:docChg>
  </pc:docChgLst>
  <pc:docChgLst>
    <pc:chgData name="Hammouda Marwan" userId="S::hammouda@ant.uni-bremen.de::141c87ca-9386-4b1c-88e0-e9251bd241ba" providerId="AD" clId="Web-{1682AEFA-DDC5-2D5E-F582-C020FE181561}"/>
    <pc:docChg chg="modSld">
      <pc:chgData name="Hammouda Marwan" userId="S::hammouda@ant.uni-bremen.de::141c87ca-9386-4b1c-88e0-e9251bd241ba" providerId="AD" clId="Web-{1682AEFA-DDC5-2D5E-F582-C020FE181561}" dt="2025-02-24T13:39:14.111" v="1" actId="20577"/>
      <pc:docMkLst>
        <pc:docMk/>
      </pc:docMkLst>
      <pc:sldChg chg="modSp">
        <pc:chgData name="Hammouda Marwan" userId="S::hammouda@ant.uni-bremen.de::141c87ca-9386-4b1c-88e0-e9251bd241ba" providerId="AD" clId="Web-{1682AEFA-DDC5-2D5E-F582-C020FE181561}" dt="2025-02-24T13:39:14.111" v="1" actId="20577"/>
        <pc:sldMkLst>
          <pc:docMk/>
          <pc:sldMk cId="4196284054" sldId="2147472557"/>
        </pc:sldMkLst>
      </pc:sldChg>
    </pc:docChg>
  </pc:docChgLst>
  <pc:docChgLst>
    <pc:chgData name="lamken@otaris.de" userId="S::lamken_otaris.de#ext#@antunibremen.onmicrosoft.com::d14b8e4f-16b5-4b07-afb3-49a903eac9ec" providerId="AD" clId="Web-{199B21C9-5C03-00BE-C33E-928C1FC43C9B}"/>
    <pc:docChg chg="addSld delSld modSld sldOrd modSection">
      <pc:chgData name="lamken@otaris.de" userId="S::lamken_otaris.de#ext#@antunibremen.onmicrosoft.com::d14b8e4f-16b5-4b07-afb3-49a903eac9ec" providerId="AD" clId="Web-{199B21C9-5C03-00BE-C33E-928C1FC43C9B}" dt="2024-10-22T09:29:26.317" v="411"/>
      <pc:docMkLst>
        <pc:docMk/>
      </pc:docMkLst>
      <pc:sldChg chg="addSp delSp modSp ord">
        <pc:chgData name="lamken@otaris.de" userId="S::lamken_otaris.de#ext#@antunibremen.onmicrosoft.com::d14b8e4f-16b5-4b07-afb3-49a903eac9ec" providerId="AD" clId="Web-{199B21C9-5C03-00BE-C33E-928C1FC43C9B}" dt="2024-10-22T08:44:55.756" v="23" actId="14100"/>
        <pc:sldMkLst>
          <pc:docMk/>
          <pc:sldMk cId="4186752563" sldId="2147472542"/>
        </pc:sldMkLst>
      </pc:sldChg>
      <pc:sldChg chg="ord">
        <pc:chgData name="lamken@otaris.de" userId="S::lamken_otaris.de#ext#@antunibremen.onmicrosoft.com::d14b8e4f-16b5-4b07-afb3-49a903eac9ec" providerId="AD" clId="Web-{199B21C9-5C03-00BE-C33E-928C1FC43C9B}" dt="2024-10-22T09:29:26.317" v="411"/>
        <pc:sldMkLst>
          <pc:docMk/>
          <pc:sldMk cId="2335996785" sldId="2147472543"/>
        </pc:sldMkLst>
      </pc:sldChg>
      <pc:sldChg chg="addSp delSp modSp">
        <pc:chgData name="lamken@otaris.de" userId="S::lamken_otaris.de#ext#@antunibremen.onmicrosoft.com::d14b8e4f-16b5-4b07-afb3-49a903eac9ec" providerId="AD" clId="Web-{199B21C9-5C03-00BE-C33E-928C1FC43C9B}" dt="2024-10-22T09:02:18.206" v="224" actId="20577"/>
        <pc:sldMkLst>
          <pc:docMk/>
          <pc:sldMk cId="1005895793" sldId="2147472563"/>
        </pc:sldMkLst>
      </pc:sldChg>
      <pc:sldChg chg="modSp">
        <pc:chgData name="lamken@otaris.de" userId="S::lamken_otaris.de#ext#@antunibremen.onmicrosoft.com::d14b8e4f-16b5-4b07-afb3-49a903eac9ec" providerId="AD" clId="Web-{199B21C9-5C03-00BE-C33E-928C1FC43C9B}" dt="2024-10-22T09:11:37.252" v="278" actId="20577"/>
        <pc:sldMkLst>
          <pc:docMk/>
          <pc:sldMk cId="3083521975" sldId="2147476903"/>
        </pc:sldMkLst>
      </pc:sldChg>
      <pc:sldChg chg="modSp">
        <pc:chgData name="lamken@otaris.de" userId="S::lamken_otaris.de#ext#@antunibremen.onmicrosoft.com::d14b8e4f-16b5-4b07-afb3-49a903eac9ec" providerId="AD" clId="Web-{199B21C9-5C03-00BE-C33E-928C1FC43C9B}" dt="2024-10-22T09:18:55.123" v="410" actId="20577"/>
        <pc:sldMkLst>
          <pc:docMk/>
          <pc:sldMk cId="1985545827" sldId="2147476904"/>
        </pc:sldMkLst>
      </pc:sldChg>
      <pc:sldChg chg="add del replId">
        <pc:chgData name="lamken@otaris.de" userId="S::lamken_otaris.de#ext#@antunibremen.onmicrosoft.com::d14b8e4f-16b5-4b07-afb3-49a903eac9ec" providerId="AD" clId="Web-{199B21C9-5C03-00BE-C33E-928C1FC43C9B}" dt="2024-10-22T08:46:08.539" v="25"/>
        <pc:sldMkLst>
          <pc:docMk/>
          <pc:sldMk cId="1147106094" sldId="2147476907"/>
        </pc:sldMkLst>
      </pc:sldChg>
      <pc:sldChg chg="modSp add replId">
        <pc:chgData name="lamken@otaris.de" userId="S::lamken_otaris.de#ext#@antunibremen.onmicrosoft.com::d14b8e4f-16b5-4b07-afb3-49a903eac9ec" providerId="AD" clId="Web-{199B21C9-5C03-00BE-C33E-928C1FC43C9B}" dt="2024-10-22T09:14:05.506" v="324" actId="20577"/>
        <pc:sldMkLst>
          <pc:docMk/>
          <pc:sldMk cId="2251625990" sldId="2147476907"/>
        </pc:sldMkLst>
      </pc:sldChg>
      <pc:sldChg chg="modSp add replId">
        <pc:chgData name="lamken@otaris.de" userId="S::lamken_otaris.de#ext#@antunibremen.onmicrosoft.com::d14b8e4f-16b5-4b07-afb3-49a903eac9ec" providerId="AD" clId="Web-{199B21C9-5C03-00BE-C33E-928C1FC43C9B}" dt="2024-10-22T09:15:22.680" v="343" actId="20577"/>
        <pc:sldMkLst>
          <pc:docMk/>
          <pc:sldMk cId="3018569029" sldId="2147476908"/>
        </pc:sldMkLst>
      </pc:sldChg>
      <pc:sldChg chg="modSp add replId">
        <pc:chgData name="lamken@otaris.de" userId="S::lamken_otaris.de#ext#@antunibremen.onmicrosoft.com::d14b8e4f-16b5-4b07-afb3-49a903eac9ec" providerId="AD" clId="Web-{199B21C9-5C03-00BE-C33E-928C1FC43C9B}" dt="2024-10-22T09:16:39.260" v="390" actId="20577"/>
        <pc:sldMkLst>
          <pc:docMk/>
          <pc:sldMk cId="2022672931" sldId="2147476909"/>
        </pc:sldMkLst>
      </pc:sldChg>
    </pc:docChg>
  </pc:docChgLst>
  <pc:docChgLst>
    <pc:chgData name="Reiner Stuhlfauth" userId="S::reiner.stuhlfauth_rohde-schwarz.com#ext#@antunibremen.onmicrosoft.com::b5ce808b-811b-4338-bec2-c43e4565a4f5" providerId="AD" clId="Web-{6C60421C-9584-D804-0CAF-2EDF0CE42FA5}"/>
    <pc:docChg chg="addSld modSld modSection">
      <pc:chgData name="Reiner Stuhlfauth" userId="S::reiner.stuhlfauth_rohde-schwarz.com#ext#@antunibremen.onmicrosoft.com::b5ce808b-811b-4338-bec2-c43e4565a4f5" providerId="AD" clId="Web-{6C60421C-9584-D804-0CAF-2EDF0CE42FA5}" dt="2024-10-14T14:47:50.770" v="32"/>
      <pc:docMkLst>
        <pc:docMk/>
      </pc:docMkLst>
      <pc:sldChg chg="delSp modSp add mod modClrScheme chgLayout">
        <pc:chgData name="Reiner Stuhlfauth" userId="S::reiner.stuhlfauth_rohde-schwarz.com#ext#@antunibremen.onmicrosoft.com::b5ce808b-811b-4338-bec2-c43e4565a4f5" providerId="AD" clId="Web-{6C60421C-9584-D804-0CAF-2EDF0CE42FA5}" dt="2024-10-14T14:47:50.770" v="32"/>
        <pc:sldMkLst>
          <pc:docMk/>
          <pc:sldMk cId="2539413954" sldId="265"/>
        </pc:sldMkLst>
      </pc:sldChg>
      <pc:sldChg chg="delSp modSp add">
        <pc:chgData name="Reiner Stuhlfauth" userId="S::reiner.stuhlfauth_rohde-schwarz.com#ext#@antunibremen.onmicrosoft.com::b5ce808b-811b-4338-bec2-c43e4565a4f5" providerId="AD" clId="Web-{6C60421C-9584-D804-0CAF-2EDF0CE42FA5}" dt="2024-10-14T14:45:53.125" v="11"/>
        <pc:sldMkLst>
          <pc:docMk/>
          <pc:sldMk cId="2090211478" sldId="305"/>
        </pc:sldMkLst>
      </pc:sldChg>
      <pc:sldChg chg="delSp modSp add">
        <pc:chgData name="Reiner Stuhlfauth" userId="S::reiner.stuhlfauth_rohde-schwarz.com#ext#@antunibremen.onmicrosoft.com::b5ce808b-811b-4338-bec2-c43e4565a4f5" providerId="AD" clId="Web-{6C60421C-9584-D804-0CAF-2EDF0CE42FA5}" dt="2024-10-14T14:46:42.252" v="24"/>
        <pc:sldMkLst>
          <pc:docMk/>
          <pc:sldMk cId="2592937385" sldId="2147476858"/>
        </pc:sldMkLst>
      </pc:sldChg>
      <pc:sldChg chg="delSp modSp add">
        <pc:chgData name="Reiner Stuhlfauth" userId="S::reiner.stuhlfauth_rohde-schwarz.com#ext#@antunibremen.onmicrosoft.com::b5ce808b-811b-4338-bec2-c43e4565a4f5" providerId="AD" clId="Web-{6C60421C-9584-D804-0CAF-2EDF0CE42FA5}" dt="2024-10-14T14:45:18.655" v="7" actId="1076"/>
        <pc:sldMkLst>
          <pc:docMk/>
          <pc:sldMk cId="3324942815" sldId="2147476860"/>
        </pc:sldMkLst>
      </pc:sldChg>
      <pc:sldMasterChg chg="addSldLayout">
        <pc:chgData name="Reiner Stuhlfauth" userId="S::reiner.stuhlfauth_rohde-schwarz.com#ext#@antunibremen.onmicrosoft.com::b5ce808b-811b-4338-bec2-c43e4565a4f5" providerId="AD" clId="Web-{6C60421C-9584-D804-0CAF-2EDF0CE42FA5}" dt="2024-10-14T14:44:38.966" v="3"/>
        <pc:sldMasterMkLst>
          <pc:docMk/>
          <pc:sldMasterMk cId="611449510" sldId="2147483686"/>
        </pc:sldMasterMkLst>
        <pc:sldLayoutChg chg="add">
          <pc:chgData name="Reiner Stuhlfauth" userId="S::reiner.stuhlfauth_rohde-schwarz.com#ext#@antunibremen.onmicrosoft.com::b5ce808b-811b-4338-bec2-c43e4565a4f5" providerId="AD" clId="Web-{6C60421C-9584-D804-0CAF-2EDF0CE42FA5}" dt="2024-10-14T14:44:38.841" v="0"/>
          <pc:sldLayoutMkLst>
            <pc:docMk/>
            <pc:sldMasterMk cId="611449510" sldId="2147483686"/>
            <pc:sldLayoutMk cId="3833153538" sldId="2147483699"/>
          </pc:sldLayoutMkLst>
        </pc:sldLayoutChg>
        <pc:sldLayoutChg chg="add">
          <pc:chgData name="Reiner Stuhlfauth" userId="S::reiner.stuhlfauth_rohde-schwarz.com#ext#@antunibremen.onmicrosoft.com::b5ce808b-811b-4338-bec2-c43e4565a4f5" providerId="AD" clId="Web-{6C60421C-9584-D804-0CAF-2EDF0CE42FA5}" dt="2024-10-14T14:44:38.951" v="2"/>
          <pc:sldLayoutMkLst>
            <pc:docMk/>
            <pc:sldMasterMk cId="611449510" sldId="2147483686"/>
            <pc:sldLayoutMk cId="596569430" sldId="2147483700"/>
          </pc:sldLayoutMkLst>
        </pc:sldLayoutChg>
        <pc:sldLayoutChg chg="add">
          <pc:chgData name="Reiner Stuhlfauth" userId="S::reiner.stuhlfauth_rohde-schwarz.com#ext#@antunibremen.onmicrosoft.com::b5ce808b-811b-4338-bec2-c43e4565a4f5" providerId="AD" clId="Web-{6C60421C-9584-D804-0CAF-2EDF0CE42FA5}" dt="2024-10-14T14:44:38.966" v="3"/>
          <pc:sldLayoutMkLst>
            <pc:docMk/>
            <pc:sldMasterMk cId="611449510" sldId="2147483686"/>
            <pc:sldLayoutMk cId="2904193090" sldId="2147483701"/>
          </pc:sldLayoutMkLst>
        </pc:sldLayoutChg>
      </pc:sldMasterChg>
    </pc:docChg>
  </pc:docChgLst>
  <pc:docChgLst>
    <pc:chgData name="lamken@otaris.de" userId="S::lamken_otaris.de#ext#@antunibremen.onmicrosoft.com::d14b8e4f-16b5-4b07-afb3-49a903eac9ec" providerId="AD" clId="Web-{20E12810-365B-4088-2414-440A0AE305AD}"/>
    <pc:docChg chg="addSld modSld modSection">
      <pc:chgData name="lamken@otaris.de" userId="S::lamken_otaris.de#ext#@antunibremen.onmicrosoft.com::d14b8e4f-16b5-4b07-afb3-49a903eac9ec" providerId="AD" clId="Web-{20E12810-365B-4088-2414-440A0AE305AD}" dt="2024-03-11T13:00:52.631" v="235" actId="20577"/>
      <pc:docMkLst>
        <pc:docMk/>
      </pc:docMkLst>
      <pc:sldChg chg="modSp">
        <pc:chgData name="lamken@otaris.de" userId="S::lamken_otaris.de#ext#@antunibremen.onmicrosoft.com::d14b8e4f-16b5-4b07-afb3-49a903eac9ec" providerId="AD" clId="Web-{20E12810-365B-4088-2414-440A0AE305AD}" dt="2024-03-11T13:00:52.631" v="235" actId="20577"/>
        <pc:sldMkLst>
          <pc:docMk/>
          <pc:sldMk cId="4186752563" sldId="2147472542"/>
        </pc:sldMkLst>
      </pc:sldChg>
      <pc:sldChg chg="delSp modSp add replId">
        <pc:chgData name="lamken@otaris.de" userId="S::lamken_otaris.de#ext#@antunibremen.onmicrosoft.com::d14b8e4f-16b5-4b07-afb3-49a903eac9ec" providerId="AD" clId="Web-{20E12810-365B-4088-2414-440A0AE305AD}" dt="2024-03-11T12:59:47.551" v="233" actId="20577"/>
        <pc:sldMkLst>
          <pc:docMk/>
          <pc:sldMk cId="1005895793" sldId="2147472563"/>
        </pc:sldMkLst>
      </pc:sldChg>
    </pc:docChg>
  </pc:docChgLst>
  <pc:docChgLst>
    <pc:chgData name="ekoeck@eant.de" userId="S::ekoeck_eant.de#ext#@antunibremen.onmicrosoft.com::73e85445-0cf8-43ff-b8c9-b801f2176615" providerId="AD" clId="Web-{2001953B-7B3B-1818-D88E-F25B74E49BE3}"/>
    <pc:docChg chg="modSld">
      <pc:chgData name="ekoeck@eant.de" userId="S::ekoeck_eant.de#ext#@antunibremen.onmicrosoft.com::73e85445-0cf8-43ff-b8c9-b801f2176615" providerId="AD" clId="Web-{2001953B-7B3B-1818-D88E-F25B74E49BE3}" dt="2025-03-26T09:55:03.209" v="207" actId="20577"/>
      <pc:docMkLst>
        <pc:docMk/>
      </pc:docMkLst>
      <pc:sldChg chg="modSp">
        <pc:chgData name="ekoeck@eant.de" userId="S::ekoeck_eant.de#ext#@antunibremen.onmicrosoft.com::73e85445-0cf8-43ff-b8c9-b801f2176615" providerId="AD" clId="Web-{2001953B-7B3B-1818-D88E-F25B74E49BE3}" dt="2025-03-26T08:37:22.412" v="11" actId="20577"/>
        <pc:sldMkLst>
          <pc:docMk/>
          <pc:sldMk cId="61019520" sldId="2147477039"/>
        </pc:sldMkLst>
        <pc:spChg chg="mod">
          <ac:chgData name="ekoeck@eant.de" userId="S::ekoeck_eant.de#ext#@antunibremen.onmicrosoft.com::73e85445-0cf8-43ff-b8c9-b801f2176615" providerId="AD" clId="Web-{2001953B-7B3B-1818-D88E-F25B74E49BE3}" dt="2025-03-26T08:37:22.412" v="11" actId="20577"/>
          <ac:spMkLst>
            <pc:docMk/>
            <pc:sldMk cId="61019520" sldId="2147477039"/>
            <ac:spMk id="26" creationId="{F2DB6220-2F43-4D03-89D2-59717ED1A66D}"/>
          </ac:spMkLst>
        </pc:spChg>
      </pc:sldChg>
      <pc:sldChg chg="addSp delSp modSp">
        <pc:chgData name="ekoeck@eant.de" userId="S::ekoeck_eant.de#ext#@antunibremen.onmicrosoft.com::73e85445-0cf8-43ff-b8c9-b801f2176615" providerId="AD" clId="Web-{2001953B-7B3B-1818-D88E-F25B74E49BE3}" dt="2025-03-26T09:53:44.941" v="131" actId="20577"/>
        <pc:sldMkLst>
          <pc:docMk/>
          <pc:sldMk cId="2374344934" sldId="2147477060"/>
        </pc:sldMkLst>
        <pc:spChg chg="mod">
          <ac:chgData name="ekoeck@eant.de" userId="S::ekoeck_eant.de#ext#@antunibremen.onmicrosoft.com::73e85445-0cf8-43ff-b8c9-b801f2176615" providerId="AD" clId="Web-{2001953B-7B3B-1818-D88E-F25B74E49BE3}" dt="2025-03-26T09:53:44.941" v="131" actId="20577"/>
          <ac:spMkLst>
            <pc:docMk/>
            <pc:sldMk cId="2374344934" sldId="2147477060"/>
            <ac:spMk id="7" creationId="{6F3506D2-B724-31F4-B4DF-7018A8759D3C}"/>
          </ac:spMkLst>
        </pc:spChg>
        <pc:picChg chg="add mod">
          <ac:chgData name="ekoeck@eant.de" userId="S::ekoeck_eant.de#ext#@antunibremen.onmicrosoft.com::73e85445-0cf8-43ff-b8c9-b801f2176615" providerId="AD" clId="Web-{2001953B-7B3B-1818-D88E-F25B74E49BE3}" dt="2025-03-26T09:34:03.415" v="48" actId="1076"/>
          <ac:picMkLst>
            <pc:docMk/>
            <pc:sldMk cId="2374344934" sldId="2147477060"/>
            <ac:picMk id="6" creationId="{827FC2B9-D4EE-D9E7-C059-D8552F3E5508}"/>
          </ac:picMkLst>
        </pc:picChg>
        <pc:picChg chg="add mod">
          <ac:chgData name="ekoeck@eant.de" userId="S::ekoeck_eant.de#ext#@antunibremen.onmicrosoft.com::73e85445-0cf8-43ff-b8c9-b801f2176615" providerId="AD" clId="Web-{2001953B-7B3B-1818-D88E-F25B74E49BE3}" dt="2025-03-26T09:33:58.618" v="47" actId="1076"/>
          <ac:picMkLst>
            <pc:docMk/>
            <pc:sldMk cId="2374344934" sldId="2147477060"/>
            <ac:picMk id="11" creationId="{0CE03A60-6DE1-EF1F-E4B6-4193CE7C338D}"/>
          </ac:picMkLst>
        </pc:picChg>
      </pc:sldChg>
      <pc:sldChg chg="addSp delSp modSp">
        <pc:chgData name="ekoeck@eant.de" userId="S::ekoeck_eant.de#ext#@antunibremen.onmicrosoft.com::73e85445-0cf8-43ff-b8c9-b801f2176615" providerId="AD" clId="Web-{2001953B-7B3B-1818-D88E-F25B74E49BE3}" dt="2025-03-26T09:25:09.584" v="24" actId="20577"/>
        <pc:sldMkLst>
          <pc:docMk/>
          <pc:sldMk cId="1591686061" sldId="2147477061"/>
        </pc:sldMkLst>
        <pc:spChg chg="mod">
          <ac:chgData name="ekoeck@eant.de" userId="S::ekoeck_eant.de#ext#@antunibremen.onmicrosoft.com::73e85445-0cf8-43ff-b8c9-b801f2176615" providerId="AD" clId="Web-{2001953B-7B3B-1818-D88E-F25B74E49BE3}" dt="2025-03-26T09:25:09.584" v="24" actId="20577"/>
          <ac:spMkLst>
            <pc:docMk/>
            <pc:sldMk cId="1591686061" sldId="2147477061"/>
            <ac:spMk id="7" creationId="{5B756A53-159B-661F-61D5-C4CA34347C63}"/>
          </ac:spMkLst>
        </pc:spChg>
        <pc:picChg chg="add mod">
          <ac:chgData name="ekoeck@eant.de" userId="S::ekoeck_eant.de#ext#@antunibremen.onmicrosoft.com::73e85445-0cf8-43ff-b8c9-b801f2176615" providerId="AD" clId="Web-{2001953B-7B3B-1818-D88E-F25B74E49BE3}" dt="2025-03-26T09:22:51.595" v="20" actId="1076"/>
          <ac:picMkLst>
            <pc:docMk/>
            <pc:sldMk cId="1591686061" sldId="2147477061"/>
            <ac:picMk id="3" creationId="{2E596A36-9BA7-299C-D25F-37BAF522D358}"/>
          </ac:picMkLst>
        </pc:picChg>
        <pc:picChg chg="add mod">
          <ac:chgData name="ekoeck@eant.de" userId="S::ekoeck_eant.de#ext#@antunibremen.onmicrosoft.com::73e85445-0cf8-43ff-b8c9-b801f2176615" providerId="AD" clId="Web-{2001953B-7B3B-1818-D88E-F25B74E49BE3}" dt="2025-03-26T09:23:05.829" v="22" actId="1076"/>
          <ac:picMkLst>
            <pc:docMk/>
            <pc:sldMk cId="1591686061" sldId="2147477061"/>
            <ac:picMk id="4" creationId="{3958DEF2-C212-7577-07D8-465E4C27A273}"/>
          </ac:picMkLst>
        </pc:picChg>
      </pc:sldChg>
      <pc:sldChg chg="modSp">
        <pc:chgData name="ekoeck@eant.de" userId="S::ekoeck_eant.de#ext#@antunibremen.onmicrosoft.com::73e85445-0cf8-43ff-b8c9-b801f2176615" providerId="AD" clId="Web-{2001953B-7B3B-1818-D88E-F25B74E49BE3}" dt="2025-03-26T09:55:03.209" v="207" actId="20577"/>
        <pc:sldMkLst>
          <pc:docMk/>
          <pc:sldMk cId="3965821702" sldId="2147477066"/>
        </pc:sldMkLst>
        <pc:spChg chg="mod">
          <ac:chgData name="ekoeck@eant.de" userId="S::ekoeck_eant.de#ext#@antunibremen.onmicrosoft.com::73e85445-0cf8-43ff-b8c9-b801f2176615" providerId="AD" clId="Web-{2001953B-7B3B-1818-D88E-F25B74E49BE3}" dt="2025-03-26T09:55:03.209" v="207" actId="20577"/>
          <ac:spMkLst>
            <pc:docMk/>
            <pc:sldMk cId="3965821702" sldId="2147477066"/>
            <ac:spMk id="6" creationId="{F8415785-4E23-4E9C-877E-524655334521}"/>
          </ac:spMkLst>
        </pc:spChg>
      </pc:sldChg>
    </pc:docChg>
  </pc:docChgLst>
  <pc:docChgLst>
    <pc:chgData name="kleinhammer@otaris.de" userId="S::kleinhammer_otaris.de#ext#@antunibremen.onmicrosoft.com::51692edd-f351-4632-94f1-95a7310df8e5" providerId="AD" clId="Web-{AB9D0A6F-175F-B3B8-89A4-B6C4F96027F5}"/>
    <pc:docChg chg="addSld delSld modSection">
      <pc:chgData name="kleinhammer@otaris.de" userId="S::kleinhammer_otaris.de#ext#@antunibremen.onmicrosoft.com::51692edd-f351-4632-94f1-95a7310df8e5" providerId="AD" clId="Web-{AB9D0A6F-175F-B3B8-89A4-B6C4F96027F5}" dt="2024-03-12T10:09:07.581" v="1"/>
      <pc:docMkLst>
        <pc:docMk/>
      </pc:docMkLst>
      <pc:sldChg chg="new del">
        <pc:chgData name="kleinhammer@otaris.de" userId="S::kleinhammer_otaris.de#ext#@antunibremen.onmicrosoft.com::51692edd-f351-4632-94f1-95a7310df8e5" providerId="AD" clId="Web-{AB9D0A6F-175F-B3B8-89A4-B6C4F96027F5}" dt="2024-03-12T10:09:07.581" v="1"/>
        <pc:sldMkLst>
          <pc:docMk/>
          <pc:sldMk cId="1097242756" sldId="2147472566"/>
        </pc:sldMkLst>
      </pc:sldChg>
    </pc:docChg>
  </pc:docChgLst>
  <pc:docChgLst>
    <pc:chgData name="daurembekova@eit.uni-kl.de" userId="S::daurembekova_eit.uni-kl.de#ext#@antunibremen.onmicrosoft.com::1550135a-cb22-4283-bb7f-d226a501e7e9" providerId="AD" clId="Web-{EF27E413-62B5-C1DA-66D7-989056B5947A}"/>
    <pc:docChg chg="modSld">
      <pc:chgData name="daurembekova@eit.uni-kl.de" userId="S::daurembekova_eit.uni-kl.de#ext#@antunibremen.onmicrosoft.com::1550135a-cb22-4283-bb7f-d226a501e7e9" providerId="AD" clId="Web-{EF27E413-62B5-C1DA-66D7-989056B5947A}" dt="2025-02-28T15:38:11.440" v="31"/>
      <pc:docMkLst>
        <pc:docMk/>
      </pc:docMkLst>
      <pc:sldChg chg="modSp">
        <pc:chgData name="daurembekova@eit.uni-kl.de" userId="S::daurembekova_eit.uni-kl.de#ext#@antunibremen.onmicrosoft.com::1550135a-cb22-4283-bb7f-d226a501e7e9" providerId="AD" clId="Web-{EF27E413-62B5-C1DA-66D7-989056B5947A}" dt="2025-02-28T15:38:11.440" v="31"/>
        <pc:sldMkLst>
          <pc:docMk/>
          <pc:sldMk cId="1139371620" sldId="2147476935"/>
        </pc:sldMkLst>
      </pc:sldChg>
    </pc:docChg>
  </pc:docChgLst>
  <pc:docChgLst>
    <pc:chgData name="Johannes Demel" userId="S::demel@ant.uni-bremen.de::aeb5a5a0-aa24-4948-b3bb-243bfd1d98fe" providerId="AD" clId="Web-{546596B5-F35E-CD3D-E56C-B7952AAB7C06}"/>
    <pc:docChg chg="modSld">
      <pc:chgData name="Johannes Demel" userId="S::demel@ant.uni-bremen.de::aeb5a5a0-aa24-4948-b3bb-243bfd1d98fe" providerId="AD" clId="Web-{546596B5-F35E-CD3D-E56C-B7952AAB7C06}" dt="2023-10-19T07:29:33.311" v="106" actId="1076"/>
      <pc:docMkLst>
        <pc:docMk/>
      </pc:docMkLst>
      <pc:sldChg chg="addSp modSp">
        <pc:chgData name="Johannes Demel" userId="S::demel@ant.uni-bremen.de::aeb5a5a0-aa24-4948-b3bb-243bfd1d98fe" providerId="AD" clId="Web-{546596B5-F35E-CD3D-E56C-B7952AAB7C06}" dt="2023-10-19T07:29:33.311" v="106" actId="1076"/>
        <pc:sldMkLst>
          <pc:docMk/>
          <pc:sldMk cId="2825320251" sldId="2147472498"/>
        </pc:sldMkLst>
      </pc:sldChg>
    </pc:docChg>
  </pc:docChgLst>
  <pc:docChgLst>
    <pc:chgData name="Jan Drewes" userId="S::janhenning.drewes_nxp.com#ext#@antunibremen.onmicrosoft.com::e11dbc40-13df-4427-a065-822664db6633" providerId="AD" clId="Web-{A83BB0DF-5A0C-A24E-711B-6E674066F1EA}"/>
    <pc:docChg chg="modSld">
      <pc:chgData name="Jan Drewes" userId="S::janhenning.drewes_nxp.com#ext#@antunibremen.onmicrosoft.com::e11dbc40-13df-4427-a065-822664db6633" providerId="AD" clId="Web-{A83BB0DF-5A0C-A24E-711B-6E674066F1EA}" dt="2024-03-01T14:45:53.824" v="67"/>
      <pc:docMkLst>
        <pc:docMk/>
      </pc:docMkLst>
      <pc:sldChg chg="addSp delSp modSp">
        <pc:chgData name="Jan Drewes" userId="S::janhenning.drewes_nxp.com#ext#@antunibremen.onmicrosoft.com::e11dbc40-13df-4427-a065-822664db6633" providerId="AD" clId="Web-{A83BB0DF-5A0C-A24E-711B-6E674066F1EA}" dt="2024-03-01T14:45:53.824" v="67"/>
        <pc:sldMkLst>
          <pc:docMk/>
          <pc:sldMk cId="3744710436" sldId="2147472544"/>
        </pc:sldMkLst>
      </pc:sldChg>
      <pc:sldChg chg="addSp delSp modSp">
        <pc:chgData name="Jan Drewes" userId="S::janhenning.drewes_nxp.com#ext#@antunibremen.onmicrosoft.com::e11dbc40-13df-4427-a065-822664db6633" providerId="AD" clId="Web-{A83BB0DF-5A0C-A24E-711B-6E674066F1EA}" dt="2024-03-01T14:43:01.504" v="45"/>
        <pc:sldMkLst>
          <pc:docMk/>
          <pc:sldMk cId="2685880669" sldId="2147472551"/>
        </pc:sldMkLst>
      </pc:sldChg>
    </pc:docChg>
  </pc:docChgLst>
  <pc:docChgLst>
    <pc:chgData name="federico.clazzer@dlr.de" userId="S::federico.clazzer_dlr.de#ext#@antunibremen.onmicrosoft.com::168cc1cf-d8c9-4959-a554-a7f2ef4eaad8" providerId="AD" clId="Web-{571CB0D2-6BC7-54BF-43C2-0AF5BA6E4298}"/>
    <pc:docChg chg="addSld modSld modSection">
      <pc:chgData name="federico.clazzer@dlr.de" userId="S::federico.clazzer_dlr.de#ext#@antunibremen.onmicrosoft.com::168cc1cf-d8c9-4959-a554-a7f2ef4eaad8" providerId="AD" clId="Web-{571CB0D2-6BC7-54BF-43C2-0AF5BA6E4298}" dt="2025-03-19T13:54:57.761" v="352" actId="20577"/>
      <pc:docMkLst>
        <pc:docMk/>
      </pc:docMkLst>
      <pc:sldChg chg="addSp delSp modSp add replId">
        <pc:chgData name="federico.clazzer@dlr.de" userId="S::federico.clazzer_dlr.de#ext#@antunibremen.onmicrosoft.com::168cc1cf-d8c9-4959-a554-a7f2ef4eaad8" providerId="AD" clId="Web-{571CB0D2-6BC7-54BF-43C2-0AF5BA6E4298}" dt="2025-03-19T13:54:57.761" v="352" actId="20577"/>
        <pc:sldMkLst>
          <pc:docMk/>
          <pc:sldMk cId="4234122540" sldId="2147477028"/>
        </pc:sldMkLst>
      </pc:sldChg>
    </pc:docChg>
  </pc:docChgLst>
  <pc:docChgLst>
    <pc:chgData name="Jan Drewes" userId="S::janhenning.drewes_nxp.com#ext#@antunibremen.onmicrosoft.com::e11dbc40-13df-4427-a065-822664db6633" providerId="AD" clId="Web-{EDD22AB6-4E27-4348-DA39-3462FD2FC10B}"/>
    <pc:docChg chg="modSld">
      <pc:chgData name="Jan Drewes" userId="S::janhenning.drewes_nxp.com#ext#@antunibremen.onmicrosoft.com::e11dbc40-13df-4427-a065-822664db6633" providerId="AD" clId="Web-{EDD22AB6-4E27-4348-DA39-3462FD2FC10B}" dt="2024-03-04T10:49:59.343" v="54" actId="1076"/>
      <pc:docMkLst>
        <pc:docMk/>
      </pc:docMkLst>
      <pc:sldChg chg="addSp delSp modSp">
        <pc:chgData name="Jan Drewes" userId="S::janhenning.drewes_nxp.com#ext#@antunibremen.onmicrosoft.com::e11dbc40-13df-4427-a065-822664db6633" providerId="AD" clId="Web-{EDD22AB6-4E27-4348-DA39-3462FD2FC10B}" dt="2024-03-04T10:37:48.902" v="36" actId="1076"/>
        <pc:sldMkLst>
          <pc:docMk/>
          <pc:sldMk cId="2277072009" sldId="409"/>
        </pc:sldMkLst>
      </pc:sldChg>
      <pc:sldChg chg="addSp delSp modSp">
        <pc:chgData name="Jan Drewes" userId="S::janhenning.drewes_nxp.com#ext#@antunibremen.onmicrosoft.com::e11dbc40-13df-4427-a065-822664db6633" providerId="AD" clId="Web-{EDD22AB6-4E27-4348-DA39-3462FD2FC10B}" dt="2024-03-04T10:49:59.343" v="54" actId="1076"/>
        <pc:sldMkLst>
          <pc:docMk/>
          <pc:sldMk cId="1903714414" sldId="416"/>
        </pc:sldMkLst>
      </pc:sldChg>
      <pc:sldChg chg="modSp">
        <pc:chgData name="Jan Drewes" userId="S::janhenning.drewes_nxp.com#ext#@antunibremen.onmicrosoft.com::e11dbc40-13df-4427-a065-822664db6633" providerId="AD" clId="Web-{EDD22AB6-4E27-4348-DA39-3462FD2FC10B}" dt="2024-03-04T10:39:30.968" v="50" actId="20577"/>
        <pc:sldMkLst>
          <pc:docMk/>
          <pc:sldMk cId="3744710436" sldId="2147472544"/>
        </pc:sldMkLst>
      </pc:sldChg>
    </pc:docChg>
  </pc:docChgLst>
  <pc:docChgLst>
    <pc:chgData name="Schwaderer, Peter" userId="S::peter.schwaderer_airbus.com#ext#@antunibremen.onmicrosoft.com::5778221e-7c32-4e8a-8846-22a455d873db" providerId="AD" clId="Web-{55BFA4A6-2F78-B607-F049-E69562EF4EA7}"/>
    <pc:docChg chg="modSld">
      <pc:chgData name="Schwaderer, Peter" userId="S::peter.schwaderer_airbus.com#ext#@antunibremen.onmicrosoft.com::5778221e-7c32-4e8a-8846-22a455d873db" providerId="AD" clId="Web-{55BFA4A6-2F78-B607-F049-E69562EF4EA7}" dt="2025-03-25T12:11:15.428" v="119"/>
      <pc:docMkLst>
        <pc:docMk/>
      </pc:docMkLst>
      <pc:sldChg chg="addSp delSp modSp">
        <pc:chgData name="Schwaderer, Peter" userId="S::peter.schwaderer_airbus.com#ext#@antunibremen.onmicrosoft.com::5778221e-7c32-4e8a-8846-22a455d873db" providerId="AD" clId="Web-{55BFA4A6-2F78-B607-F049-E69562EF4EA7}" dt="2025-03-25T10:58:32.488" v="110"/>
        <pc:sldMkLst>
          <pc:docMk/>
          <pc:sldMk cId="2869957903" sldId="2147477050"/>
        </pc:sldMkLst>
        <pc:picChg chg="add">
          <ac:chgData name="Schwaderer, Peter" userId="S::peter.schwaderer_airbus.com#ext#@antunibremen.onmicrosoft.com::5778221e-7c32-4e8a-8846-22a455d873db" providerId="AD" clId="Web-{55BFA4A6-2F78-B607-F049-E69562EF4EA7}" dt="2025-03-25T10:26:13.978" v="67"/>
          <ac:picMkLst>
            <pc:docMk/>
            <pc:sldMk cId="2869957903" sldId="2147477050"/>
            <ac:picMk id="11" creationId="{D901E4D0-F80F-ECA5-8BFA-E5DCA3D930DE}"/>
          </ac:picMkLst>
        </pc:picChg>
        <pc:cxnChg chg="add mod">
          <ac:chgData name="Schwaderer, Peter" userId="S::peter.schwaderer_airbus.com#ext#@antunibremen.onmicrosoft.com::5778221e-7c32-4e8a-8846-22a455d873db" providerId="AD" clId="Web-{55BFA4A6-2F78-B607-F049-E69562EF4EA7}" dt="2025-03-25T10:25:58.338" v="66" actId="14100"/>
          <ac:cxnSpMkLst>
            <pc:docMk/>
            <pc:sldMk cId="2869957903" sldId="2147477050"/>
            <ac:cxnSpMk id="8" creationId="{1BB551FA-19FC-232B-B3C9-746806B728CC}"/>
          </ac:cxnSpMkLst>
        </pc:cxnChg>
      </pc:sldChg>
      <pc:sldChg chg="addSp delSp modSp">
        <pc:chgData name="Schwaderer, Peter" userId="S::peter.schwaderer_airbus.com#ext#@antunibremen.onmicrosoft.com::5778221e-7c32-4e8a-8846-22a455d873db" providerId="AD" clId="Web-{55BFA4A6-2F78-B607-F049-E69562EF4EA7}" dt="2025-03-25T10:58:34.769" v="111"/>
        <pc:sldMkLst>
          <pc:docMk/>
          <pc:sldMk cId="1516448176" sldId="2147477052"/>
        </pc:sldMkLst>
        <pc:spChg chg="mod">
          <ac:chgData name="Schwaderer, Peter" userId="S::peter.schwaderer_airbus.com#ext#@antunibremen.onmicrosoft.com::5778221e-7c32-4e8a-8846-22a455d873db" providerId="AD" clId="Web-{55BFA4A6-2F78-B607-F049-E69562EF4EA7}" dt="2025-03-25T09:59:47.460" v="14" actId="1076"/>
          <ac:spMkLst>
            <pc:docMk/>
            <pc:sldMk cId="1516448176" sldId="2147477052"/>
            <ac:spMk id="4" creationId="{FAB29566-E513-465C-B630-A628FD78F2A2}"/>
          </ac:spMkLst>
        </pc:spChg>
        <pc:spChg chg="add mod">
          <ac:chgData name="Schwaderer, Peter" userId="S::peter.schwaderer_airbus.com#ext#@antunibremen.onmicrosoft.com::5778221e-7c32-4e8a-8846-22a455d873db" providerId="AD" clId="Web-{55BFA4A6-2F78-B607-F049-E69562EF4EA7}" dt="2025-03-25T10:02:29.229" v="24" actId="1076"/>
          <ac:spMkLst>
            <pc:docMk/>
            <pc:sldMk cId="1516448176" sldId="2147477052"/>
            <ac:spMk id="18" creationId="{E528431A-6D1E-42A1-51BB-45CF6B77F1A0}"/>
          </ac:spMkLst>
        </pc:spChg>
        <pc:spChg chg="mod">
          <ac:chgData name="Schwaderer, Peter" userId="S::peter.schwaderer_airbus.com#ext#@antunibremen.onmicrosoft.com::5778221e-7c32-4e8a-8846-22a455d873db" providerId="AD" clId="Web-{55BFA4A6-2F78-B607-F049-E69562EF4EA7}" dt="2025-03-25T09:59:47.367" v="7" actId="1076"/>
          <ac:spMkLst>
            <pc:docMk/>
            <pc:sldMk cId="1516448176" sldId="2147477052"/>
            <ac:spMk id="19" creationId="{1477956B-2F7B-A973-AA53-6656465719E9}"/>
          </ac:spMkLst>
        </pc:spChg>
        <pc:grpChg chg="mod">
          <ac:chgData name="Schwaderer, Peter" userId="S::peter.schwaderer_airbus.com#ext#@antunibremen.onmicrosoft.com::5778221e-7c32-4e8a-8846-22a455d873db" providerId="AD" clId="Web-{55BFA4A6-2F78-B607-F049-E69562EF4EA7}" dt="2025-03-25T09:59:47.429" v="12" actId="1076"/>
          <ac:grpSpMkLst>
            <pc:docMk/>
            <pc:sldMk cId="1516448176" sldId="2147477052"/>
            <ac:grpSpMk id="78" creationId="{B4016E1E-B489-CD68-3F47-8D5397D75ACB}"/>
          </ac:grpSpMkLst>
        </pc:grpChg>
        <pc:picChg chg="mod">
          <ac:chgData name="Schwaderer, Peter" userId="S::peter.schwaderer_airbus.com#ext#@antunibremen.onmicrosoft.com::5778221e-7c32-4e8a-8846-22a455d873db" providerId="AD" clId="Web-{55BFA4A6-2F78-B607-F049-E69562EF4EA7}" dt="2025-03-25T09:59:47.445" v="13" actId="1076"/>
          <ac:picMkLst>
            <pc:docMk/>
            <pc:sldMk cId="1516448176" sldId="2147477052"/>
            <ac:picMk id="3" creationId="{B6F90D8C-A5B6-F8E8-4FCA-311E8BD0F853}"/>
          </ac:picMkLst>
        </pc:picChg>
        <pc:picChg chg="mod">
          <ac:chgData name="Schwaderer, Peter" userId="S::peter.schwaderer_airbus.com#ext#@antunibremen.onmicrosoft.com::5778221e-7c32-4e8a-8846-22a455d873db" providerId="AD" clId="Web-{55BFA4A6-2F78-B607-F049-E69562EF4EA7}" dt="2025-03-25T09:59:47.351" v="6" actId="1076"/>
          <ac:picMkLst>
            <pc:docMk/>
            <pc:sldMk cId="1516448176" sldId="2147477052"/>
            <ac:picMk id="7" creationId="{12C063C3-3125-3CE1-E921-B5690EC657D3}"/>
          </ac:picMkLst>
        </pc:picChg>
        <pc:picChg chg="add mod">
          <ac:chgData name="Schwaderer, Peter" userId="S::peter.schwaderer_airbus.com#ext#@antunibremen.onmicrosoft.com::5778221e-7c32-4e8a-8846-22a455d873db" providerId="AD" clId="Web-{55BFA4A6-2F78-B607-F049-E69562EF4EA7}" dt="2025-03-25T10:06:38.639" v="48" actId="1076"/>
          <ac:picMkLst>
            <pc:docMk/>
            <pc:sldMk cId="1516448176" sldId="2147477052"/>
            <ac:picMk id="14" creationId="{6F06A245-A41E-E1C9-BEA1-1D8BD2516419}"/>
          </ac:picMkLst>
        </pc:picChg>
        <pc:cxnChg chg="mod">
          <ac:chgData name="Schwaderer, Peter" userId="S::peter.schwaderer_airbus.com#ext#@antunibremen.onmicrosoft.com::5778221e-7c32-4e8a-8846-22a455d873db" providerId="AD" clId="Web-{55BFA4A6-2F78-B607-F049-E69562EF4EA7}" dt="2025-03-25T09:59:47.460" v="15" actId="1076"/>
          <ac:cxnSpMkLst>
            <pc:docMk/>
            <pc:sldMk cId="1516448176" sldId="2147477052"/>
            <ac:cxnSpMk id="6" creationId="{AE6121F5-B684-910D-837E-B3B2F90414EA}"/>
          </ac:cxnSpMkLst>
        </pc:cxnChg>
        <pc:cxnChg chg="mod">
          <ac:chgData name="Schwaderer, Peter" userId="S::peter.schwaderer_airbus.com#ext#@antunibremen.onmicrosoft.com::5778221e-7c32-4e8a-8846-22a455d873db" providerId="AD" clId="Web-{55BFA4A6-2F78-B607-F049-E69562EF4EA7}" dt="2025-03-25T09:59:47.476" v="16" actId="1076"/>
          <ac:cxnSpMkLst>
            <pc:docMk/>
            <pc:sldMk cId="1516448176" sldId="2147477052"/>
            <ac:cxnSpMk id="12" creationId="{7E95612C-565E-59A0-E3F7-F2EC8A9BA014}"/>
          </ac:cxnSpMkLst>
        </pc:cxnChg>
        <pc:cxnChg chg="add mod">
          <ac:chgData name="Schwaderer, Peter" userId="S::peter.schwaderer_airbus.com#ext#@antunibremen.onmicrosoft.com::5778221e-7c32-4e8a-8846-22a455d873db" providerId="AD" clId="Web-{55BFA4A6-2F78-B607-F049-E69562EF4EA7}" dt="2025-03-25T10:06:42.577" v="49" actId="14100"/>
          <ac:cxnSpMkLst>
            <pc:docMk/>
            <pc:sldMk cId="1516448176" sldId="2147477052"/>
            <ac:cxnSpMk id="15" creationId="{61F221D4-E0F8-3FEA-7013-AB7F45802F3B}"/>
          </ac:cxnSpMkLst>
        </pc:cxnChg>
        <pc:cxnChg chg="mod">
          <ac:chgData name="Schwaderer, Peter" userId="S::peter.schwaderer_airbus.com#ext#@antunibremen.onmicrosoft.com::5778221e-7c32-4e8a-8846-22a455d873db" providerId="AD" clId="Web-{55BFA4A6-2F78-B607-F049-E69562EF4EA7}" dt="2025-03-25T09:59:47.367" v="8" actId="1076"/>
          <ac:cxnSpMkLst>
            <pc:docMk/>
            <pc:sldMk cId="1516448176" sldId="2147477052"/>
            <ac:cxnSpMk id="20" creationId="{B6BB5384-197E-50A2-942D-F2B103C7011F}"/>
          </ac:cxnSpMkLst>
        </pc:cxnChg>
        <pc:cxnChg chg="mod">
          <ac:chgData name="Schwaderer, Peter" userId="S::peter.schwaderer_airbus.com#ext#@antunibremen.onmicrosoft.com::5778221e-7c32-4e8a-8846-22a455d873db" providerId="AD" clId="Web-{55BFA4A6-2F78-B607-F049-E69562EF4EA7}" dt="2025-03-25T09:59:47.382" v="9" actId="1076"/>
          <ac:cxnSpMkLst>
            <pc:docMk/>
            <pc:sldMk cId="1516448176" sldId="2147477052"/>
            <ac:cxnSpMk id="23" creationId="{F5E94AF3-DC92-F9B2-BD18-0D4B059F717F}"/>
          </ac:cxnSpMkLst>
        </pc:cxnChg>
        <pc:cxnChg chg="mod">
          <ac:chgData name="Schwaderer, Peter" userId="S::peter.schwaderer_airbus.com#ext#@antunibremen.onmicrosoft.com::5778221e-7c32-4e8a-8846-22a455d873db" providerId="AD" clId="Web-{55BFA4A6-2F78-B607-F049-E69562EF4EA7}" dt="2025-03-25T10:00:11.320" v="19" actId="14100"/>
          <ac:cxnSpMkLst>
            <pc:docMk/>
            <pc:sldMk cId="1516448176" sldId="2147477052"/>
            <ac:cxnSpMk id="37" creationId="{A7414322-4784-E3D8-69C5-1D6E9FD7E22B}"/>
          </ac:cxnSpMkLst>
        </pc:cxnChg>
        <pc:cxnChg chg="mod">
          <ac:chgData name="Schwaderer, Peter" userId="S::peter.schwaderer_airbus.com#ext#@antunibremen.onmicrosoft.com::5778221e-7c32-4e8a-8846-22a455d873db" providerId="AD" clId="Web-{55BFA4A6-2F78-B607-F049-E69562EF4EA7}" dt="2025-03-25T09:59:50.898" v="17" actId="14100"/>
          <ac:cxnSpMkLst>
            <pc:docMk/>
            <pc:sldMk cId="1516448176" sldId="2147477052"/>
            <ac:cxnSpMk id="47" creationId="{6E197CFF-64BA-7D91-D33E-EDB7C708291B}"/>
          </ac:cxnSpMkLst>
        </pc:cxnChg>
      </pc:sldChg>
      <pc:sldChg chg="addSp delSp modSp">
        <pc:chgData name="Schwaderer, Peter" userId="S::peter.schwaderer_airbus.com#ext#@antunibremen.onmicrosoft.com::5778221e-7c32-4e8a-8846-22a455d873db" providerId="AD" clId="Web-{55BFA4A6-2F78-B607-F049-E69562EF4EA7}" dt="2025-03-25T10:58:37.879" v="112"/>
        <pc:sldMkLst>
          <pc:docMk/>
          <pc:sldMk cId="3749321561" sldId="2147477054"/>
        </pc:sldMkLst>
        <pc:picChg chg="add">
          <ac:chgData name="Schwaderer, Peter" userId="S::peter.schwaderer_airbus.com#ext#@antunibremen.onmicrosoft.com::5778221e-7c32-4e8a-8846-22a455d873db" providerId="AD" clId="Web-{55BFA4A6-2F78-B607-F049-E69562EF4EA7}" dt="2025-03-25T10:06:51.249" v="51"/>
          <ac:picMkLst>
            <pc:docMk/>
            <pc:sldMk cId="3749321561" sldId="2147477054"/>
            <ac:picMk id="30" creationId="{4766E831-205C-1EB3-68EF-5DA32B995CE8}"/>
          </ac:picMkLst>
        </pc:picChg>
        <pc:cxnChg chg="add mod">
          <ac:chgData name="Schwaderer, Peter" userId="S::peter.schwaderer_airbus.com#ext#@antunibremen.onmicrosoft.com::5778221e-7c32-4e8a-8846-22a455d873db" providerId="AD" clId="Web-{55BFA4A6-2F78-B607-F049-E69562EF4EA7}" dt="2025-03-25T10:06:53.296" v="52" actId="14100"/>
          <ac:cxnSpMkLst>
            <pc:docMk/>
            <pc:sldMk cId="3749321561" sldId="2147477054"/>
            <ac:cxnSpMk id="26" creationId="{A1A42723-8025-958B-60C9-7254AE0C04BA}"/>
          </ac:cxnSpMkLst>
        </pc:cxnChg>
      </pc:sldChg>
      <pc:sldChg chg="addSp delSp modSp">
        <pc:chgData name="Schwaderer, Peter" userId="S::peter.schwaderer_airbus.com#ext#@antunibremen.onmicrosoft.com::5778221e-7c32-4e8a-8846-22a455d873db" providerId="AD" clId="Web-{55BFA4A6-2F78-B607-F049-E69562EF4EA7}" dt="2025-03-25T12:11:15.428" v="119"/>
        <pc:sldMkLst>
          <pc:docMk/>
          <pc:sldMk cId="3013585730" sldId="2147477055"/>
        </pc:sldMkLst>
        <pc:spChg chg="add">
          <ac:chgData name="Schwaderer, Peter" userId="S::peter.schwaderer_airbus.com#ext#@antunibremen.onmicrosoft.com::5778221e-7c32-4e8a-8846-22a455d873db" providerId="AD" clId="Web-{55BFA4A6-2F78-B607-F049-E69562EF4EA7}" dt="2025-03-25T10:30:30.038" v="91"/>
          <ac:spMkLst>
            <pc:docMk/>
            <pc:sldMk cId="3013585730" sldId="2147477055"/>
            <ac:spMk id="4" creationId="{8CC23AB9-C409-98B3-26F0-E8F535C8B10A}"/>
          </ac:spMkLst>
        </pc:spChg>
        <pc:spChg chg="add">
          <ac:chgData name="Schwaderer, Peter" userId="S::peter.schwaderer_airbus.com#ext#@antunibremen.onmicrosoft.com::5778221e-7c32-4e8a-8846-22a455d873db" providerId="AD" clId="Web-{55BFA4A6-2F78-B607-F049-E69562EF4EA7}" dt="2025-03-25T12:11:15.428" v="119"/>
          <ac:spMkLst>
            <pc:docMk/>
            <pc:sldMk cId="3013585730" sldId="2147477055"/>
            <ac:spMk id="5" creationId="{D4A27D20-2F02-47B8-B600-B323617191C0}"/>
          </ac:spMkLst>
        </pc:spChg>
        <pc:spChg chg="add">
          <ac:chgData name="Schwaderer, Peter" userId="S::peter.schwaderer_airbus.com#ext#@antunibremen.onmicrosoft.com::5778221e-7c32-4e8a-8846-22a455d873db" providerId="AD" clId="Web-{55BFA4A6-2F78-B607-F049-E69562EF4EA7}" dt="2025-03-25T10:32:15.756" v="109"/>
          <ac:spMkLst>
            <pc:docMk/>
            <pc:sldMk cId="3013585730" sldId="2147477055"/>
            <ac:spMk id="18" creationId="{6E07D154-DA6B-0BA1-369E-25B2ED519704}"/>
          </ac:spMkLst>
        </pc:spChg>
        <pc:spChg chg="mod topLvl">
          <ac:chgData name="Schwaderer, Peter" userId="S::peter.schwaderer_airbus.com#ext#@antunibremen.onmicrosoft.com::5778221e-7c32-4e8a-8846-22a455d873db" providerId="AD" clId="Web-{55BFA4A6-2F78-B607-F049-E69562EF4EA7}" dt="2025-03-25T12:10:51.412" v="118" actId="1076"/>
          <ac:spMkLst>
            <pc:docMk/>
            <pc:sldMk cId="3013585730" sldId="2147477055"/>
            <ac:spMk id="46" creationId="{EDD33569-C52F-3DEB-4C17-B7FE1365B546}"/>
          </ac:spMkLst>
        </pc:spChg>
        <pc:picChg chg="add">
          <ac:chgData name="Schwaderer, Peter" userId="S::peter.schwaderer_airbus.com#ext#@antunibremen.onmicrosoft.com::5778221e-7c32-4e8a-8846-22a455d873db" providerId="AD" clId="Web-{55BFA4A6-2F78-B607-F049-E69562EF4EA7}" dt="2025-03-25T10:06:57.858" v="54"/>
          <ac:picMkLst>
            <pc:docMk/>
            <pc:sldMk cId="3013585730" sldId="2147477055"/>
            <ac:picMk id="62" creationId="{A137BFC1-BF56-C065-FA3E-090475B927BB}"/>
          </ac:picMkLst>
        </pc:picChg>
      </pc:sldChg>
      <pc:sldChg chg="addSp delSp modSp">
        <pc:chgData name="Schwaderer, Peter" userId="S::peter.schwaderer_airbus.com#ext#@antunibremen.onmicrosoft.com::5778221e-7c32-4e8a-8846-22a455d873db" providerId="AD" clId="Web-{55BFA4A6-2F78-B607-F049-E69562EF4EA7}" dt="2025-03-25T12:09:56.270" v="115"/>
        <pc:sldMkLst>
          <pc:docMk/>
          <pc:sldMk cId="1590415788" sldId="2147477056"/>
        </pc:sldMkLst>
        <pc:spChg chg="add del">
          <ac:chgData name="Schwaderer, Peter" userId="S::peter.schwaderer_airbus.com#ext#@antunibremen.onmicrosoft.com::5778221e-7c32-4e8a-8846-22a455d873db" providerId="AD" clId="Web-{55BFA4A6-2F78-B607-F049-E69562EF4EA7}" dt="2025-03-25T10:07:32.234" v="62"/>
          <ac:spMkLst>
            <pc:docMk/>
            <pc:sldMk cId="1590415788" sldId="2147477056"/>
            <ac:spMk id="56" creationId="{8B5D863F-11DA-8A27-DCF2-47D06ED8B6A0}"/>
          </ac:spMkLst>
        </pc:spChg>
        <pc:spChg chg="mod">
          <ac:chgData name="Schwaderer, Peter" userId="S::peter.schwaderer_airbus.com#ext#@antunibremen.onmicrosoft.com::5778221e-7c32-4e8a-8846-22a455d873db" providerId="AD" clId="Web-{55BFA4A6-2F78-B607-F049-E69562EF4EA7}" dt="2025-03-25T10:04:48.731" v="42" actId="14100"/>
          <ac:spMkLst>
            <pc:docMk/>
            <pc:sldMk cId="1590415788" sldId="2147477056"/>
            <ac:spMk id="64" creationId="{F71F8F62-DC2F-3FB7-7092-B9B0069953BF}"/>
          </ac:spMkLst>
        </pc:spChg>
        <pc:grpChg chg="mod">
          <ac:chgData name="Schwaderer, Peter" userId="S::peter.schwaderer_airbus.com#ext#@antunibremen.onmicrosoft.com::5778221e-7c32-4e8a-8846-22a455d873db" providerId="AD" clId="Web-{55BFA4A6-2F78-B607-F049-E69562EF4EA7}" dt="2025-03-25T10:04:48.731" v="43" actId="14100"/>
          <ac:grpSpMkLst>
            <pc:docMk/>
            <pc:sldMk cId="1590415788" sldId="2147477056"/>
            <ac:grpSpMk id="21" creationId="{0219B000-F2CC-110B-DCDA-C66C64C919F6}"/>
          </ac:grpSpMkLst>
        </pc:grpChg>
        <pc:picChg chg="mod">
          <ac:chgData name="Schwaderer, Peter" userId="S::peter.schwaderer_airbus.com#ext#@antunibremen.onmicrosoft.com::5778221e-7c32-4e8a-8846-22a455d873db" providerId="AD" clId="Web-{55BFA4A6-2F78-B607-F049-E69562EF4EA7}" dt="2025-03-25T10:05:18.216" v="45" actId="1076"/>
          <ac:picMkLst>
            <pc:docMk/>
            <pc:sldMk cId="1590415788" sldId="2147477056"/>
            <ac:picMk id="9" creationId="{A4B23EB9-02FD-83B0-3774-204F2AC0435C}"/>
          </ac:picMkLst>
        </pc:picChg>
        <pc:picChg chg="add">
          <ac:chgData name="Schwaderer, Peter" userId="S::peter.schwaderer_airbus.com#ext#@antunibremen.onmicrosoft.com::5778221e-7c32-4e8a-8846-22a455d873db" providerId="AD" clId="Web-{55BFA4A6-2F78-B607-F049-E69562EF4EA7}" dt="2025-03-25T10:07:26.171" v="58"/>
          <ac:picMkLst>
            <pc:docMk/>
            <pc:sldMk cId="1590415788" sldId="2147477056"/>
            <ac:picMk id="81" creationId="{44A8E8C5-B458-A187-FF33-BDAD157A7784}"/>
          </ac:picMkLst>
        </pc:picChg>
      </pc:sldChg>
    </pc:docChg>
  </pc:docChgLst>
  <pc:docChgLst>
    <pc:chgData name="daurembekova@eit.uni-kl.de" userId="S::daurembekova_eit.uni-kl.de#ext#@antunibremen.onmicrosoft.com::1550135a-cb22-4283-bb7f-d226a501e7e9" providerId="AD" clId="Web-{BB191607-0E08-EE75-852A-0F206C323565}"/>
    <pc:docChg chg="modSld">
      <pc:chgData name="daurembekova@eit.uni-kl.de" userId="S::daurembekova_eit.uni-kl.de#ext#@antunibremen.onmicrosoft.com::1550135a-cb22-4283-bb7f-d226a501e7e9" providerId="AD" clId="Web-{BB191607-0E08-EE75-852A-0F206C323565}" dt="2024-10-17T08:39:22.067" v="17"/>
      <pc:docMkLst>
        <pc:docMk/>
      </pc:docMkLst>
      <pc:sldChg chg="addSp">
        <pc:chgData name="daurembekova@eit.uni-kl.de" userId="S::daurembekova_eit.uni-kl.de#ext#@antunibremen.onmicrosoft.com::1550135a-cb22-4283-bb7f-d226a501e7e9" providerId="AD" clId="Web-{BB191607-0E08-EE75-852A-0F206C323565}" dt="2024-10-17T08:38:59.769" v="6"/>
        <pc:sldMkLst>
          <pc:docMk/>
          <pc:sldMk cId="1928819775" sldId="2147476862"/>
        </pc:sldMkLst>
      </pc:sldChg>
      <pc:sldChg chg="addSp">
        <pc:chgData name="daurembekova@eit.uni-kl.de" userId="S::daurembekova_eit.uni-kl.de#ext#@antunibremen.onmicrosoft.com::1550135a-cb22-4283-bb7f-d226a501e7e9" providerId="AD" clId="Web-{BB191607-0E08-EE75-852A-0F206C323565}" dt="2024-10-17T08:39:01.426" v="7"/>
        <pc:sldMkLst>
          <pc:docMk/>
          <pc:sldMk cId="993062843" sldId="2147476863"/>
        </pc:sldMkLst>
      </pc:sldChg>
      <pc:sldChg chg="addSp">
        <pc:chgData name="daurembekova@eit.uni-kl.de" userId="S::daurembekova_eit.uni-kl.de#ext#@antunibremen.onmicrosoft.com::1550135a-cb22-4283-bb7f-d226a501e7e9" providerId="AD" clId="Web-{BB191607-0E08-EE75-852A-0F206C323565}" dt="2024-10-17T08:39:03.238" v="8"/>
        <pc:sldMkLst>
          <pc:docMk/>
          <pc:sldMk cId="1149164908" sldId="2147476864"/>
        </pc:sldMkLst>
      </pc:sldChg>
      <pc:sldChg chg="addSp">
        <pc:chgData name="daurembekova@eit.uni-kl.de" userId="S::daurembekova_eit.uni-kl.de#ext#@antunibremen.onmicrosoft.com::1550135a-cb22-4283-bb7f-d226a501e7e9" providerId="AD" clId="Web-{BB191607-0E08-EE75-852A-0F206C323565}" dt="2024-10-17T08:39:07.645" v="10"/>
        <pc:sldMkLst>
          <pc:docMk/>
          <pc:sldMk cId="1562357202" sldId="2147476866"/>
        </pc:sldMkLst>
      </pc:sldChg>
      <pc:sldChg chg="addSp">
        <pc:chgData name="daurembekova@eit.uni-kl.de" userId="S::daurembekova_eit.uni-kl.de#ext#@antunibremen.onmicrosoft.com::1550135a-cb22-4283-bb7f-d226a501e7e9" providerId="AD" clId="Web-{BB191607-0E08-EE75-852A-0F206C323565}" dt="2024-10-17T08:39:05.129" v="9"/>
        <pc:sldMkLst>
          <pc:docMk/>
          <pc:sldMk cId="1712500352" sldId="2147476867"/>
        </pc:sldMkLst>
      </pc:sldChg>
      <pc:sldChg chg="addSp">
        <pc:chgData name="daurembekova@eit.uni-kl.de" userId="S::daurembekova_eit.uni-kl.de#ext#@antunibremen.onmicrosoft.com::1550135a-cb22-4283-bb7f-d226a501e7e9" providerId="AD" clId="Web-{BB191607-0E08-EE75-852A-0F206C323565}" dt="2024-10-17T08:39:10.317" v="11"/>
        <pc:sldMkLst>
          <pc:docMk/>
          <pc:sldMk cId="3040244155" sldId="2147476868"/>
        </pc:sldMkLst>
      </pc:sldChg>
      <pc:sldChg chg="addSp">
        <pc:chgData name="daurembekova@eit.uni-kl.de" userId="S::daurembekova_eit.uni-kl.de#ext#@antunibremen.onmicrosoft.com::1550135a-cb22-4283-bb7f-d226a501e7e9" providerId="AD" clId="Web-{BB191607-0E08-EE75-852A-0F206C323565}" dt="2024-10-17T08:39:12.488" v="12"/>
        <pc:sldMkLst>
          <pc:docMk/>
          <pc:sldMk cId="2653670087" sldId="2147476869"/>
        </pc:sldMkLst>
      </pc:sldChg>
      <pc:sldChg chg="addSp">
        <pc:chgData name="daurembekova@eit.uni-kl.de" userId="S::daurembekova_eit.uni-kl.de#ext#@antunibremen.onmicrosoft.com::1550135a-cb22-4283-bb7f-d226a501e7e9" providerId="AD" clId="Web-{BB191607-0E08-EE75-852A-0F206C323565}" dt="2024-10-17T08:39:14.551" v="13"/>
        <pc:sldMkLst>
          <pc:docMk/>
          <pc:sldMk cId="1100898078" sldId="2147476870"/>
        </pc:sldMkLst>
      </pc:sldChg>
      <pc:sldChg chg="addSp">
        <pc:chgData name="daurembekova@eit.uni-kl.de" userId="S::daurembekova_eit.uni-kl.de#ext#@antunibremen.onmicrosoft.com::1550135a-cb22-4283-bb7f-d226a501e7e9" providerId="AD" clId="Web-{BB191607-0E08-EE75-852A-0F206C323565}" dt="2024-10-17T08:39:15.754" v="14"/>
        <pc:sldMkLst>
          <pc:docMk/>
          <pc:sldMk cId="3094521085" sldId="2147476871"/>
        </pc:sldMkLst>
      </pc:sldChg>
      <pc:sldChg chg="addSp">
        <pc:chgData name="daurembekova@eit.uni-kl.de" userId="S::daurembekova_eit.uni-kl.de#ext#@antunibremen.onmicrosoft.com::1550135a-cb22-4283-bb7f-d226a501e7e9" providerId="AD" clId="Web-{BB191607-0E08-EE75-852A-0F206C323565}" dt="2024-10-17T08:39:17.457" v="15"/>
        <pc:sldMkLst>
          <pc:docMk/>
          <pc:sldMk cId="1790774335" sldId="2147476872"/>
        </pc:sldMkLst>
      </pc:sldChg>
      <pc:sldChg chg="addSp">
        <pc:chgData name="daurembekova@eit.uni-kl.de" userId="S::daurembekova_eit.uni-kl.de#ext#@antunibremen.onmicrosoft.com::1550135a-cb22-4283-bb7f-d226a501e7e9" providerId="AD" clId="Web-{BB191607-0E08-EE75-852A-0F206C323565}" dt="2024-10-17T08:39:18.942" v="16"/>
        <pc:sldMkLst>
          <pc:docMk/>
          <pc:sldMk cId="1912886402" sldId="2147476873"/>
        </pc:sldMkLst>
      </pc:sldChg>
      <pc:sldChg chg="addSp">
        <pc:chgData name="daurembekova@eit.uni-kl.de" userId="S::daurembekova_eit.uni-kl.de#ext#@antunibremen.onmicrosoft.com::1550135a-cb22-4283-bb7f-d226a501e7e9" providerId="AD" clId="Web-{BB191607-0E08-EE75-852A-0F206C323565}" dt="2024-10-17T08:39:22.067" v="17"/>
        <pc:sldMkLst>
          <pc:docMk/>
          <pc:sldMk cId="1757150157" sldId="2147476874"/>
        </pc:sldMkLst>
      </pc:sldChg>
      <pc:sldChg chg="addSp">
        <pc:chgData name="daurembekova@eit.uni-kl.de" userId="S::daurembekova_eit.uni-kl.de#ext#@antunibremen.onmicrosoft.com::1550135a-cb22-4283-bb7f-d226a501e7e9" providerId="AD" clId="Web-{BB191607-0E08-EE75-852A-0F206C323565}" dt="2024-10-17T08:38:53.050" v="5"/>
        <pc:sldMkLst>
          <pc:docMk/>
          <pc:sldMk cId="2667969569" sldId="2147476875"/>
        </pc:sldMkLst>
      </pc:sldChg>
      <pc:sldChg chg="addSp">
        <pc:chgData name="daurembekova@eit.uni-kl.de" userId="S::daurembekova_eit.uni-kl.de#ext#@antunibremen.onmicrosoft.com::1550135a-cb22-4283-bb7f-d226a501e7e9" providerId="AD" clId="Web-{BB191607-0E08-EE75-852A-0F206C323565}" dt="2024-10-17T08:38:42.909" v="4"/>
        <pc:sldMkLst>
          <pc:docMk/>
          <pc:sldMk cId="955015410" sldId="2147476876"/>
        </pc:sldMkLst>
      </pc:sldChg>
      <pc:sldChg chg="addSp modSp">
        <pc:chgData name="daurembekova@eit.uni-kl.de" userId="S::daurembekova_eit.uni-kl.de#ext#@antunibremen.onmicrosoft.com::1550135a-cb22-4283-bb7f-d226a501e7e9" providerId="AD" clId="Web-{BB191607-0E08-EE75-852A-0F206C323565}" dt="2024-10-17T08:38:36.893" v="3" actId="1076"/>
        <pc:sldMkLst>
          <pc:docMk/>
          <pc:sldMk cId="4280058175" sldId="2147476877"/>
        </pc:sldMkLst>
      </pc:sldChg>
    </pc:docChg>
  </pc:docChgLst>
  <pc:docChgLst>
    <pc:chgData name="timon.petermann@telematik-zentrum.de" userId="S::timon.petermann_telematik-zentrum.de#ext#@antunibremen.onmicrosoft.com::09e0c723-61db-4925-a819-cd79f1389da8" providerId="AD" clId="Web-{66A3A3FA-6474-3392-34AE-903529F2468F}"/>
    <pc:docChg chg="addSld delSld modSld modSection">
      <pc:chgData name="timon.petermann@telematik-zentrum.de" userId="S::timon.petermann_telematik-zentrum.de#ext#@antunibremen.onmicrosoft.com::09e0c723-61db-4925-a819-cd79f1389da8" providerId="AD" clId="Web-{66A3A3FA-6474-3392-34AE-903529F2468F}" dt="2024-03-12T10:03:18.506" v="51" actId="1076"/>
      <pc:docMkLst>
        <pc:docMk/>
      </pc:docMkLst>
      <pc:sldChg chg="add">
        <pc:chgData name="timon.petermann@telematik-zentrum.de" userId="S::timon.petermann_telematik-zentrum.de#ext#@antunibremen.onmicrosoft.com::09e0c723-61db-4925-a819-cd79f1389da8" providerId="AD" clId="Web-{66A3A3FA-6474-3392-34AE-903529F2468F}" dt="2024-03-12T08:01:59.223" v="2"/>
        <pc:sldMkLst>
          <pc:docMk/>
          <pc:sldMk cId="2367375905" sldId="262"/>
        </pc:sldMkLst>
      </pc:sldChg>
      <pc:sldChg chg="add">
        <pc:chgData name="timon.petermann@telematik-zentrum.de" userId="S::timon.petermann_telematik-zentrum.de#ext#@antunibremen.onmicrosoft.com::09e0c723-61db-4925-a819-cd79f1389da8" providerId="AD" clId="Web-{66A3A3FA-6474-3392-34AE-903529F2468F}" dt="2024-03-12T08:01:58.066" v="0"/>
        <pc:sldMkLst>
          <pc:docMk/>
          <pc:sldMk cId="2792263198" sldId="263"/>
        </pc:sldMkLst>
      </pc:sldChg>
      <pc:sldChg chg="modSp add">
        <pc:chgData name="timon.petermann@telematik-zentrum.de" userId="S::timon.petermann_telematik-zentrum.de#ext#@antunibremen.onmicrosoft.com::09e0c723-61db-4925-a819-cd79f1389da8" providerId="AD" clId="Web-{66A3A3FA-6474-3392-34AE-903529F2468F}" dt="2024-03-12T10:03:18.506" v="51" actId="1076"/>
        <pc:sldMkLst>
          <pc:docMk/>
          <pc:sldMk cId="715311766" sldId="264"/>
        </pc:sldMkLst>
      </pc:sldChg>
      <pc:sldChg chg="del">
        <pc:chgData name="timon.petermann@telematik-zentrum.de" userId="S::timon.petermann_telematik-zentrum.de#ext#@antunibremen.onmicrosoft.com::09e0c723-61db-4925-a819-cd79f1389da8" providerId="AD" clId="Web-{66A3A3FA-6474-3392-34AE-903529F2468F}" dt="2024-03-12T08:02:06.629" v="3"/>
        <pc:sldMkLst>
          <pc:docMk/>
          <pc:sldMk cId="2096296621" sldId="2147472538"/>
        </pc:sldMkLst>
      </pc:sldChg>
    </pc:docChg>
  </pc:docChgLst>
  <pc:docChgLst>
    <pc:chgData name="Breitbach, Markus" userId="S::m.breitbach_telekom.de#ext#@antunibremen.onmicrosoft.com::10c158ad-965e-4490-8b4a-81e4e8a03889" providerId="AD" clId="Web-{48A132BC-5903-B227-16C9-686D5E46CD0D}"/>
    <pc:docChg chg="addSld modSld sldOrd modSection">
      <pc:chgData name="Breitbach, Markus" userId="S::m.breitbach_telekom.de#ext#@antunibremen.onmicrosoft.com::10c158ad-965e-4490-8b4a-81e4e8a03889" providerId="AD" clId="Web-{48A132BC-5903-B227-16C9-686D5E46CD0D}" dt="2025-03-23T18:33:09.887" v="30"/>
      <pc:docMkLst>
        <pc:docMk/>
      </pc:docMkLst>
      <pc:sldChg chg="addSp delSp modSp ord modNotes">
        <pc:chgData name="Breitbach, Markus" userId="S::m.breitbach_telekom.de#ext#@antunibremen.onmicrosoft.com::10c158ad-965e-4490-8b4a-81e4e8a03889" providerId="AD" clId="Web-{48A132BC-5903-B227-16C9-686D5E46CD0D}" dt="2025-03-23T18:32:19.136" v="19"/>
        <pc:sldMkLst>
          <pc:docMk/>
          <pc:sldMk cId="746299310" sldId="2147477041"/>
        </pc:sldMkLst>
      </pc:sldChg>
      <pc:sldChg chg="ord">
        <pc:chgData name="Breitbach, Markus" userId="S::m.breitbach_telekom.de#ext#@antunibremen.onmicrosoft.com::10c158ad-965e-4490-8b4a-81e4e8a03889" providerId="AD" clId="Web-{48A132BC-5903-B227-16C9-686D5E46CD0D}" dt="2025-03-23T18:33:09.887" v="30"/>
        <pc:sldMkLst>
          <pc:docMk/>
          <pc:sldMk cId="761125098" sldId="2147477048"/>
        </pc:sldMkLst>
      </pc:sldChg>
      <pc:sldChg chg="addSp delSp modSp add replId modNotes">
        <pc:chgData name="Breitbach, Markus" userId="S::m.breitbach_telekom.de#ext#@antunibremen.onmicrosoft.com::10c158ad-965e-4490-8b4a-81e4e8a03889" providerId="AD" clId="Web-{48A132BC-5903-B227-16C9-686D5E46CD0D}" dt="2025-03-23T18:32:48.262" v="29" actId="1076"/>
        <pc:sldMkLst>
          <pc:docMk/>
          <pc:sldMk cId="484452169" sldId="2147477049"/>
        </pc:sldMkLst>
      </pc:sldChg>
    </pc:docChg>
  </pc:docChgLst>
  <pc:docChgLst>
    <pc:chgData name="Dennis Buchberger" userId="S::buchberger@ant.uni-bremen.de::cfe5e5e7-b999-4ed2-8d25-bbd6e3df32e4" providerId="AD" clId="Web-{257ACE1E-7002-77CD-AB50-1B899E8DE84A}"/>
    <pc:docChg chg="addSld modSld sldOrd modSection">
      <pc:chgData name="Dennis Buchberger" userId="S::buchberger@ant.uni-bremen.de::cfe5e5e7-b999-4ed2-8d25-bbd6e3df32e4" providerId="AD" clId="Web-{257ACE1E-7002-77CD-AB50-1B899E8DE84A}" dt="2024-10-22T15:45:01.211" v="914" actId="20577"/>
      <pc:docMkLst>
        <pc:docMk/>
      </pc:docMkLst>
      <pc:sldChg chg="modSp">
        <pc:chgData name="Dennis Buchberger" userId="S::buchberger@ant.uni-bremen.de::cfe5e5e7-b999-4ed2-8d25-bbd6e3df32e4" providerId="AD" clId="Web-{257ACE1E-7002-77CD-AB50-1B899E8DE84A}" dt="2024-10-22T15:40:31.077" v="817" actId="20577"/>
        <pc:sldMkLst>
          <pc:docMk/>
          <pc:sldMk cId="1852633294" sldId="259"/>
        </pc:sldMkLst>
      </pc:sldChg>
      <pc:sldChg chg="modSp">
        <pc:chgData name="Dennis Buchberger" userId="S::buchberger@ant.uni-bremen.de::cfe5e5e7-b999-4ed2-8d25-bbd6e3df32e4" providerId="AD" clId="Web-{257ACE1E-7002-77CD-AB50-1B899E8DE84A}" dt="2024-10-22T15:41:47.486" v="836" actId="20577"/>
        <pc:sldMkLst>
          <pc:docMk/>
          <pc:sldMk cId="1848419274" sldId="264"/>
        </pc:sldMkLst>
      </pc:sldChg>
      <pc:sldChg chg="modSp">
        <pc:chgData name="Dennis Buchberger" userId="S::buchberger@ant.uni-bremen.de::cfe5e5e7-b999-4ed2-8d25-bbd6e3df32e4" providerId="AD" clId="Web-{257ACE1E-7002-77CD-AB50-1B899E8DE84A}" dt="2024-10-22T15:43:27.474" v="841" actId="20577"/>
        <pc:sldMkLst>
          <pc:docMk/>
          <pc:sldMk cId="1349728837" sldId="267"/>
        </pc:sldMkLst>
      </pc:sldChg>
      <pc:sldChg chg="modSp ord">
        <pc:chgData name="Dennis Buchberger" userId="S::buchberger@ant.uni-bremen.de::cfe5e5e7-b999-4ed2-8d25-bbd6e3df32e4" providerId="AD" clId="Web-{257ACE1E-7002-77CD-AB50-1B899E8DE84A}" dt="2024-10-22T15:43:02.613" v="840"/>
        <pc:sldMkLst>
          <pc:docMk/>
          <pc:sldMk cId="3400339010" sldId="269"/>
        </pc:sldMkLst>
      </pc:sldChg>
      <pc:sldChg chg="modSp">
        <pc:chgData name="Dennis Buchberger" userId="S::buchberger@ant.uni-bremen.de::cfe5e5e7-b999-4ed2-8d25-bbd6e3df32e4" providerId="AD" clId="Web-{257ACE1E-7002-77CD-AB50-1B899E8DE84A}" dt="2024-10-22T15:40:19.811" v="810" actId="20577"/>
        <pc:sldMkLst>
          <pc:docMk/>
          <pc:sldMk cId="1704986583" sldId="270"/>
        </pc:sldMkLst>
      </pc:sldChg>
      <pc:sldChg chg="modSp">
        <pc:chgData name="Dennis Buchberger" userId="S::buchberger@ant.uni-bremen.de::cfe5e5e7-b999-4ed2-8d25-bbd6e3df32e4" providerId="AD" clId="Web-{257ACE1E-7002-77CD-AB50-1B899E8DE84A}" dt="2024-10-22T15:43:45.271" v="842" actId="20577"/>
        <pc:sldMkLst>
          <pc:docMk/>
          <pc:sldMk cId="2237517558" sldId="271"/>
        </pc:sldMkLst>
      </pc:sldChg>
      <pc:sldChg chg="modSp">
        <pc:chgData name="Dennis Buchberger" userId="S::buchberger@ant.uni-bremen.de::cfe5e5e7-b999-4ed2-8d25-bbd6e3df32e4" providerId="AD" clId="Web-{257ACE1E-7002-77CD-AB50-1B899E8DE84A}" dt="2024-10-22T15:41:34.016" v="834" actId="20577"/>
        <pc:sldMkLst>
          <pc:docMk/>
          <pc:sldMk cId="2748807046" sldId="274"/>
        </pc:sldMkLst>
      </pc:sldChg>
      <pc:sldChg chg="modSp">
        <pc:chgData name="Dennis Buchberger" userId="S::buchberger@ant.uni-bremen.de::cfe5e5e7-b999-4ed2-8d25-bbd6e3df32e4" providerId="AD" clId="Web-{257ACE1E-7002-77CD-AB50-1B899E8DE84A}" dt="2024-10-22T15:40:39.889" v="823" actId="20577"/>
        <pc:sldMkLst>
          <pc:docMk/>
          <pc:sldMk cId="3777869553" sldId="2147476886"/>
        </pc:sldMkLst>
      </pc:sldChg>
      <pc:sldChg chg="mod modShow">
        <pc:chgData name="Dennis Buchberger" userId="S::buchberger@ant.uni-bremen.de::cfe5e5e7-b999-4ed2-8d25-bbd6e3df32e4" providerId="AD" clId="Web-{257ACE1E-7002-77CD-AB50-1B899E8DE84A}" dt="2024-10-22T15:39:24.902" v="778"/>
        <pc:sldMkLst>
          <pc:docMk/>
          <pc:sldMk cId="2123224230" sldId="2147476905"/>
        </pc:sldMkLst>
      </pc:sldChg>
      <pc:sldChg chg="modSp new mod modClrScheme chgLayout">
        <pc:chgData name="Dennis Buchberger" userId="S::buchberger@ant.uni-bremen.de::cfe5e5e7-b999-4ed2-8d25-bbd6e3df32e4" providerId="AD" clId="Web-{257ACE1E-7002-77CD-AB50-1B899E8DE84A}" dt="2024-10-22T15:40:04.623" v="809" actId="20577"/>
        <pc:sldMkLst>
          <pc:docMk/>
          <pc:sldMk cId="2951542647" sldId="2147476911"/>
        </pc:sldMkLst>
      </pc:sldChg>
      <pc:sldChg chg="modSp new">
        <pc:chgData name="Dennis Buchberger" userId="S::buchberger@ant.uni-bremen.de::cfe5e5e7-b999-4ed2-8d25-bbd6e3df32e4" providerId="AD" clId="Web-{257ACE1E-7002-77CD-AB50-1B899E8DE84A}" dt="2024-10-22T15:34:16.032" v="518" actId="20577"/>
        <pc:sldMkLst>
          <pc:docMk/>
          <pc:sldMk cId="1553401679" sldId="2147476912"/>
        </pc:sldMkLst>
      </pc:sldChg>
      <pc:sldChg chg="add replId">
        <pc:chgData name="Dennis Buchberger" userId="S::buchberger@ant.uni-bremen.de::cfe5e5e7-b999-4ed2-8d25-bbd6e3df32e4" providerId="AD" clId="Web-{257ACE1E-7002-77CD-AB50-1B899E8DE84A}" dt="2024-10-22T15:34:33.064" v="519"/>
        <pc:sldMkLst>
          <pc:docMk/>
          <pc:sldMk cId="1654930487" sldId="2147476913"/>
        </pc:sldMkLst>
      </pc:sldChg>
      <pc:sldChg chg="modSp new">
        <pc:chgData name="Dennis Buchberger" userId="S::buchberger@ant.uni-bremen.de::cfe5e5e7-b999-4ed2-8d25-bbd6e3df32e4" providerId="AD" clId="Web-{257ACE1E-7002-77CD-AB50-1B899E8DE84A}" dt="2024-10-22T15:45:01.211" v="914" actId="20577"/>
        <pc:sldMkLst>
          <pc:docMk/>
          <pc:sldMk cId="2167108130" sldId="2147476914"/>
        </pc:sldMkLst>
      </pc:sldChg>
    </pc:docChg>
  </pc:docChgLst>
  <pc:docChgLst>
    <pc:chgData name="Breitbach, Markus" userId="S::m.breitbach_telekom.de#ext#@antunibremen.onmicrosoft.com::10c158ad-965e-4490-8b4a-81e4e8a03889" providerId="AD" clId="Web-{390858D2-0564-3A93-38D5-15E4F81E63BC}"/>
    <pc:docChg chg="addSld delSld modSld modSection">
      <pc:chgData name="Breitbach, Markus" userId="S::m.breitbach_telekom.de#ext#@antunibremen.onmicrosoft.com::10c158ad-965e-4490-8b4a-81e4e8a03889" providerId="AD" clId="Web-{390858D2-0564-3A93-38D5-15E4F81E63BC}" dt="2025-03-21T15:39:19.727" v="219" actId="20577"/>
      <pc:docMkLst>
        <pc:docMk/>
      </pc:docMkLst>
      <pc:sldChg chg="modSp">
        <pc:chgData name="Breitbach, Markus" userId="S::m.breitbach_telekom.de#ext#@antunibremen.onmicrosoft.com::10c158ad-965e-4490-8b4a-81e4e8a03889" providerId="AD" clId="Web-{390858D2-0564-3A93-38D5-15E4F81E63BC}" dt="2025-03-21T15:34:15.703" v="4" actId="20577"/>
        <pc:sldMkLst>
          <pc:docMk/>
          <pc:sldMk cId="746299310" sldId="2147477041"/>
        </pc:sldMkLst>
      </pc:sldChg>
      <pc:sldChg chg="modSp new del">
        <pc:chgData name="Breitbach, Markus" userId="S::m.breitbach_telekom.de#ext#@antunibremen.onmicrosoft.com::10c158ad-965e-4490-8b4a-81e4e8a03889" providerId="AD" clId="Web-{390858D2-0564-3A93-38D5-15E4F81E63BC}" dt="2025-03-21T15:36:37.285" v="33"/>
        <pc:sldMkLst>
          <pc:docMk/>
          <pc:sldMk cId="4169115759" sldId="2147477044"/>
        </pc:sldMkLst>
      </pc:sldChg>
      <pc:sldChg chg="new del">
        <pc:chgData name="Breitbach, Markus" userId="S::m.breitbach_telekom.de#ext#@antunibremen.onmicrosoft.com::10c158ad-965e-4490-8b4a-81e4e8a03889" providerId="AD" clId="Web-{390858D2-0564-3A93-38D5-15E4F81E63BC}" dt="2025-03-21T15:36:40.066" v="34"/>
        <pc:sldMkLst>
          <pc:docMk/>
          <pc:sldMk cId="238695964" sldId="2147477045"/>
        </pc:sldMkLst>
      </pc:sldChg>
      <pc:sldChg chg="modSp new">
        <pc:chgData name="Breitbach, Markus" userId="S::m.breitbach_telekom.de#ext#@antunibremen.onmicrosoft.com::10c158ad-965e-4490-8b4a-81e4e8a03889" providerId="AD" clId="Web-{390858D2-0564-3A93-38D5-15E4F81E63BC}" dt="2025-03-21T15:38:09.632" v="149" actId="20577"/>
        <pc:sldMkLst>
          <pc:docMk/>
          <pc:sldMk cId="1092017827" sldId="2147477046"/>
        </pc:sldMkLst>
        <pc:spChg chg="mod">
          <ac:chgData name="Breitbach, Markus" userId="S::m.breitbach_telekom.de#ext#@antunibremen.onmicrosoft.com::10c158ad-965e-4490-8b4a-81e4e8a03889" providerId="AD" clId="Web-{390858D2-0564-3A93-38D5-15E4F81E63BC}" dt="2025-03-21T15:36:53.004" v="54" actId="20577"/>
          <ac:spMkLst>
            <pc:docMk/>
            <pc:sldMk cId="1092017827" sldId="2147477046"/>
            <ac:spMk id="2" creationId="{03E1F264-59A0-F9BA-9798-4C40E2DD34F6}"/>
          </ac:spMkLst>
        </pc:spChg>
        <pc:spChg chg="mod">
          <ac:chgData name="Breitbach, Markus" userId="S::m.breitbach_telekom.de#ext#@antunibremen.onmicrosoft.com::10c158ad-965e-4490-8b4a-81e4e8a03889" providerId="AD" clId="Web-{390858D2-0564-3A93-38D5-15E4F81E63BC}" dt="2025-03-21T15:38:09.632" v="149" actId="20577"/>
          <ac:spMkLst>
            <pc:docMk/>
            <pc:sldMk cId="1092017827" sldId="2147477046"/>
            <ac:spMk id="3" creationId="{01DC8F7F-EF4A-4149-6294-169080EFC927}"/>
          </ac:spMkLst>
        </pc:spChg>
      </pc:sldChg>
      <pc:sldChg chg="modSp new">
        <pc:chgData name="Breitbach, Markus" userId="S::m.breitbach_telekom.de#ext#@antunibremen.onmicrosoft.com::10c158ad-965e-4490-8b4a-81e4e8a03889" providerId="AD" clId="Web-{390858D2-0564-3A93-38D5-15E4F81E63BC}" dt="2025-03-21T15:39:19.727" v="219" actId="20577"/>
        <pc:sldMkLst>
          <pc:docMk/>
          <pc:sldMk cId="2207442008" sldId="2147477047"/>
        </pc:sldMkLst>
      </pc:sldChg>
    </pc:docChg>
  </pc:docChgLst>
  <pc:docChgLst>
    <pc:chgData name="lamken@otaris.de" userId="S::lamken_otaris.de#ext#@antunibremen.onmicrosoft.com::d14b8e4f-16b5-4b07-afb3-49a903eac9ec" providerId="AD" clId="Web-{DD2CC48D-BD0E-DA91-6F68-9D326686CFDB}"/>
    <pc:docChg chg="addSld delSld modSld sldOrd modSection">
      <pc:chgData name="lamken@otaris.de" userId="S::lamken_otaris.de#ext#@antunibremen.onmicrosoft.com::d14b8e4f-16b5-4b07-afb3-49a903eac9ec" providerId="AD" clId="Web-{DD2CC48D-BD0E-DA91-6F68-9D326686CFDB}" dt="2024-10-21T08:43:56.270" v="315"/>
      <pc:docMkLst>
        <pc:docMk/>
      </pc:docMkLst>
      <pc:sldChg chg="add del">
        <pc:chgData name="lamken@otaris.de" userId="S::lamken_otaris.de#ext#@antunibremen.onmicrosoft.com::d14b8e4f-16b5-4b07-afb3-49a903eac9ec" providerId="AD" clId="Web-{DD2CC48D-BD0E-DA91-6F68-9D326686CFDB}" dt="2024-10-21T08:09:47.094" v="39"/>
        <pc:sldMkLst>
          <pc:docMk/>
          <pc:sldMk cId="3267827933" sldId="707"/>
        </pc:sldMkLst>
      </pc:sldChg>
      <pc:sldChg chg="add">
        <pc:chgData name="lamken@otaris.de" userId="S::lamken_otaris.de#ext#@antunibremen.onmicrosoft.com::d14b8e4f-16b5-4b07-afb3-49a903eac9ec" providerId="AD" clId="Web-{DD2CC48D-BD0E-DA91-6F68-9D326686CFDB}" dt="2024-10-21T08:04:37.694" v="11"/>
        <pc:sldMkLst>
          <pc:docMk/>
          <pc:sldMk cId="595394423" sldId="715"/>
        </pc:sldMkLst>
      </pc:sldChg>
      <pc:sldChg chg="add del">
        <pc:chgData name="lamken@otaris.de" userId="S::lamken_otaris.de#ext#@antunibremen.onmicrosoft.com::d14b8e4f-16b5-4b07-afb3-49a903eac9ec" providerId="AD" clId="Web-{DD2CC48D-BD0E-DA91-6F68-9D326686CFDB}" dt="2024-10-21T08:43:27.879" v="314"/>
        <pc:sldMkLst>
          <pc:docMk/>
          <pc:sldMk cId="4269602194" sldId="716"/>
        </pc:sldMkLst>
      </pc:sldChg>
      <pc:sldChg chg="addSp delSp modSp ord">
        <pc:chgData name="lamken@otaris.de" userId="S::lamken_otaris.de#ext#@antunibremen.onmicrosoft.com::d14b8e4f-16b5-4b07-afb3-49a903eac9ec" providerId="AD" clId="Web-{DD2CC48D-BD0E-DA91-6F68-9D326686CFDB}" dt="2024-10-21T08:33:16.155" v="258" actId="20577"/>
        <pc:sldMkLst>
          <pc:docMk/>
          <pc:sldMk cId="4186752563" sldId="2147472542"/>
        </pc:sldMkLst>
      </pc:sldChg>
      <pc:sldChg chg="addSp modSp ord">
        <pc:chgData name="lamken@otaris.de" userId="S::lamken_otaris.de#ext#@antunibremen.onmicrosoft.com::d14b8e4f-16b5-4b07-afb3-49a903eac9ec" providerId="AD" clId="Web-{DD2CC48D-BD0E-DA91-6F68-9D326686CFDB}" dt="2024-10-21T08:10:26.205" v="42" actId="20577"/>
        <pc:sldMkLst>
          <pc:docMk/>
          <pc:sldMk cId="1005895793" sldId="2147472563"/>
        </pc:sldMkLst>
      </pc:sldChg>
      <pc:sldChg chg="modSp">
        <pc:chgData name="lamken@otaris.de" userId="S::lamken_otaris.de#ext#@antunibremen.onmicrosoft.com::d14b8e4f-16b5-4b07-afb3-49a903eac9ec" providerId="AD" clId="Web-{DD2CC48D-BD0E-DA91-6F68-9D326686CFDB}" dt="2024-10-21T07:39:00.079" v="8" actId="20577"/>
        <pc:sldMkLst>
          <pc:docMk/>
          <pc:sldMk cId="3648413544" sldId="2147476861"/>
        </pc:sldMkLst>
      </pc:sldChg>
      <pc:sldChg chg="new del">
        <pc:chgData name="lamken@otaris.de" userId="S::lamken_otaris.de#ext#@antunibremen.onmicrosoft.com::d14b8e4f-16b5-4b07-afb3-49a903eac9ec" providerId="AD" clId="Web-{DD2CC48D-BD0E-DA91-6F68-9D326686CFDB}" dt="2024-10-21T08:05:51.118" v="13"/>
        <pc:sldMkLst>
          <pc:docMk/>
          <pc:sldMk cId="1418096077" sldId="2147476902"/>
        </pc:sldMkLst>
      </pc:sldChg>
      <pc:sldChg chg="addSp modSp add replId">
        <pc:chgData name="lamken@otaris.de" userId="S::lamken_otaris.de#ext#@antunibremen.onmicrosoft.com::d14b8e4f-16b5-4b07-afb3-49a903eac9ec" providerId="AD" clId="Web-{DD2CC48D-BD0E-DA91-6F68-9D326686CFDB}" dt="2024-10-21T08:29:58.399" v="254" actId="14100"/>
        <pc:sldMkLst>
          <pc:docMk/>
          <pc:sldMk cId="3715471365" sldId="2147476902"/>
        </pc:sldMkLst>
      </pc:sldChg>
      <pc:sldChg chg="addSp modSp new">
        <pc:chgData name="lamken@otaris.de" userId="S::lamken_otaris.de#ext#@antunibremen.onmicrosoft.com::d14b8e4f-16b5-4b07-afb3-49a903eac9ec" providerId="AD" clId="Web-{DD2CC48D-BD0E-DA91-6F68-9D326686CFDB}" dt="2024-10-21T08:43:19.800" v="313" actId="14100"/>
        <pc:sldMkLst>
          <pc:docMk/>
          <pc:sldMk cId="3083521975" sldId="2147476903"/>
        </pc:sldMkLst>
      </pc:sldChg>
      <pc:sldChg chg="add replId">
        <pc:chgData name="lamken@otaris.de" userId="S::lamken_otaris.de#ext#@antunibremen.onmicrosoft.com::d14b8e4f-16b5-4b07-afb3-49a903eac9ec" providerId="AD" clId="Web-{DD2CC48D-BD0E-DA91-6F68-9D326686CFDB}" dt="2024-10-21T08:43:56.270" v="315"/>
        <pc:sldMkLst>
          <pc:docMk/>
          <pc:sldMk cId="1985545827" sldId="2147476904"/>
        </pc:sldMkLst>
      </pc:sldChg>
    </pc:docChg>
  </pc:docChgLst>
  <pc:docChgLst>
    <pc:chgData name="lamken@otaris.de" userId="S::lamken_otaris.de#ext#@antunibremen.onmicrosoft.com::d14b8e4f-16b5-4b07-afb3-49a903eac9ec" providerId="AD" clId="Web-{26024B8F-80EC-CF37-FCE2-F1D12F44D015}"/>
    <pc:docChg chg="delSld modSld sldOrd modSection">
      <pc:chgData name="lamken@otaris.de" userId="S::lamken_otaris.de#ext#@antunibremen.onmicrosoft.com::d14b8e4f-16b5-4b07-afb3-49a903eac9ec" providerId="AD" clId="Web-{26024B8F-80EC-CF37-FCE2-F1D12F44D015}" dt="2024-10-21T09:17:44.140" v="64"/>
      <pc:docMkLst>
        <pc:docMk/>
      </pc:docMkLst>
      <pc:sldChg chg="del ord">
        <pc:chgData name="lamken@otaris.de" userId="S::lamken_otaris.de#ext#@antunibremen.onmicrosoft.com::d14b8e4f-16b5-4b07-afb3-49a903eac9ec" providerId="AD" clId="Web-{26024B8F-80EC-CF37-FCE2-F1D12F44D015}" dt="2024-10-21T09:09:00.626" v="62"/>
        <pc:sldMkLst>
          <pc:docMk/>
          <pc:sldMk cId="595394423" sldId="715"/>
        </pc:sldMkLst>
      </pc:sldChg>
      <pc:sldChg chg="addSp modSp">
        <pc:chgData name="lamken@otaris.de" userId="S::lamken_otaris.de#ext#@antunibremen.onmicrosoft.com::d14b8e4f-16b5-4b07-afb3-49a903eac9ec" providerId="AD" clId="Web-{26024B8F-80EC-CF37-FCE2-F1D12F44D015}" dt="2024-10-21T09:17:44.140" v="64"/>
        <pc:sldMkLst>
          <pc:docMk/>
          <pc:sldMk cId="4186752563" sldId="2147472542"/>
        </pc:sldMkLst>
      </pc:sldChg>
      <pc:sldChg chg="ord">
        <pc:chgData name="lamken@otaris.de" userId="S::lamken_otaris.de#ext#@antunibremen.onmicrosoft.com::d14b8e4f-16b5-4b07-afb3-49a903eac9ec" providerId="AD" clId="Web-{26024B8F-80EC-CF37-FCE2-F1D12F44D015}" dt="2024-10-21T09:09:22.596" v="63"/>
        <pc:sldMkLst>
          <pc:docMk/>
          <pc:sldMk cId="3715471365" sldId="2147476902"/>
        </pc:sldMkLst>
      </pc:sldChg>
      <pc:sldChg chg="modSp">
        <pc:chgData name="lamken@otaris.de" userId="S::lamken_otaris.de#ext#@antunibremen.onmicrosoft.com::d14b8e4f-16b5-4b07-afb3-49a903eac9ec" providerId="AD" clId="Web-{26024B8F-80EC-CF37-FCE2-F1D12F44D015}" dt="2024-10-21T09:08:45.892" v="61" actId="20577"/>
        <pc:sldMkLst>
          <pc:docMk/>
          <pc:sldMk cId="1985545827" sldId="2147476904"/>
        </pc:sldMkLst>
      </pc:sldChg>
    </pc:docChg>
  </pc:docChgLst>
  <pc:docChgLst>
    <pc:chgData name="jan.buchholz@imst.de" userId="S::jan.buchholz_imst.de#ext#@antunibremen.onmicrosoft.com::32a6142b-abe6-465a-b35e-cd845930b28f" providerId="AD" clId="Web-{6FD00E96-FD0D-0312-E07E-2608F39F08BC}"/>
    <pc:docChg chg="addSld modSld sldOrd modSection">
      <pc:chgData name="jan.buchholz@imst.de" userId="S::jan.buchholz_imst.de#ext#@antunibremen.onmicrosoft.com::32a6142b-abe6-465a-b35e-cd845930b28f" providerId="AD" clId="Web-{6FD00E96-FD0D-0312-E07E-2608F39F08BC}" dt="2025-02-28T10:53:55.436" v="608" actId="1076"/>
      <pc:docMkLst>
        <pc:docMk/>
      </pc:docMkLst>
      <pc:sldChg chg="modSp">
        <pc:chgData name="jan.buchholz@imst.de" userId="S::jan.buchholz_imst.de#ext#@antunibremen.onmicrosoft.com::32a6142b-abe6-465a-b35e-cd845930b28f" providerId="AD" clId="Web-{6FD00E96-FD0D-0312-E07E-2608F39F08BC}" dt="2025-02-28T10:51:14.978" v="595" actId="1076"/>
        <pc:sldMkLst>
          <pc:docMk/>
          <pc:sldMk cId="3366035886" sldId="2147476927"/>
        </pc:sldMkLst>
      </pc:sldChg>
      <pc:sldChg chg="modSp">
        <pc:chgData name="jan.buchholz@imst.de" userId="S::jan.buchholz_imst.de#ext#@antunibremen.onmicrosoft.com::32a6142b-abe6-465a-b35e-cd845930b28f" providerId="AD" clId="Web-{6FD00E96-FD0D-0312-E07E-2608F39F08BC}" dt="2025-02-28T10:37:40.769" v="278"/>
        <pc:sldMkLst>
          <pc:docMk/>
          <pc:sldMk cId="1139371620" sldId="2147476935"/>
        </pc:sldMkLst>
      </pc:sldChg>
      <pc:sldChg chg="addSp delSp modSp add ord replId">
        <pc:chgData name="jan.buchholz@imst.de" userId="S::jan.buchholz_imst.de#ext#@antunibremen.onmicrosoft.com::32a6142b-abe6-465a-b35e-cd845930b28f" providerId="AD" clId="Web-{6FD00E96-FD0D-0312-E07E-2608F39F08BC}" dt="2025-02-28T10:53:00.981" v="603" actId="1076"/>
        <pc:sldMkLst>
          <pc:docMk/>
          <pc:sldMk cId="3112257751" sldId="2147476974"/>
        </pc:sldMkLst>
      </pc:sldChg>
      <pc:sldChg chg="addSp delSp modSp add replId">
        <pc:chgData name="jan.buchholz@imst.de" userId="S::jan.buchholz_imst.de#ext#@antunibremen.onmicrosoft.com::32a6142b-abe6-465a-b35e-cd845930b28f" providerId="AD" clId="Web-{6FD00E96-FD0D-0312-E07E-2608F39F08BC}" dt="2025-02-28T10:53:55.436" v="608" actId="1076"/>
        <pc:sldMkLst>
          <pc:docMk/>
          <pc:sldMk cId="3188796602" sldId="2147476975"/>
        </pc:sldMkLst>
      </pc:sldChg>
    </pc:docChg>
  </pc:docChgLst>
  <pc:docChgLst>
    <pc:chgData name="timon.petermann@telematik-zentrum.de" userId="S::timon.petermann_telematik-zentrum.de#ext#@antunibremen.onmicrosoft.com::09e0c723-61db-4925-a819-cd79f1389da8" providerId="AD" clId="Web-{A19218EC-3402-D04F-014F-7B833E77A70E}"/>
    <pc:docChg chg="addSld modSld sldOrd modSection">
      <pc:chgData name="timon.petermann@telematik-zentrum.de" userId="S::timon.petermann_telematik-zentrum.de#ext#@antunibremen.onmicrosoft.com::09e0c723-61db-4925-a819-cd79f1389da8" providerId="AD" clId="Web-{A19218EC-3402-D04F-014F-7B833E77A70E}" dt="2025-03-03T08:43:29.513" v="416"/>
      <pc:docMkLst>
        <pc:docMk/>
      </pc:docMkLst>
      <pc:sldChg chg="modSp add replId">
        <pc:chgData name="timon.petermann@telematik-zentrum.de" userId="S::timon.petermann_telematik-zentrum.de#ext#@antunibremen.onmicrosoft.com::09e0c723-61db-4925-a819-cd79f1389da8" providerId="AD" clId="Web-{A19218EC-3402-D04F-014F-7B833E77A70E}" dt="2025-03-03T07:46:36.368" v="222"/>
        <pc:sldMkLst>
          <pc:docMk/>
          <pc:sldMk cId="249829350" sldId="2147476980"/>
        </pc:sldMkLst>
      </pc:sldChg>
      <pc:sldChg chg="addSp delSp modSp add ord replId">
        <pc:chgData name="timon.petermann@telematik-zentrum.de" userId="S::timon.petermann_telematik-zentrum.de#ext#@antunibremen.onmicrosoft.com::09e0c723-61db-4925-a819-cd79f1389da8" providerId="AD" clId="Web-{A19218EC-3402-D04F-014F-7B833E77A70E}" dt="2025-03-03T08:43:28.091" v="407"/>
        <pc:sldMkLst>
          <pc:docMk/>
          <pc:sldMk cId="2809023513" sldId="2147476981"/>
        </pc:sldMkLst>
      </pc:sldChg>
      <pc:sldChg chg="addSp delSp modSp add replId">
        <pc:chgData name="timon.petermann@telematik-zentrum.de" userId="S::timon.petermann_telematik-zentrum.de#ext#@antunibremen.onmicrosoft.com::09e0c723-61db-4925-a819-cd79f1389da8" providerId="AD" clId="Web-{A19218EC-3402-D04F-014F-7B833E77A70E}" dt="2025-03-03T08:43:28.685" v="415" actId="20577"/>
        <pc:sldMkLst>
          <pc:docMk/>
          <pc:sldMk cId="2328013493" sldId="2147476984"/>
        </pc:sldMkLst>
      </pc:sldChg>
      <pc:sldChg chg="add replId">
        <pc:chgData name="timon.petermann@telematik-zentrum.de" userId="S::timon.petermann_telematik-zentrum.de#ext#@antunibremen.onmicrosoft.com::09e0c723-61db-4925-a819-cd79f1389da8" providerId="AD" clId="Web-{A19218EC-3402-D04F-014F-7B833E77A70E}" dt="2025-03-03T08:43:29.513" v="416"/>
        <pc:sldMkLst>
          <pc:docMk/>
          <pc:sldMk cId="212962849" sldId="2147476985"/>
        </pc:sldMkLst>
      </pc:sldChg>
    </pc:docChg>
  </pc:docChgLst>
  <pc:docChgLst>
    <pc:chgData name="Dirk Wübben" userId="a27602df-5b54-480c-866c-64260ceb4949" providerId="ADAL" clId="{9262B93B-E7B7-4397-8C55-6A6C1A25040E}"/>
    <pc:docChg chg="undo custSel addSld modSld modSection">
      <pc:chgData name="Dirk Wübben" userId="a27602df-5b54-480c-866c-64260ceb4949" providerId="ADAL" clId="{9262B93B-E7B7-4397-8C55-6A6C1A25040E}" dt="2023-04-28T04:30:37.325" v="130" actId="9405"/>
      <pc:docMkLst>
        <pc:docMk/>
      </pc:docMkLst>
      <pc:sldChg chg="modSp mod">
        <pc:chgData name="Dirk Wübben" userId="a27602df-5b54-480c-866c-64260ceb4949" providerId="ADAL" clId="{9262B93B-E7B7-4397-8C55-6A6C1A25040E}" dt="2023-04-27T14:20:49.118" v="53" actId="15"/>
        <pc:sldMkLst>
          <pc:docMk/>
          <pc:sldMk cId="2277072009" sldId="409"/>
        </pc:sldMkLst>
      </pc:sldChg>
      <pc:sldChg chg="modSp mod">
        <pc:chgData name="Dirk Wübben" userId="a27602df-5b54-480c-866c-64260ceb4949" providerId="ADAL" clId="{9262B93B-E7B7-4397-8C55-6A6C1A25040E}" dt="2023-04-27T14:21:49.215" v="57" actId="20577"/>
        <pc:sldMkLst>
          <pc:docMk/>
          <pc:sldMk cId="737727567" sldId="2147472505"/>
        </pc:sldMkLst>
      </pc:sldChg>
      <pc:sldChg chg="addSp delSp modSp new mod">
        <pc:chgData name="Dirk Wübben" userId="a27602df-5b54-480c-866c-64260ceb4949" providerId="ADAL" clId="{9262B93B-E7B7-4397-8C55-6A6C1A25040E}" dt="2023-04-28T04:30:37.325" v="130" actId="9405"/>
        <pc:sldMkLst>
          <pc:docMk/>
          <pc:sldMk cId="1503147854" sldId="2147472508"/>
        </pc:sldMkLst>
      </pc:sldChg>
    </pc:docChg>
  </pc:docChgLst>
  <pc:docChgLst>
    <pc:chgData name="daurembekova@eit.uni-kl.de" userId="S::daurembekova_eit.uni-kl.de#ext#@antunibremen.onmicrosoft.com::1550135a-cb22-4283-bb7f-d226a501e7e9" providerId="AD" clId="Web-{CCD32BBC-53F7-B209-3C32-14B37ABF68AC}"/>
    <pc:docChg chg="modSld">
      <pc:chgData name="daurembekova@eit.uni-kl.de" userId="S::daurembekova_eit.uni-kl.de#ext#@antunibremen.onmicrosoft.com::1550135a-cb22-4283-bb7f-d226a501e7e9" providerId="AD" clId="Web-{CCD32BBC-53F7-B209-3C32-14B37ABF68AC}" dt="2025-02-26T14:47:20.978" v="39" actId="20577"/>
      <pc:docMkLst>
        <pc:docMk/>
      </pc:docMkLst>
      <pc:sldChg chg="modSp">
        <pc:chgData name="daurembekova@eit.uni-kl.de" userId="S::daurembekova_eit.uni-kl.de#ext#@antunibremen.onmicrosoft.com::1550135a-cb22-4283-bb7f-d226a501e7e9" providerId="AD" clId="Web-{CCD32BBC-53F7-B209-3C32-14B37ABF68AC}" dt="2025-02-26T14:47:20.978" v="39" actId="20577"/>
        <pc:sldMkLst>
          <pc:docMk/>
          <pc:sldMk cId="2512753512" sldId="2147476958"/>
        </pc:sldMkLst>
      </pc:sldChg>
    </pc:docChg>
  </pc:docChgLst>
  <pc:docChgLst>
    <pc:chgData name="Breitbach, Markus" userId="S::m.breitbach_telekom.de#ext#@antunibremen.onmicrosoft.com::10c158ad-965e-4490-8b4a-81e4e8a03889" providerId="AD" clId="Web-{F93CDE8C-42B7-ED19-0A1C-FD63C0B0DC6C}"/>
    <pc:docChg chg="addSld modSld sldOrd modSection">
      <pc:chgData name="Breitbach, Markus" userId="S::m.breitbach_telekom.de#ext#@antunibremen.onmicrosoft.com::10c158ad-965e-4490-8b4a-81e4e8a03889" providerId="AD" clId="Web-{F93CDE8C-42B7-ED19-0A1C-FD63C0B0DC6C}" dt="2025-03-23T18:24:34.362" v="311"/>
      <pc:docMkLst>
        <pc:docMk/>
      </pc:docMkLst>
      <pc:sldChg chg="addSp modSp modNotes">
        <pc:chgData name="Breitbach, Markus" userId="S::m.breitbach_telekom.de#ext#@antunibremen.onmicrosoft.com::10c158ad-965e-4490-8b4a-81e4e8a03889" providerId="AD" clId="Web-{F93CDE8C-42B7-ED19-0A1C-FD63C0B0DC6C}" dt="2025-03-23T17:26:25.527" v="191"/>
        <pc:sldMkLst>
          <pc:docMk/>
          <pc:sldMk cId="3146538416" sldId="2147477040"/>
        </pc:sldMkLst>
        <pc:picChg chg="mod">
          <ac:chgData name="Breitbach, Markus" userId="S::m.breitbach_telekom.de#ext#@antunibremen.onmicrosoft.com::10c158ad-965e-4490-8b4a-81e4e8a03889" providerId="AD" clId="Web-{F93CDE8C-42B7-ED19-0A1C-FD63C0B0DC6C}" dt="2025-03-23T17:25:59.166" v="187" actId="1076"/>
          <ac:picMkLst>
            <pc:docMk/>
            <pc:sldMk cId="3146538416" sldId="2147477040"/>
            <ac:picMk id="12" creationId="{CF118A6A-7991-0821-841B-818BE1678538}"/>
          </ac:picMkLst>
        </pc:picChg>
        <pc:picChg chg="mod">
          <ac:chgData name="Breitbach, Markus" userId="S::m.breitbach_telekom.de#ext#@antunibremen.onmicrosoft.com::10c158ad-965e-4490-8b4a-81e4e8a03889" providerId="AD" clId="Web-{F93CDE8C-42B7-ED19-0A1C-FD63C0B0DC6C}" dt="2025-03-23T17:25:37.524" v="184" actId="1076"/>
          <ac:picMkLst>
            <pc:docMk/>
            <pc:sldMk cId="3146538416" sldId="2147477040"/>
            <ac:picMk id="15" creationId="{BF0DC8F0-88D3-6BA5-C2A8-B2065D2697AD}"/>
          </ac:picMkLst>
        </pc:picChg>
      </pc:sldChg>
      <pc:sldChg chg="addSp delSp modSp modNotes">
        <pc:chgData name="Breitbach, Markus" userId="S::m.breitbach_telekom.de#ext#@antunibremen.onmicrosoft.com::10c158ad-965e-4490-8b4a-81e4e8a03889" providerId="AD" clId="Web-{F93CDE8C-42B7-ED19-0A1C-FD63C0B0DC6C}" dt="2025-03-23T18:12:51.930" v="282"/>
        <pc:sldMkLst>
          <pc:docMk/>
          <pc:sldMk cId="746299310" sldId="2147477041"/>
        </pc:sldMkLst>
      </pc:sldChg>
      <pc:sldChg chg="addSp delSp modSp modNotes">
        <pc:chgData name="Breitbach, Markus" userId="S::m.breitbach_telekom.de#ext#@antunibremen.onmicrosoft.com::10c158ad-965e-4490-8b4a-81e4e8a03889" providerId="AD" clId="Web-{F93CDE8C-42B7-ED19-0A1C-FD63C0B0DC6C}" dt="2025-03-23T17:22:23.777" v="162" actId="1076"/>
        <pc:sldMkLst>
          <pc:docMk/>
          <pc:sldMk cId="1092017827" sldId="2147477046"/>
        </pc:sldMkLst>
        <pc:spChg chg="mod">
          <ac:chgData name="Breitbach, Markus" userId="S::m.breitbach_telekom.de#ext#@antunibremen.onmicrosoft.com::10c158ad-965e-4490-8b4a-81e4e8a03889" providerId="AD" clId="Web-{F93CDE8C-42B7-ED19-0A1C-FD63C0B0DC6C}" dt="2025-03-23T17:12:30.488" v="142" actId="1076"/>
          <ac:spMkLst>
            <pc:docMk/>
            <pc:sldMk cId="1092017827" sldId="2147477046"/>
            <ac:spMk id="3" creationId="{01DC8F7F-EF4A-4149-6294-169080EFC927}"/>
          </ac:spMkLst>
        </pc:spChg>
      </pc:sldChg>
      <pc:sldChg chg="addSp delSp modSp modNotes">
        <pc:chgData name="Breitbach, Markus" userId="S::m.breitbach_telekom.de#ext#@antunibremen.onmicrosoft.com::10c158ad-965e-4490-8b4a-81e4e8a03889" providerId="AD" clId="Web-{F93CDE8C-42B7-ED19-0A1C-FD63C0B0DC6C}" dt="2025-03-23T17:22:49.232" v="164" actId="1076"/>
        <pc:sldMkLst>
          <pc:docMk/>
          <pc:sldMk cId="2207442008" sldId="2147477047"/>
        </pc:sldMkLst>
      </pc:sldChg>
      <pc:sldChg chg="addSp delSp modSp add ord replId modNotes">
        <pc:chgData name="Breitbach, Markus" userId="S::m.breitbach_telekom.de#ext#@antunibremen.onmicrosoft.com::10c158ad-965e-4490-8b4a-81e4e8a03889" providerId="AD" clId="Web-{F93CDE8C-42B7-ED19-0A1C-FD63C0B0DC6C}" dt="2025-03-23T18:24:34.362" v="311"/>
        <pc:sldMkLst>
          <pc:docMk/>
          <pc:sldMk cId="761125098" sldId="2147477048"/>
        </pc:sldMkLst>
      </pc:sldChg>
    </pc:docChg>
  </pc:docChgLst>
  <pc:docChgLst>
    <pc:chgData name="Dennis Buchberger" userId="S::buchberger@ant.uni-bremen.de::cfe5e5e7-b999-4ed2-8d25-bbd6e3df32e4" providerId="AD" clId="Web-{2FCD7156-63E4-E322-8AE1-1E43787D0393}"/>
    <pc:docChg chg="addSld delSld modSld sldOrd modSection">
      <pc:chgData name="Dennis Buchberger" userId="S::buchberger@ant.uni-bremen.de::cfe5e5e7-b999-4ed2-8d25-bbd6e3df32e4" providerId="AD" clId="Web-{2FCD7156-63E4-E322-8AE1-1E43787D0393}" dt="2024-10-17T15:48:29.222" v="453"/>
      <pc:docMkLst>
        <pc:docMk/>
      </pc:docMkLst>
      <pc:sldChg chg="add">
        <pc:chgData name="Dennis Buchberger" userId="S::buchberger@ant.uni-bremen.de::cfe5e5e7-b999-4ed2-8d25-bbd6e3df32e4" providerId="AD" clId="Web-{2FCD7156-63E4-E322-8AE1-1E43787D0393}" dt="2024-10-17T15:36:06.884" v="435"/>
        <pc:sldMkLst>
          <pc:docMk/>
          <pc:sldMk cId="1349728837" sldId="267"/>
        </pc:sldMkLst>
      </pc:sldChg>
      <pc:sldChg chg="add">
        <pc:chgData name="Dennis Buchberger" userId="S::buchberger@ant.uni-bremen.de::cfe5e5e7-b999-4ed2-8d25-bbd6e3df32e4" providerId="AD" clId="Web-{2FCD7156-63E4-E322-8AE1-1E43787D0393}" dt="2024-10-17T15:36:06.900" v="436"/>
        <pc:sldMkLst>
          <pc:docMk/>
          <pc:sldMk cId="3400339010" sldId="269"/>
        </pc:sldMkLst>
      </pc:sldChg>
      <pc:sldChg chg="add ord">
        <pc:chgData name="Dennis Buchberger" userId="S::buchberger@ant.uni-bremen.de::cfe5e5e7-b999-4ed2-8d25-bbd6e3df32e4" providerId="AD" clId="Web-{2FCD7156-63E4-E322-8AE1-1E43787D0393}" dt="2024-10-17T15:31:30.313" v="381"/>
        <pc:sldMkLst>
          <pc:docMk/>
          <pc:sldMk cId="1704986583" sldId="270"/>
        </pc:sldMkLst>
      </pc:sldChg>
      <pc:sldChg chg="add ord">
        <pc:chgData name="Dennis Buchberger" userId="S::buchberger@ant.uni-bremen.de::cfe5e5e7-b999-4ed2-8d25-bbd6e3df32e4" providerId="AD" clId="Web-{2FCD7156-63E4-E322-8AE1-1E43787D0393}" dt="2024-10-17T15:48:29.222" v="453"/>
        <pc:sldMkLst>
          <pc:docMk/>
          <pc:sldMk cId="2237517558" sldId="271"/>
        </pc:sldMkLst>
      </pc:sldChg>
      <pc:sldChg chg="add">
        <pc:chgData name="Dennis Buchberger" userId="S::buchberger@ant.uni-bremen.de::cfe5e5e7-b999-4ed2-8d25-bbd6e3df32e4" providerId="AD" clId="Web-{2FCD7156-63E4-E322-8AE1-1E43787D0393}" dt="2024-10-17T15:36:06.869" v="434"/>
        <pc:sldMkLst>
          <pc:docMk/>
          <pc:sldMk cId="2748807046" sldId="274"/>
        </pc:sldMkLst>
      </pc:sldChg>
      <pc:sldChg chg="addSp modSp ord">
        <pc:chgData name="Dennis Buchberger" userId="S::buchberger@ant.uni-bremen.de::cfe5e5e7-b999-4ed2-8d25-bbd6e3df32e4" providerId="AD" clId="Web-{2FCD7156-63E4-E322-8AE1-1E43787D0393}" dt="2024-10-17T15:33:13.597" v="384"/>
        <pc:sldMkLst>
          <pc:docMk/>
          <pc:sldMk cId="95809100" sldId="2147472554"/>
        </pc:sldMkLst>
      </pc:sldChg>
      <pc:sldChg chg="del">
        <pc:chgData name="Dennis Buchberger" userId="S::buchberger@ant.uni-bremen.de::cfe5e5e7-b999-4ed2-8d25-bbd6e3df32e4" providerId="AD" clId="Web-{2FCD7156-63E4-E322-8AE1-1E43787D0393}" dt="2024-10-17T15:13:13.042" v="257"/>
        <pc:sldMkLst>
          <pc:docMk/>
          <pc:sldMk cId="2885984354" sldId="2147472558"/>
        </pc:sldMkLst>
      </pc:sldChg>
      <pc:sldChg chg="addSp delSp modSp">
        <pc:chgData name="Dennis Buchberger" userId="S::buchberger@ant.uni-bremen.de::cfe5e5e7-b999-4ed2-8d25-bbd6e3df32e4" providerId="AD" clId="Web-{2FCD7156-63E4-E322-8AE1-1E43787D0393}" dt="2024-10-17T15:46:52.359" v="447" actId="1076"/>
        <pc:sldMkLst>
          <pc:docMk/>
          <pc:sldMk cId="1962824018" sldId="2147472559"/>
        </pc:sldMkLst>
      </pc:sldChg>
      <pc:sldChg chg="addSp delSp modSp ord">
        <pc:chgData name="Dennis Buchberger" userId="S::buchberger@ant.uni-bremen.de::cfe5e5e7-b999-4ed2-8d25-bbd6e3df32e4" providerId="AD" clId="Web-{2FCD7156-63E4-E322-8AE1-1E43787D0393}" dt="2024-10-17T15:47:28.329" v="452" actId="1076"/>
        <pc:sldMkLst>
          <pc:docMk/>
          <pc:sldMk cId="2703493096" sldId="2147472560"/>
        </pc:sldMkLst>
      </pc:sldChg>
      <pc:sldChg chg="addSp delSp modSp new del">
        <pc:chgData name="Dennis Buchberger" userId="S::buchberger@ant.uni-bremen.de::cfe5e5e7-b999-4ed2-8d25-bbd6e3df32e4" providerId="AD" clId="Web-{2FCD7156-63E4-E322-8AE1-1E43787D0393}" dt="2024-10-17T15:35:31.914" v="432"/>
        <pc:sldMkLst>
          <pc:docMk/>
          <pc:sldMk cId="1290358801" sldId="2147476883"/>
        </pc:sldMkLst>
      </pc:sldChg>
      <pc:sldChg chg="modSp new ord">
        <pc:chgData name="Dennis Buchberger" userId="S::buchberger@ant.uni-bremen.de::cfe5e5e7-b999-4ed2-8d25-bbd6e3df32e4" providerId="AD" clId="Web-{2FCD7156-63E4-E322-8AE1-1E43787D0393}" dt="2024-10-17T15:19:26.508" v="379" actId="20577"/>
        <pc:sldMkLst>
          <pc:docMk/>
          <pc:sldMk cId="2008991537" sldId="2147476884"/>
        </pc:sldMkLst>
      </pc:sldChg>
      <pc:sldChg chg="addSp delSp modSp new">
        <pc:chgData name="Dennis Buchberger" userId="S::buchberger@ant.uni-bremen.de::cfe5e5e7-b999-4ed2-8d25-bbd6e3df32e4" providerId="AD" clId="Web-{2FCD7156-63E4-E322-8AE1-1E43787D0393}" dt="2024-10-17T15:19:07.851" v="338" actId="20577"/>
        <pc:sldMkLst>
          <pc:docMk/>
          <pc:sldMk cId="3705421110" sldId="2147476885"/>
        </pc:sldMkLst>
      </pc:sldChg>
      <pc:sldChg chg="addSp delSp modSp add">
        <pc:chgData name="Dennis Buchberger" userId="S::buchberger@ant.uni-bremen.de::cfe5e5e7-b999-4ed2-8d25-bbd6e3df32e4" providerId="AD" clId="Web-{2FCD7156-63E4-E322-8AE1-1E43787D0393}" dt="2024-10-17T15:35:37.383" v="433" actId="1076"/>
        <pc:sldMkLst>
          <pc:docMk/>
          <pc:sldMk cId="3777869553" sldId="2147476886"/>
        </pc:sldMkLst>
      </pc:sldChg>
    </pc:docChg>
  </pc:docChgLst>
  <pc:docChgLst>
    <pc:chgData name="ekoeck@eant.de" userId="S::ekoeck_eant.de#ext#@antunibremen.onmicrosoft.com::73e85445-0cf8-43ff-b8c9-b801f2176615" providerId="AD" clId="Web-{42B8B4D7-FFDD-8C89-9705-3BBEFFC9DE9F}"/>
    <pc:docChg chg="modSld">
      <pc:chgData name="ekoeck@eant.de" userId="S::ekoeck_eant.de#ext#@antunibremen.onmicrosoft.com::73e85445-0cf8-43ff-b8c9-b801f2176615" providerId="AD" clId="Web-{42B8B4D7-FFDD-8C89-9705-3BBEFFC9DE9F}" dt="2025-03-04T08:22:58.435" v="34" actId="20577"/>
      <pc:docMkLst>
        <pc:docMk/>
      </pc:docMkLst>
      <pc:sldChg chg="modSp">
        <pc:chgData name="ekoeck@eant.de" userId="S::ekoeck_eant.de#ext#@antunibremen.onmicrosoft.com::73e85445-0cf8-43ff-b8c9-b801f2176615" providerId="AD" clId="Web-{42B8B4D7-FFDD-8C89-9705-3BBEFFC9DE9F}" dt="2025-03-04T08:22:58.435" v="34" actId="20577"/>
        <pc:sldMkLst>
          <pc:docMk/>
          <pc:sldMk cId="488269668" sldId="2147476952"/>
        </pc:sldMkLst>
      </pc:sldChg>
    </pc:docChg>
  </pc:docChgLst>
  <pc:docChgLst>
    <pc:chgData name="Breitbach, Markus" userId="S::m.breitbach_telekom.de#ext#@antunibremen.onmicrosoft.com::10c158ad-965e-4490-8b4a-81e4e8a03889" providerId="AD" clId="Web-{98E0BFDE-7B9F-E04C-9B8B-6636FB3D094B}"/>
    <pc:docChg chg="addSld modSld sldOrd modSection">
      <pc:chgData name="Breitbach, Markus" userId="S::m.breitbach_telekom.de#ext#@antunibremen.onmicrosoft.com::10c158ad-965e-4490-8b4a-81e4e8a03889" providerId="AD" clId="Web-{98E0BFDE-7B9F-E04C-9B8B-6636FB3D094B}" dt="2025-03-25T09:31:07.574" v="34" actId="14100"/>
      <pc:docMkLst>
        <pc:docMk/>
      </pc:docMkLst>
      <pc:sldChg chg="mod modShow">
        <pc:chgData name="Breitbach, Markus" userId="S::m.breitbach_telekom.de#ext#@antunibremen.onmicrosoft.com::10c158ad-965e-4490-8b4a-81e4e8a03889" providerId="AD" clId="Web-{98E0BFDE-7B9F-E04C-9B8B-6636FB3D094B}" dt="2025-03-25T09:28:21.491" v="6"/>
        <pc:sldMkLst>
          <pc:docMk/>
          <pc:sldMk cId="2228159166" sldId="2147477036"/>
        </pc:sldMkLst>
      </pc:sldChg>
      <pc:sldChg chg="modSp">
        <pc:chgData name="Breitbach, Markus" userId="S::m.breitbach_telekom.de#ext#@antunibremen.onmicrosoft.com::10c158ad-965e-4490-8b4a-81e4e8a03889" providerId="AD" clId="Web-{98E0BFDE-7B9F-E04C-9B8B-6636FB3D094B}" dt="2025-03-25T07:41:53.075" v="2"/>
        <pc:sldMkLst>
          <pc:docMk/>
          <pc:sldMk cId="761125098" sldId="2147477048"/>
        </pc:sldMkLst>
      </pc:sldChg>
      <pc:sldChg chg="modSp">
        <pc:chgData name="Breitbach, Markus" userId="S::m.breitbach_telekom.de#ext#@antunibremen.onmicrosoft.com::10c158ad-965e-4490-8b4a-81e4e8a03889" providerId="AD" clId="Web-{98E0BFDE-7B9F-E04C-9B8B-6636FB3D094B}" dt="2025-03-25T07:41:09.714" v="0" actId="1076"/>
        <pc:sldMkLst>
          <pc:docMk/>
          <pc:sldMk cId="484452169" sldId="2147477049"/>
        </pc:sldMkLst>
      </pc:sldChg>
      <pc:sldChg chg="ord">
        <pc:chgData name="Breitbach, Markus" userId="S::m.breitbach_telekom.de#ext#@antunibremen.onmicrosoft.com::10c158ad-965e-4490-8b4a-81e4e8a03889" providerId="AD" clId="Web-{98E0BFDE-7B9F-E04C-9B8B-6636FB3D094B}" dt="2025-03-25T07:42:48.202" v="3"/>
        <pc:sldMkLst>
          <pc:docMk/>
          <pc:sldMk cId="3749321561" sldId="2147477054"/>
        </pc:sldMkLst>
      </pc:sldChg>
      <pc:sldChg chg="addSp delSp modSp add replId">
        <pc:chgData name="Breitbach, Markus" userId="S::m.breitbach_telekom.de#ext#@antunibremen.onmicrosoft.com::10c158ad-965e-4490-8b4a-81e4e8a03889" providerId="AD" clId="Web-{98E0BFDE-7B9F-E04C-9B8B-6636FB3D094B}" dt="2025-03-25T09:31:07.574" v="34" actId="14100"/>
        <pc:sldMkLst>
          <pc:docMk/>
          <pc:sldMk cId="2374344934" sldId="2147477060"/>
        </pc:sldMkLst>
        <pc:spChg chg="mod">
          <ac:chgData name="Breitbach, Markus" userId="S::m.breitbach_telekom.de#ext#@antunibremen.onmicrosoft.com::10c158ad-965e-4490-8b4a-81e4e8a03889" providerId="AD" clId="Web-{98E0BFDE-7B9F-E04C-9B8B-6636FB3D094B}" dt="2025-03-25T09:29:13.367" v="10" actId="20577"/>
          <ac:spMkLst>
            <pc:docMk/>
            <pc:sldMk cId="2374344934" sldId="2147477060"/>
            <ac:spMk id="7" creationId="{6F3506D2-B724-31F4-B4DF-7018A8759D3C}"/>
          </ac:spMkLst>
        </pc:spChg>
      </pc:sldChg>
      <pc:sldChg chg="add ord replId">
        <pc:chgData name="Breitbach, Markus" userId="S::m.breitbach_telekom.de#ext#@antunibremen.onmicrosoft.com::10c158ad-965e-4490-8b4a-81e4e8a03889" providerId="AD" clId="Web-{98E0BFDE-7B9F-E04C-9B8B-6636FB3D094B}" dt="2025-03-25T09:29:15.539" v="11"/>
        <pc:sldMkLst>
          <pc:docMk/>
          <pc:sldMk cId="1591686061" sldId="2147477061"/>
        </pc:sldMkLst>
      </pc:sldChg>
      <pc:sldChg chg="add mod replId modShow">
        <pc:chgData name="Breitbach, Markus" userId="S::m.breitbach_telekom.de#ext#@antunibremen.onmicrosoft.com::10c158ad-965e-4490-8b4a-81e4e8a03889" providerId="AD" clId="Web-{98E0BFDE-7B9F-E04C-9B8B-6636FB3D094B}" dt="2025-03-25T09:28:33.413" v="8"/>
        <pc:sldMkLst>
          <pc:docMk/>
          <pc:sldMk cId="1793038787" sldId="2147477062"/>
        </pc:sldMkLst>
      </pc:sldChg>
    </pc:docChg>
  </pc:docChgLst>
  <pc:docChgLst>
    <pc:chgData name="herbst@otaris.de" userId="S::herbst_otaris.de#ext#@antunibremen.onmicrosoft.com::cda1c2c2-ea13-4aa8-a0c6-7af0ed80aac7" providerId="AD" clId="Web-{A780F68E-E6AA-12EA-2370-1F881246BBD3}"/>
    <pc:docChg chg="addSld modSld modSection">
      <pc:chgData name="herbst@otaris.de" userId="S::herbst_otaris.de#ext#@antunibremen.onmicrosoft.com::cda1c2c2-ea13-4aa8-a0c6-7af0ed80aac7" providerId="AD" clId="Web-{A780F68E-E6AA-12EA-2370-1F881246BBD3}" dt="2025-03-03T09:31:17.166" v="146" actId="20577"/>
      <pc:docMkLst>
        <pc:docMk/>
      </pc:docMkLst>
      <pc:sldChg chg="add">
        <pc:chgData name="herbst@otaris.de" userId="S::herbst_otaris.de#ext#@antunibremen.onmicrosoft.com::cda1c2c2-ea13-4aa8-a0c6-7af0ed80aac7" providerId="AD" clId="Web-{A780F68E-E6AA-12EA-2370-1F881246BBD3}" dt="2025-03-03T09:28:13.646" v="37"/>
        <pc:sldMkLst>
          <pc:docMk/>
          <pc:sldMk cId="100331075" sldId="2147472569"/>
        </pc:sldMkLst>
      </pc:sldChg>
      <pc:sldChg chg="add">
        <pc:chgData name="herbst@otaris.de" userId="S::herbst_otaris.de#ext#@antunibremen.onmicrosoft.com::cda1c2c2-ea13-4aa8-a0c6-7af0ed80aac7" providerId="AD" clId="Web-{A780F68E-E6AA-12EA-2370-1F881246BBD3}" dt="2025-03-03T09:28:13.661" v="38"/>
        <pc:sldMkLst>
          <pc:docMk/>
          <pc:sldMk cId="3757828033" sldId="2147472570"/>
        </pc:sldMkLst>
      </pc:sldChg>
      <pc:sldChg chg="add">
        <pc:chgData name="herbst@otaris.de" userId="S::herbst_otaris.de#ext#@antunibremen.onmicrosoft.com::cda1c2c2-ea13-4aa8-a0c6-7af0ed80aac7" providerId="AD" clId="Web-{A780F68E-E6AA-12EA-2370-1F881246BBD3}" dt="2025-03-03T09:28:13.661" v="39"/>
        <pc:sldMkLst>
          <pc:docMk/>
          <pc:sldMk cId="3618206413" sldId="2147472571"/>
        </pc:sldMkLst>
      </pc:sldChg>
      <pc:sldChg chg="modSp add">
        <pc:chgData name="herbst@otaris.de" userId="S::herbst_otaris.de#ext#@antunibremen.onmicrosoft.com::cda1c2c2-ea13-4aa8-a0c6-7af0ed80aac7" providerId="AD" clId="Web-{A780F68E-E6AA-12EA-2370-1F881246BBD3}" dt="2025-03-03T09:31:17.166" v="146" actId="20577"/>
        <pc:sldMkLst>
          <pc:docMk/>
          <pc:sldMk cId="3877753360" sldId="2147472573"/>
        </pc:sldMkLst>
      </pc:sldChg>
      <pc:sldChg chg="add">
        <pc:chgData name="herbst@otaris.de" userId="S::herbst_otaris.de#ext#@antunibremen.onmicrosoft.com::cda1c2c2-ea13-4aa8-a0c6-7af0ed80aac7" providerId="AD" clId="Web-{A780F68E-E6AA-12EA-2370-1F881246BBD3}" dt="2025-03-03T09:28:13.630" v="36"/>
        <pc:sldMkLst>
          <pc:docMk/>
          <pc:sldMk cId="200456584" sldId="2147472574"/>
        </pc:sldMkLst>
      </pc:sldChg>
      <pc:sldChg chg="add">
        <pc:chgData name="herbst@otaris.de" userId="S::herbst_otaris.de#ext#@antunibremen.onmicrosoft.com::cda1c2c2-ea13-4aa8-a0c6-7af0ed80aac7" providerId="AD" clId="Web-{A780F68E-E6AA-12EA-2370-1F881246BBD3}" dt="2025-03-03T09:28:13.677" v="40"/>
        <pc:sldMkLst>
          <pc:docMk/>
          <pc:sldMk cId="557879103" sldId="2147472576"/>
        </pc:sldMkLst>
      </pc:sldChg>
      <pc:sldChg chg="modSp">
        <pc:chgData name="herbst@otaris.de" userId="S::herbst_otaris.de#ext#@antunibremen.onmicrosoft.com::cda1c2c2-ea13-4aa8-a0c6-7af0ed80aac7" providerId="AD" clId="Web-{A780F68E-E6AA-12EA-2370-1F881246BBD3}" dt="2025-03-03T08:40:41.606" v="34" actId="1076"/>
        <pc:sldMkLst>
          <pc:docMk/>
          <pc:sldMk cId="2543217205" sldId="2147472577"/>
        </pc:sldMkLst>
      </pc:sldChg>
      <pc:sldChg chg="addSp delSp modSp new">
        <pc:chgData name="herbst@otaris.de" userId="S::herbst_otaris.de#ext#@antunibremen.onmicrosoft.com::cda1c2c2-ea13-4aa8-a0c6-7af0ed80aac7" providerId="AD" clId="Web-{A780F68E-E6AA-12EA-2370-1F881246BBD3}" dt="2025-03-03T08:26:57.629" v="28" actId="14100"/>
        <pc:sldMkLst>
          <pc:docMk/>
          <pc:sldMk cId="904841449" sldId="2147476982"/>
        </pc:sldMkLst>
      </pc:sldChg>
      <pc:sldChg chg="addSp delSp modSp add replId">
        <pc:chgData name="herbst@otaris.de" userId="S::herbst_otaris.de#ext#@antunibremen.onmicrosoft.com::cda1c2c2-ea13-4aa8-a0c6-7af0ed80aac7" providerId="AD" clId="Web-{A780F68E-E6AA-12EA-2370-1F881246BBD3}" dt="2025-03-03T08:27:17.896" v="32" actId="1076"/>
        <pc:sldMkLst>
          <pc:docMk/>
          <pc:sldMk cId="1121141307" sldId="2147476983"/>
        </pc:sldMkLst>
      </pc:sldChg>
      <pc:sldChg chg="add">
        <pc:chgData name="herbst@otaris.de" userId="S::herbst_otaris.de#ext#@antunibremen.onmicrosoft.com::cda1c2c2-ea13-4aa8-a0c6-7af0ed80aac7" providerId="AD" clId="Web-{A780F68E-E6AA-12EA-2370-1F881246BBD3}" dt="2025-03-03T09:28:13.880" v="41"/>
        <pc:sldMkLst>
          <pc:docMk/>
          <pc:sldMk cId="3940210874" sldId="2147476986"/>
        </pc:sldMkLst>
      </pc:sldChg>
    </pc:docChg>
  </pc:docChgLst>
  <pc:docChgLst>
    <pc:chgData name="Dennis Buchberger" userId="S::buchberger@ant.uni-bremen.de::cfe5e5e7-b999-4ed2-8d25-bbd6e3df32e4" providerId="AD" clId="Web-{64E38D3C-96EF-8E8D-A5CC-4C808B4C28E5}"/>
    <pc:docChg chg="modSld">
      <pc:chgData name="Dennis Buchberger" userId="S::buchberger@ant.uni-bremen.de::cfe5e5e7-b999-4ed2-8d25-bbd6e3df32e4" providerId="AD" clId="Web-{64E38D3C-96EF-8E8D-A5CC-4C808B4C28E5}" dt="2025-02-26T13:29:11.798" v="67" actId="20577"/>
      <pc:docMkLst>
        <pc:docMk/>
      </pc:docMkLst>
      <pc:sldChg chg="modSp">
        <pc:chgData name="Dennis Buchberger" userId="S::buchberger@ant.uni-bremen.de::cfe5e5e7-b999-4ed2-8d25-bbd6e3df32e4" providerId="AD" clId="Web-{64E38D3C-96EF-8E8D-A5CC-4C808B4C28E5}" dt="2025-02-26T13:29:08.204" v="63" actId="20577"/>
        <pc:sldMkLst>
          <pc:docMk/>
          <pc:sldMk cId="3801953932" sldId="2147476937"/>
        </pc:sldMkLst>
      </pc:sldChg>
      <pc:sldChg chg="modSp">
        <pc:chgData name="Dennis Buchberger" userId="S::buchberger@ant.uni-bremen.de::cfe5e5e7-b999-4ed2-8d25-bbd6e3df32e4" providerId="AD" clId="Web-{64E38D3C-96EF-8E8D-A5CC-4C808B4C28E5}" dt="2025-02-26T13:29:10.111" v="65" actId="20577"/>
        <pc:sldMkLst>
          <pc:docMk/>
          <pc:sldMk cId="1077208484" sldId="2147476942"/>
        </pc:sldMkLst>
      </pc:sldChg>
      <pc:sldChg chg="addSp modSp">
        <pc:chgData name="Dennis Buchberger" userId="S::buchberger@ant.uni-bremen.de::cfe5e5e7-b999-4ed2-8d25-bbd6e3df32e4" providerId="AD" clId="Web-{64E38D3C-96EF-8E8D-A5CC-4C808B4C28E5}" dt="2025-02-26T13:29:11.798" v="67" actId="20577"/>
        <pc:sldMkLst>
          <pc:docMk/>
          <pc:sldMk cId="1527545129" sldId="2147476945"/>
        </pc:sldMkLst>
      </pc:sldChg>
      <pc:sldChg chg="modSp">
        <pc:chgData name="Dennis Buchberger" userId="S::buchberger@ant.uni-bremen.de::cfe5e5e7-b999-4ed2-8d25-bbd6e3df32e4" providerId="AD" clId="Web-{64E38D3C-96EF-8E8D-A5CC-4C808B4C28E5}" dt="2025-02-26T13:29:05.767" v="61" actId="20577"/>
        <pc:sldMkLst>
          <pc:docMk/>
          <pc:sldMk cId="781642020" sldId="2147476946"/>
        </pc:sldMkLst>
      </pc:sldChg>
    </pc:docChg>
  </pc:docChgLst>
  <pc:docChgLst>
    <pc:chgData name="ekoeck@eant.de" userId="S::ekoeck_eant.de#ext#@antunibremen.onmicrosoft.com::73e85445-0cf8-43ff-b8c9-b801f2176615" providerId="AD" clId="Web-{0A988A40-6273-FB4C-2F88-C37046EB816E}"/>
    <pc:docChg chg="modSld">
      <pc:chgData name="ekoeck@eant.de" userId="S::ekoeck_eant.de#ext#@antunibremen.onmicrosoft.com::73e85445-0cf8-43ff-b8c9-b801f2176615" providerId="AD" clId="Web-{0A988A40-6273-FB4C-2F88-C37046EB816E}" dt="2024-03-05T09:35:27.338" v="25" actId="20577"/>
      <pc:docMkLst>
        <pc:docMk/>
      </pc:docMkLst>
      <pc:sldChg chg="modSp">
        <pc:chgData name="ekoeck@eant.de" userId="S::ekoeck_eant.de#ext#@antunibremen.onmicrosoft.com::73e85445-0cf8-43ff-b8c9-b801f2176615" providerId="AD" clId="Web-{0A988A40-6273-FB4C-2F88-C37046EB816E}" dt="2024-03-05T09:35:27.338" v="25" actId="20577"/>
        <pc:sldMkLst>
          <pc:docMk/>
          <pc:sldMk cId="3744710436" sldId="2147472544"/>
        </pc:sldMkLst>
      </pc:sldChg>
    </pc:docChg>
  </pc:docChgLst>
  <pc:docChgLst>
    <pc:chgData name="Breitbach, Markus" userId="S::m.breitbach_telekom.de#ext#@antunibremen.onmicrosoft.com::10c158ad-965e-4490-8b4a-81e4e8a03889" providerId="AD" clId="Web-{E236FB7D-4CB8-7C1C-8AB6-538A017D42B4}"/>
    <pc:docChg chg="modSld">
      <pc:chgData name="Breitbach, Markus" userId="S::m.breitbach_telekom.de#ext#@antunibremen.onmicrosoft.com::10c158ad-965e-4490-8b4a-81e4e8a03889" providerId="AD" clId="Web-{E236FB7D-4CB8-7C1C-8AB6-538A017D42B4}" dt="2025-03-07T10:52:55.312" v="3" actId="1076"/>
      <pc:docMkLst>
        <pc:docMk/>
      </pc:docMkLst>
      <pc:sldChg chg="modSp">
        <pc:chgData name="Breitbach, Markus" userId="S::m.breitbach_telekom.de#ext#@antunibremen.onmicrosoft.com::10c158ad-965e-4490-8b4a-81e4e8a03889" providerId="AD" clId="Web-{E236FB7D-4CB8-7C1C-8AB6-538A017D42B4}" dt="2025-03-07T10:52:55.312" v="3" actId="1076"/>
        <pc:sldMkLst>
          <pc:docMk/>
          <pc:sldMk cId="18779260" sldId="299"/>
        </pc:sldMkLst>
        <pc:spChg chg="mod">
          <ac:chgData name="Breitbach, Markus" userId="S::m.breitbach_telekom.de#ext#@antunibremen.onmicrosoft.com::10c158ad-965e-4490-8b4a-81e4e8a03889" providerId="AD" clId="Web-{E236FB7D-4CB8-7C1C-8AB6-538A017D42B4}" dt="2025-03-07T10:52:49.109" v="2" actId="1076"/>
          <ac:spMkLst>
            <pc:docMk/>
            <pc:sldMk cId="18779260" sldId="299"/>
            <ac:spMk id="174" creationId="{2D8E2F8C-B15D-4DD5-A6B1-636C382C8BB1}"/>
          </ac:spMkLst>
        </pc:spChg>
        <pc:spChg chg="mod">
          <ac:chgData name="Breitbach, Markus" userId="S::m.breitbach_telekom.de#ext#@antunibremen.onmicrosoft.com::10c158ad-965e-4490-8b4a-81e4e8a03889" providerId="AD" clId="Web-{E236FB7D-4CB8-7C1C-8AB6-538A017D42B4}" dt="2025-03-07T10:52:55.312" v="3" actId="1076"/>
          <ac:spMkLst>
            <pc:docMk/>
            <pc:sldMk cId="18779260" sldId="299"/>
            <ac:spMk id="179" creationId="{EFB250E9-8718-4C73-BCDA-1A1B41A1FB02}"/>
          </ac:spMkLst>
        </pc:spChg>
      </pc:sldChg>
    </pc:docChg>
  </pc:docChgLst>
  <pc:docChgLst>
    <pc:chgData name="jan.buchholz@imst.de" userId="S::jan.buchholz_imst.de#ext#@antunibremen.onmicrosoft.com::32a6142b-abe6-465a-b35e-cd845930b28f" providerId="AD" clId="Web-{8BE822AC-1D8C-5448-B864-96C169EDA20D}"/>
    <pc:docChg chg="delSld modSection">
      <pc:chgData name="jan.buchholz@imst.de" userId="S::jan.buchholz_imst.de#ext#@antunibremen.onmicrosoft.com::32a6142b-abe6-465a-b35e-cd845930b28f" providerId="AD" clId="Web-{8BE822AC-1D8C-5448-B864-96C169EDA20D}" dt="2025-03-03T15:17:24.800" v="1"/>
      <pc:docMkLst>
        <pc:docMk/>
      </pc:docMkLst>
      <pc:sldChg chg="del">
        <pc:chgData name="jan.buchholz@imst.de" userId="S::jan.buchholz_imst.de#ext#@antunibremen.onmicrosoft.com::32a6142b-abe6-465a-b35e-cd845930b28f" providerId="AD" clId="Web-{8BE822AC-1D8C-5448-B864-96C169EDA20D}" dt="2025-03-03T15:17:21.378" v="0"/>
        <pc:sldMkLst>
          <pc:docMk/>
          <pc:sldMk cId="957125902" sldId="2147476953"/>
        </pc:sldMkLst>
      </pc:sldChg>
      <pc:sldChg chg="del">
        <pc:chgData name="jan.buchholz@imst.de" userId="S::jan.buchholz_imst.de#ext#@antunibremen.onmicrosoft.com::32a6142b-abe6-465a-b35e-cd845930b28f" providerId="AD" clId="Web-{8BE822AC-1D8C-5448-B864-96C169EDA20D}" dt="2025-03-03T15:17:24.800" v="1"/>
        <pc:sldMkLst>
          <pc:docMk/>
          <pc:sldMk cId="2096638031" sldId="2147476954"/>
        </pc:sldMkLst>
      </pc:sldChg>
    </pc:docChg>
  </pc:docChgLst>
  <pc:docChgLst>
    <pc:chgData name="Hammouda Marwan" userId="S::hammouda@ant.uni-bremen.de::141c87ca-9386-4b1c-88e0-e9251bd241ba" providerId="AD" clId="Web-{21B228D5-F69C-5A76-D981-0C338FC94331}"/>
    <pc:docChg chg="delSld modSection">
      <pc:chgData name="Hammouda Marwan" userId="S::hammouda@ant.uni-bremen.de::141c87ca-9386-4b1c-88e0-e9251bd241ba" providerId="AD" clId="Web-{21B228D5-F69C-5A76-D981-0C338FC94331}" dt="2025-03-03T20:47:33.875" v="3"/>
      <pc:docMkLst>
        <pc:docMk/>
      </pc:docMkLst>
      <pc:sldChg chg="del">
        <pc:chgData name="Hammouda Marwan" userId="S::hammouda@ant.uni-bremen.de::141c87ca-9386-4b1c-88e0-e9251bd241ba" providerId="AD" clId="Web-{21B228D5-F69C-5A76-D981-0C338FC94331}" dt="2025-03-03T20:47:27.906" v="0"/>
        <pc:sldMkLst>
          <pc:docMk/>
          <pc:sldMk cId="2848802291" sldId="2147476939"/>
        </pc:sldMkLst>
      </pc:sldChg>
      <pc:sldChg chg="del">
        <pc:chgData name="Hammouda Marwan" userId="S::hammouda@ant.uni-bremen.de::141c87ca-9386-4b1c-88e0-e9251bd241ba" providerId="AD" clId="Web-{21B228D5-F69C-5A76-D981-0C338FC94331}" dt="2025-03-03T20:47:31.657" v="1"/>
        <pc:sldMkLst>
          <pc:docMk/>
          <pc:sldMk cId="1748253299" sldId="2147476940"/>
        </pc:sldMkLst>
      </pc:sldChg>
      <pc:sldChg chg="del">
        <pc:chgData name="Hammouda Marwan" userId="S::hammouda@ant.uni-bremen.de::141c87ca-9386-4b1c-88e0-e9251bd241ba" providerId="AD" clId="Web-{21B228D5-F69C-5A76-D981-0C338FC94331}" dt="2025-03-03T20:47:33.266" v="2"/>
        <pc:sldMkLst>
          <pc:docMk/>
          <pc:sldMk cId="2401955631" sldId="2147476941"/>
        </pc:sldMkLst>
      </pc:sldChg>
      <pc:sldChg chg="del">
        <pc:chgData name="Hammouda Marwan" userId="S::hammouda@ant.uni-bremen.de::141c87ca-9386-4b1c-88e0-e9251bd241ba" providerId="AD" clId="Web-{21B228D5-F69C-5A76-D981-0C338FC94331}" dt="2025-03-03T20:47:33.875" v="3"/>
        <pc:sldMkLst>
          <pc:docMk/>
          <pc:sldMk cId="3223803219" sldId="2147476943"/>
        </pc:sldMkLst>
      </pc:sldChg>
    </pc:docChg>
  </pc:docChgLst>
  <pc:docChgLst>
    <pc:chgData name="Jan Drewes" userId="S::janhenning.drewes_nxp.com#ext#@antunibremen.onmicrosoft.com::e11dbc40-13df-4427-a065-822664db6633" providerId="AD" clId="Web-{7DF6C2AC-D0A8-7C27-A8AC-4D84EF38CA02}"/>
    <pc:docChg chg="modSld">
      <pc:chgData name="Jan Drewes" userId="S::janhenning.drewes_nxp.com#ext#@antunibremen.onmicrosoft.com::e11dbc40-13df-4427-a065-822664db6633" providerId="AD" clId="Web-{7DF6C2AC-D0A8-7C27-A8AC-4D84EF38CA02}" dt="2024-03-06T09:09:06.450" v="2" actId="20577"/>
      <pc:docMkLst>
        <pc:docMk/>
      </pc:docMkLst>
      <pc:sldChg chg="modSp">
        <pc:chgData name="Jan Drewes" userId="S::janhenning.drewes_nxp.com#ext#@antunibremen.onmicrosoft.com::e11dbc40-13df-4427-a065-822664db6633" providerId="AD" clId="Web-{7DF6C2AC-D0A8-7C27-A8AC-4D84EF38CA02}" dt="2024-03-06T09:09:06.450" v="2" actId="20577"/>
        <pc:sldMkLst>
          <pc:docMk/>
          <pc:sldMk cId="3744710436" sldId="2147472544"/>
        </pc:sldMkLst>
      </pc:sldChg>
    </pc:docChg>
  </pc:docChgLst>
  <pc:docChgLst>
    <pc:chgData name="Hammouda Marwan" userId="S::hammouda@ant.uni-bremen.de::141c87ca-9386-4b1c-88e0-e9251bd241ba" providerId="AD" clId="Web-{34578FF2-A40F-E41C-CD61-57E4D7700F3F}"/>
    <pc:docChg chg="addSld modSld modSection">
      <pc:chgData name="Hammouda Marwan" userId="S::hammouda@ant.uni-bremen.de::141c87ca-9386-4b1c-88e0-e9251bd241ba" providerId="AD" clId="Web-{34578FF2-A40F-E41C-CD61-57E4D7700F3F}" dt="2025-02-27T15:12:42.368" v="3396"/>
      <pc:docMkLst>
        <pc:docMk/>
      </pc:docMkLst>
      <pc:sldChg chg="addSp delSp modSp">
        <pc:chgData name="Hammouda Marwan" userId="S::hammouda@ant.uni-bremen.de::141c87ca-9386-4b1c-88e0-e9251bd241ba" providerId="AD" clId="Web-{34578FF2-A40F-E41C-CD61-57E4D7700F3F}" dt="2025-02-27T10:40:46.872" v="235" actId="1076"/>
        <pc:sldMkLst>
          <pc:docMk/>
          <pc:sldMk cId="4196284054" sldId="2147472557"/>
        </pc:sldMkLst>
      </pc:sldChg>
      <pc:sldChg chg="mod modShow">
        <pc:chgData name="Hammouda Marwan" userId="S::hammouda@ant.uni-bremen.de::141c87ca-9386-4b1c-88e0-e9251bd241ba" providerId="AD" clId="Web-{34578FF2-A40F-E41C-CD61-57E4D7700F3F}" dt="2025-02-27T14:20:17.111" v="2724"/>
        <pc:sldMkLst>
          <pc:docMk/>
          <pc:sldMk cId="2848802291" sldId="2147476939"/>
        </pc:sldMkLst>
      </pc:sldChg>
      <pc:sldChg chg="mod modShow">
        <pc:chgData name="Hammouda Marwan" userId="S::hammouda@ant.uni-bremen.de::141c87ca-9386-4b1c-88e0-e9251bd241ba" providerId="AD" clId="Web-{34578FF2-A40F-E41C-CD61-57E4D7700F3F}" dt="2025-02-27T14:20:22.533" v="2725"/>
        <pc:sldMkLst>
          <pc:docMk/>
          <pc:sldMk cId="1748253299" sldId="2147476940"/>
        </pc:sldMkLst>
      </pc:sldChg>
      <pc:sldChg chg="mod modShow">
        <pc:chgData name="Hammouda Marwan" userId="S::hammouda@ant.uni-bremen.de::141c87ca-9386-4b1c-88e0-e9251bd241ba" providerId="AD" clId="Web-{34578FF2-A40F-E41C-CD61-57E4D7700F3F}" dt="2025-02-27T14:20:26.971" v="2726"/>
        <pc:sldMkLst>
          <pc:docMk/>
          <pc:sldMk cId="2401955631" sldId="2147476941"/>
        </pc:sldMkLst>
      </pc:sldChg>
      <pc:sldChg chg="mod modShow">
        <pc:chgData name="Hammouda Marwan" userId="S::hammouda@ant.uni-bremen.de::141c87ca-9386-4b1c-88e0-e9251bd241ba" providerId="AD" clId="Web-{34578FF2-A40F-E41C-CD61-57E4D7700F3F}" dt="2025-02-27T14:20:31.627" v="2727"/>
        <pc:sldMkLst>
          <pc:docMk/>
          <pc:sldMk cId="3223803219" sldId="2147476943"/>
        </pc:sldMkLst>
      </pc:sldChg>
      <pc:sldChg chg="modSp add replId">
        <pc:chgData name="Hammouda Marwan" userId="S::hammouda@ant.uni-bremen.de::141c87ca-9386-4b1c-88e0-e9251bd241ba" providerId="AD" clId="Web-{34578FF2-A40F-E41C-CD61-57E4D7700F3F}" dt="2025-02-27T15:03:01.287" v="3266" actId="20577"/>
        <pc:sldMkLst>
          <pc:docMk/>
          <pc:sldMk cId="2006419099" sldId="2147476962"/>
        </pc:sldMkLst>
      </pc:sldChg>
      <pc:sldChg chg="modSp add replId">
        <pc:chgData name="Hammouda Marwan" userId="S::hammouda@ant.uni-bremen.de::141c87ca-9386-4b1c-88e0-e9251bd241ba" providerId="AD" clId="Web-{34578FF2-A40F-E41C-CD61-57E4D7700F3F}" dt="2025-02-27T13:21:52.359" v="1735"/>
        <pc:sldMkLst>
          <pc:docMk/>
          <pc:sldMk cId="3377633737" sldId="2147476963"/>
        </pc:sldMkLst>
      </pc:sldChg>
      <pc:sldChg chg="modSp add replId">
        <pc:chgData name="Hammouda Marwan" userId="S::hammouda@ant.uni-bremen.de::141c87ca-9386-4b1c-88e0-e9251bd241ba" providerId="AD" clId="Web-{34578FF2-A40F-E41C-CD61-57E4D7700F3F}" dt="2025-02-27T13:47:53.221" v="2305" actId="20577"/>
        <pc:sldMkLst>
          <pc:docMk/>
          <pc:sldMk cId="2771563822" sldId="2147476964"/>
        </pc:sldMkLst>
      </pc:sldChg>
      <pc:sldChg chg="addSp delSp modSp add mod replId setBg">
        <pc:chgData name="Hammouda Marwan" userId="S::hammouda@ant.uni-bremen.de::141c87ca-9386-4b1c-88e0-e9251bd241ba" providerId="AD" clId="Web-{34578FF2-A40F-E41C-CD61-57E4D7700F3F}" dt="2025-02-27T15:08:48.939" v="3378" actId="20577"/>
        <pc:sldMkLst>
          <pc:docMk/>
          <pc:sldMk cId="3470027343" sldId="2147476968"/>
        </pc:sldMkLst>
      </pc:sldChg>
      <pc:sldChg chg="addSp delSp modSp add replId">
        <pc:chgData name="Hammouda Marwan" userId="S::hammouda@ant.uni-bremen.de::141c87ca-9386-4b1c-88e0-e9251bd241ba" providerId="AD" clId="Web-{34578FF2-A40F-E41C-CD61-57E4D7700F3F}" dt="2025-02-27T15:09:30.174" v="3389" actId="14100"/>
        <pc:sldMkLst>
          <pc:docMk/>
          <pc:sldMk cId="3721334223" sldId="2147476969"/>
        </pc:sldMkLst>
      </pc:sldChg>
      <pc:sldChg chg="delSp modSp add replId">
        <pc:chgData name="Hammouda Marwan" userId="S::hammouda@ant.uni-bremen.de::141c87ca-9386-4b1c-88e0-e9251bd241ba" providerId="AD" clId="Web-{34578FF2-A40F-E41C-CD61-57E4D7700F3F}" dt="2025-02-27T15:12:42.368" v="3396"/>
        <pc:sldMkLst>
          <pc:docMk/>
          <pc:sldMk cId="3370915096" sldId="2147476970"/>
        </pc:sldMkLst>
      </pc:sldChg>
    </pc:docChg>
  </pc:docChgLst>
  <pc:docChgLst>
    <pc:chgData name="Jan Drewes" userId="S::janhenning.drewes_nxp.com#ext#@antunibremen.onmicrosoft.com::e11dbc40-13df-4427-a065-822664db6633" providerId="AD" clId="Web-{1D2A96A7-9FB7-BA9D-D571-1118D1D4BDF1}"/>
    <pc:docChg chg="addSld modSld modSection">
      <pc:chgData name="Jan Drewes" userId="S::janhenning.drewes_nxp.com#ext#@antunibremen.onmicrosoft.com::e11dbc40-13df-4427-a065-822664db6633" providerId="AD" clId="Web-{1D2A96A7-9FB7-BA9D-D571-1118D1D4BDF1}" dt="2024-03-01T14:33:02.788" v="288" actId="14100"/>
      <pc:docMkLst>
        <pc:docMk/>
      </pc:docMkLst>
      <pc:sldChg chg="modSp">
        <pc:chgData name="Jan Drewes" userId="S::janhenning.drewes_nxp.com#ext#@antunibremen.onmicrosoft.com::e11dbc40-13df-4427-a065-822664db6633" providerId="AD" clId="Web-{1D2A96A7-9FB7-BA9D-D571-1118D1D4BDF1}" dt="2024-03-01T12:09:03.363" v="208"/>
        <pc:sldMkLst>
          <pc:docMk/>
          <pc:sldMk cId="2335996785" sldId="2147472543"/>
        </pc:sldMkLst>
      </pc:sldChg>
      <pc:sldChg chg="modSp">
        <pc:chgData name="Jan Drewes" userId="S::janhenning.drewes_nxp.com#ext#@antunibremen.onmicrosoft.com::e11dbc40-13df-4427-a065-822664db6633" providerId="AD" clId="Web-{1D2A96A7-9FB7-BA9D-D571-1118D1D4BDF1}" dt="2024-03-01T12:12:51.684" v="227" actId="20577"/>
        <pc:sldMkLst>
          <pc:docMk/>
          <pc:sldMk cId="3744710436" sldId="2147472544"/>
        </pc:sldMkLst>
      </pc:sldChg>
      <pc:sldChg chg="addSp delSp modSp new">
        <pc:chgData name="Jan Drewes" userId="S::janhenning.drewes_nxp.com#ext#@antunibremen.onmicrosoft.com::e11dbc40-13df-4427-a065-822664db6633" providerId="AD" clId="Web-{1D2A96A7-9FB7-BA9D-D571-1118D1D4BDF1}" dt="2024-03-01T14:33:02.788" v="288" actId="14100"/>
        <pc:sldMkLst>
          <pc:docMk/>
          <pc:sldMk cId="2685880669" sldId="2147472551"/>
        </pc:sldMkLst>
      </pc:sldChg>
    </pc:docChg>
  </pc:docChgLst>
  <pc:docChgLst>
    <pc:chgData name="Dennis Buchberger" userId="S::buchberger@ant.uni-bremen.de::cfe5e5e7-b999-4ed2-8d25-bbd6e3df32e4" providerId="AD" clId="Web-{72417592-AE40-C08D-4E7B-DEFD3DE5F3ED}"/>
    <pc:docChg chg="addSld delSld modSld sldOrd modSection">
      <pc:chgData name="Dennis Buchberger" userId="S::buchberger@ant.uni-bremen.de::cfe5e5e7-b999-4ed2-8d25-bbd6e3df32e4" providerId="AD" clId="Web-{72417592-AE40-C08D-4E7B-DEFD3DE5F3ED}" dt="2024-03-07T16:57:30.680" v="470" actId="20577"/>
      <pc:docMkLst>
        <pc:docMk/>
      </pc:docMkLst>
      <pc:sldChg chg="addSp delSp modSp">
        <pc:chgData name="Dennis Buchberger" userId="S::buchberger@ant.uni-bremen.de::cfe5e5e7-b999-4ed2-8d25-bbd6e3df32e4" providerId="AD" clId="Web-{72417592-AE40-C08D-4E7B-DEFD3DE5F3ED}" dt="2024-03-07T16:52:34.120" v="251" actId="1076"/>
        <pc:sldMkLst>
          <pc:docMk/>
          <pc:sldMk cId="3066698234" sldId="2147472537"/>
        </pc:sldMkLst>
      </pc:sldChg>
      <pc:sldChg chg="modSp">
        <pc:chgData name="Dennis Buchberger" userId="S::buchberger@ant.uni-bremen.de::cfe5e5e7-b999-4ed2-8d25-bbd6e3df32e4" providerId="AD" clId="Web-{72417592-AE40-C08D-4E7B-DEFD3DE5F3ED}" dt="2024-03-07T15:51:20.559" v="233" actId="20577"/>
        <pc:sldMkLst>
          <pc:docMk/>
          <pc:sldMk cId="3719215840" sldId="2147472539"/>
        </pc:sldMkLst>
      </pc:sldChg>
      <pc:sldChg chg="modSp new">
        <pc:chgData name="Dennis Buchberger" userId="S::buchberger@ant.uni-bremen.de::cfe5e5e7-b999-4ed2-8d25-bbd6e3df32e4" providerId="AD" clId="Web-{72417592-AE40-C08D-4E7B-DEFD3DE5F3ED}" dt="2024-03-07T16:57:30.680" v="470" actId="20577"/>
        <pc:sldMkLst>
          <pc:docMk/>
          <pc:sldMk cId="95809100" sldId="2147472554"/>
        </pc:sldMkLst>
      </pc:sldChg>
      <pc:sldChg chg="modSp new del ord">
        <pc:chgData name="Dennis Buchberger" userId="S::buchberger@ant.uni-bremen.de::cfe5e5e7-b999-4ed2-8d25-bbd6e3df32e4" providerId="AD" clId="Web-{72417592-AE40-C08D-4E7B-DEFD3DE5F3ED}" dt="2024-03-07T16:56:22.427" v="438"/>
        <pc:sldMkLst>
          <pc:docMk/>
          <pc:sldMk cId="1525018309" sldId="2147472555"/>
        </pc:sldMkLst>
      </pc:sldChg>
      <pc:sldChg chg="addSp delSp modSp new">
        <pc:chgData name="Dennis Buchberger" userId="S::buchberger@ant.uni-bremen.de::cfe5e5e7-b999-4ed2-8d25-bbd6e3df32e4" providerId="AD" clId="Web-{72417592-AE40-C08D-4E7B-DEFD3DE5F3ED}" dt="2024-03-07T16:56:41.709" v="441" actId="14100"/>
        <pc:sldMkLst>
          <pc:docMk/>
          <pc:sldMk cId="1330888253" sldId="2147472556"/>
        </pc:sldMkLst>
      </pc:sldChg>
    </pc:docChg>
  </pc:docChgLst>
  <pc:docChgLst>
    <pc:chgData name="jan.buchholz@imst.de" userId="S::jan.buchholz_imst.de#ext#@antunibremen.onmicrosoft.com::32a6142b-abe6-465a-b35e-cd845930b28f" providerId="AD" clId="Web-{BBD22CA1-B05C-BCAB-C796-451F0324484E}"/>
    <pc:docChg chg="addSld delSld modSld modSection">
      <pc:chgData name="jan.buchholz@imst.de" userId="S::jan.buchholz_imst.de#ext#@antunibremen.onmicrosoft.com::32a6142b-abe6-465a-b35e-cd845930b28f" providerId="AD" clId="Web-{BBD22CA1-B05C-BCAB-C796-451F0324484E}" dt="2024-03-04T14:11:55.663" v="7"/>
      <pc:docMkLst>
        <pc:docMk/>
      </pc:docMkLst>
      <pc:sldChg chg="modSp add">
        <pc:chgData name="jan.buchholz@imst.de" userId="S::jan.buchholz_imst.de#ext#@antunibremen.onmicrosoft.com::32a6142b-abe6-465a-b35e-cd845930b28f" providerId="AD" clId="Web-{BBD22CA1-B05C-BCAB-C796-451F0324484E}" dt="2024-03-04T14:11:53.617" v="6" actId="20577"/>
        <pc:sldMkLst>
          <pc:docMk/>
          <pc:sldMk cId="104511861" sldId="2147472510"/>
        </pc:sldMkLst>
      </pc:sldChg>
      <pc:sldChg chg="add">
        <pc:chgData name="jan.buchholz@imst.de" userId="S::jan.buchholz_imst.de#ext#@antunibremen.onmicrosoft.com::32a6142b-abe6-465a-b35e-cd845930b28f" providerId="AD" clId="Web-{BBD22CA1-B05C-BCAB-C796-451F0324484E}" dt="2024-03-04T14:11:32.100" v="1"/>
        <pc:sldMkLst>
          <pc:docMk/>
          <pc:sldMk cId="727142129" sldId="2147472519"/>
        </pc:sldMkLst>
      </pc:sldChg>
      <pc:sldChg chg="add">
        <pc:chgData name="jan.buchholz@imst.de" userId="S::jan.buchholz_imst.de#ext#@antunibremen.onmicrosoft.com::32a6142b-abe6-465a-b35e-cd845930b28f" providerId="AD" clId="Web-{BBD22CA1-B05C-BCAB-C796-451F0324484E}" dt="2024-03-04T14:11:32.647" v="2"/>
        <pc:sldMkLst>
          <pc:docMk/>
          <pc:sldMk cId="1655634797" sldId="2147472520"/>
        </pc:sldMkLst>
      </pc:sldChg>
      <pc:sldChg chg="add">
        <pc:chgData name="jan.buchholz@imst.de" userId="S::jan.buchholz_imst.de#ext#@antunibremen.onmicrosoft.com::32a6142b-abe6-465a-b35e-cd845930b28f" providerId="AD" clId="Web-{BBD22CA1-B05C-BCAB-C796-451F0324484E}" dt="2024-03-04T14:11:31.569" v="0"/>
        <pc:sldMkLst>
          <pc:docMk/>
          <pc:sldMk cId="1786956514" sldId="2147472521"/>
        </pc:sldMkLst>
      </pc:sldChg>
      <pc:sldChg chg="del">
        <pc:chgData name="jan.buchholz@imst.de" userId="S::jan.buchholz_imst.de#ext#@antunibremen.onmicrosoft.com::32a6142b-abe6-465a-b35e-cd845930b28f" providerId="AD" clId="Web-{BBD22CA1-B05C-BCAB-C796-451F0324484E}" dt="2024-03-04T14:11:55.663" v="7"/>
        <pc:sldMkLst>
          <pc:docMk/>
          <pc:sldMk cId="1802835650" sldId="2147472535"/>
        </pc:sldMkLst>
      </pc:sldChg>
    </pc:docChg>
  </pc:docChgLst>
  <pc:docChgLst>
    <pc:chgData name="daurembekova@eit.uni-kl.de" userId="S::daurembekova_eit.uni-kl.de#ext#@antunibremen.onmicrosoft.com::1550135a-cb22-4283-bb7f-d226a501e7e9" providerId="AD" clId="Web-{F2C7C912-32AC-187F-1CCD-361D3CF237DD}"/>
    <pc:docChg chg="modSld sldOrd">
      <pc:chgData name="daurembekova@eit.uni-kl.de" userId="S::daurembekova_eit.uni-kl.de#ext#@antunibremen.onmicrosoft.com::1550135a-cb22-4283-bb7f-d226a501e7e9" providerId="AD" clId="Web-{F2C7C912-32AC-187F-1CCD-361D3CF237DD}" dt="2025-03-03T20:08:21.976" v="12" actId="1076"/>
      <pc:docMkLst>
        <pc:docMk/>
      </pc:docMkLst>
      <pc:sldChg chg="addSp modSp">
        <pc:chgData name="daurembekova@eit.uni-kl.de" userId="S::daurembekova_eit.uni-kl.de#ext#@antunibremen.onmicrosoft.com::1550135a-cb22-4283-bb7f-d226a501e7e9" providerId="AD" clId="Web-{F2C7C912-32AC-187F-1CCD-361D3CF237DD}" dt="2025-03-03T20:08:21.976" v="12" actId="1076"/>
        <pc:sldMkLst>
          <pc:docMk/>
          <pc:sldMk cId="2512753512" sldId="2147476958"/>
        </pc:sldMkLst>
      </pc:sldChg>
      <pc:sldChg chg="ord">
        <pc:chgData name="daurembekova@eit.uni-kl.de" userId="S::daurembekova_eit.uni-kl.de#ext#@antunibremen.onmicrosoft.com::1550135a-cb22-4283-bb7f-d226a501e7e9" providerId="AD" clId="Web-{F2C7C912-32AC-187F-1CCD-361D3CF237DD}" dt="2025-03-03T20:06:01.783" v="5"/>
        <pc:sldMkLst>
          <pc:docMk/>
          <pc:sldMk cId="3225395690" sldId="2147476961"/>
        </pc:sldMkLst>
      </pc:sldChg>
    </pc:docChg>
  </pc:docChgLst>
  <pc:docChgLst>
    <pc:chgData name="benjamin.barth@dlr.de" userId="S::benjamin.barth_dlr.de#ext#@antunibremen.onmicrosoft.com::125bcdd7-effb-4ed3-ab95-be7e18fe1b24" providerId="AD" clId="Web-{90D97E94-7153-8D28-B44C-4635BCC2DDC0}"/>
    <pc:docChg chg="modSld">
      <pc:chgData name="benjamin.barth@dlr.de" userId="S::benjamin.barth_dlr.de#ext#@antunibremen.onmicrosoft.com::125bcdd7-effb-4ed3-ab95-be7e18fe1b24" providerId="AD" clId="Web-{90D97E94-7153-8D28-B44C-4635BCC2DDC0}" dt="2025-03-28T12:33:14.790" v="105" actId="20577"/>
      <pc:docMkLst>
        <pc:docMk/>
      </pc:docMkLst>
      <pc:sldChg chg="addSp delSp modSp">
        <pc:chgData name="benjamin.barth@dlr.de" userId="S::benjamin.barth_dlr.de#ext#@antunibremen.onmicrosoft.com::125bcdd7-effb-4ed3-ab95-be7e18fe1b24" providerId="AD" clId="Web-{90D97E94-7153-8D28-B44C-4635BCC2DDC0}" dt="2025-03-28T12:33:14.790" v="105" actId="20577"/>
        <pc:sldMkLst>
          <pc:docMk/>
          <pc:sldMk cId="3161152169" sldId="2147477035"/>
        </pc:sldMkLst>
        <pc:spChg chg="mod">
          <ac:chgData name="benjamin.barth@dlr.de" userId="S::benjamin.barth_dlr.de#ext#@antunibremen.onmicrosoft.com::125bcdd7-effb-4ed3-ab95-be7e18fe1b24" providerId="AD" clId="Web-{90D97E94-7153-8D28-B44C-4635BCC2DDC0}" dt="2025-03-28T12:30:32.440" v="81" actId="20577"/>
          <ac:spMkLst>
            <pc:docMk/>
            <pc:sldMk cId="3161152169" sldId="2147477035"/>
            <ac:spMk id="2" creationId="{2AF3EA10-2C0D-42B9-97DF-E52A052E36C9}"/>
          </ac:spMkLst>
        </pc:spChg>
        <pc:spChg chg="mod">
          <ac:chgData name="benjamin.barth@dlr.de" userId="S::benjamin.barth_dlr.de#ext#@antunibremen.onmicrosoft.com::125bcdd7-effb-4ed3-ab95-be7e18fe1b24" providerId="AD" clId="Web-{90D97E94-7153-8D28-B44C-4635BCC2DDC0}" dt="2025-03-28T12:33:14.790" v="105" actId="20577"/>
          <ac:spMkLst>
            <pc:docMk/>
            <pc:sldMk cId="3161152169" sldId="2147477035"/>
            <ac:spMk id="4" creationId="{A7AF831F-B423-4FF1-91C3-B1CCCA8C8EF8}"/>
          </ac:spMkLst>
        </pc:spChg>
        <pc:spChg chg="mod">
          <ac:chgData name="benjamin.barth@dlr.de" userId="S::benjamin.barth_dlr.de#ext#@antunibremen.onmicrosoft.com::125bcdd7-effb-4ed3-ab95-be7e18fe1b24" providerId="AD" clId="Web-{90D97E94-7153-8D28-B44C-4635BCC2DDC0}" dt="2025-03-28T12:30:01.283" v="49" actId="1076"/>
          <ac:spMkLst>
            <pc:docMk/>
            <pc:sldMk cId="3161152169" sldId="2147477035"/>
            <ac:spMk id="18" creationId="{E812E226-D2A1-A14D-B3B2-0ACB35833BFB}"/>
          </ac:spMkLst>
        </pc:spChg>
        <pc:spChg chg="mod">
          <ac:chgData name="benjamin.barth@dlr.de" userId="S::benjamin.barth_dlr.de#ext#@antunibremen.onmicrosoft.com::125bcdd7-effb-4ed3-ab95-be7e18fe1b24" providerId="AD" clId="Web-{90D97E94-7153-8D28-B44C-4635BCC2DDC0}" dt="2025-03-28T12:30:01.298" v="50" actId="1076"/>
          <ac:spMkLst>
            <pc:docMk/>
            <pc:sldMk cId="3161152169" sldId="2147477035"/>
            <ac:spMk id="19" creationId="{6EBFA10D-45E7-AE13-2589-09699FED1F5A}"/>
          </ac:spMkLst>
        </pc:spChg>
        <pc:spChg chg="mod">
          <ac:chgData name="benjamin.barth@dlr.de" userId="S::benjamin.barth_dlr.de#ext#@antunibremen.onmicrosoft.com::125bcdd7-effb-4ed3-ab95-be7e18fe1b24" providerId="AD" clId="Web-{90D97E94-7153-8D28-B44C-4635BCC2DDC0}" dt="2025-03-28T12:30:12.642" v="76" actId="1076"/>
          <ac:spMkLst>
            <pc:docMk/>
            <pc:sldMk cId="3161152169" sldId="2147477035"/>
            <ac:spMk id="32" creationId="{6A3CF348-2AB0-0218-16D7-B84A84C70EC5}"/>
          </ac:spMkLst>
        </pc:spChg>
        <pc:spChg chg="mod">
          <ac:chgData name="benjamin.barth@dlr.de" userId="S::benjamin.barth_dlr.de#ext#@antunibremen.onmicrosoft.com::125bcdd7-effb-4ed3-ab95-be7e18fe1b24" providerId="AD" clId="Web-{90D97E94-7153-8D28-B44C-4635BCC2DDC0}" dt="2025-03-28T12:30:17.596" v="80" actId="14100"/>
          <ac:spMkLst>
            <pc:docMk/>
            <pc:sldMk cId="3161152169" sldId="2147477035"/>
            <ac:spMk id="34" creationId="{CFD652A7-2E71-18DE-31D9-E9E3BE34EA22}"/>
          </ac:spMkLst>
        </pc:spChg>
        <pc:spChg chg="add">
          <ac:chgData name="benjamin.barth@dlr.de" userId="S::benjamin.barth_dlr.de#ext#@antunibremen.onmicrosoft.com::125bcdd7-effb-4ed3-ab95-be7e18fe1b24" providerId="AD" clId="Web-{90D97E94-7153-8D28-B44C-4635BCC2DDC0}" dt="2025-03-28T12:29:07.359" v="1"/>
          <ac:spMkLst>
            <pc:docMk/>
            <pc:sldMk cId="3161152169" sldId="2147477035"/>
            <ac:spMk id="42" creationId="{3E9CB9BC-A5DF-4ADD-A941-558FDAADDC0E}"/>
          </ac:spMkLst>
        </pc:spChg>
        <pc:spChg chg="add">
          <ac:chgData name="benjamin.barth@dlr.de" userId="S::benjamin.barth_dlr.de#ext#@antunibremen.onmicrosoft.com::125bcdd7-effb-4ed3-ab95-be7e18fe1b24" providerId="AD" clId="Web-{90D97E94-7153-8D28-B44C-4635BCC2DDC0}" dt="2025-03-28T12:29:07.359" v="1"/>
          <ac:spMkLst>
            <pc:docMk/>
            <pc:sldMk cId="3161152169" sldId="2147477035"/>
            <ac:spMk id="43" creationId="{79EB0AF5-8845-29E1-0BCB-2C262F9AEA81}"/>
          </ac:spMkLst>
        </pc:spChg>
        <pc:spChg chg="add">
          <ac:chgData name="benjamin.barth@dlr.de" userId="S::benjamin.barth_dlr.de#ext#@antunibremen.onmicrosoft.com::125bcdd7-effb-4ed3-ab95-be7e18fe1b24" providerId="AD" clId="Web-{90D97E94-7153-8D28-B44C-4635BCC2DDC0}" dt="2025-03-28T12:29:07.359" v="1"/>
          <ac:spMkLst>
            <pc:docMk/>
            <pc:sldMk cId="3161152169" sldId="2147477035"/>
            <ac:spMk id="44" creationId="{13B8E0EE-9097-0A5A-2AE2-3C709E2DCA41}"/>
          </ac:spMkLst>
        </pc:spChg>
        <pc:spChg chg="add">
          <ac:chgData name="benjamin.barth@dlr.de" userId="S::benjamin.barth_dlr.de#ext#@antunibremen.onmicrosoft.com::125bcdd7-effb-4ed3-ab95-be7e18fe1b24" providerId="AD" clId="Web-{90D97E94-7153-8D28-B44C-4635BCC2DDC0}" dt="2025-03-28T12:29:07.359" v="1"/>
          <ac:spMkLst>
            <pc:docMk/>
            <pc:sldMk cId="3161152169" sldId="2147477035"/>
            <ac:spMk id="53" creationId="{DC4D0285-2385-6CCE-63EC-A35C46A0224D}"/>
          </ac:spMkLst>
        </pc:spChg>
        <pc:spChg chg="add">
          <ac:chgData name="benjamin.barth@dlr.de" userId="S::benjamin.barth_dlr.de#ext#@antunibremen.onmicrosoft.com::125bcdd7-effb-4ed3-ab95-be7e18fe1b24" providerId="AD" clId="Web-{90D97E94-7153-8D28-B44C-4635BCC2DDC0}" dt="2025-03-28T12:29:07.359" v="1"/>
          <ac:spMkLst>
            <pc:docMk/>
            <pc:sldMk cId="3161152169" sldId="2147477035"/>
            <ac:spMk id="54" creationId="{C2E39BA0-637C-1B5D-1C7D-1EE108F721B4}"/>
          </ac:spMkLst>
        </pc:spChg>
        <pc:spChg chg="add">
          <ac:chgData name="benjamin.barth@dlr.de" userId="S::benjamin.barth_dlr.de#ext#@antunibremen.onmicrosoft.com::125bcdd7-effb-4ed3-ab95-be7e18fe1b24" providerId="AD" clId="Web-{90D97E94-7153-8D28-B44C-4635BCC2DDC0}" dt="2025-03-28T12:29:07.359" v="1"/>
          <ac:spMkLst>
            <pc:docMk/>
            <pc:sldMk cId="3161152169" sldId="2147477035"/>
            <ac:spMk id="55" creationId="{0E4B9EA1-971B-F639-B1F4-4BD82514AD49}"/>
          </ac:spMkLst>
        </pc:spChg>
        <pc:spChg chg="add">
          <ac:chgData name="benjamin.barth@dlr.de" userId="S::benjamin.barth_dlr.de#ext#@antunibremen.onmicrosoft.com::125bcdd7-effb-4ed3-ab95-be7e18fe1b24" providerId="AD" clId="Web-{90D97E94-7153-8D28-B44C-4635BCC2DDC0}" dt="2025-03-28T12:29:07.359" v="1"/>
          <ac:spMkLst>
            <pc:docMk/>
            <pc:sldMk cId="3161152169" sldId="2147477035"/>
            <ac:spMk id="57" creationId="{C054130E-DC5B-FF99-4ACE-19583ACB51EB}"/>
          </ac:spMkLst>
        </pc:spChg>
        <pc:spChg chg="add">
          <ac:chgData name="benjamin.barth@dlr.de" userId="S::benjamin.barth_dlr.de#ext#@antunibremen.onmicrosoft.com::125bcdd7-effb-4ed3-ab95-be7e18fe1b24" providerId="AD" clId="Web-{90D97E94-7153-8D28-B44C-4635BCC2DDC0}" dt="2025-03-28T12:29:07.359" v="1"/>
          <ac:spMkLst>
            <pc:docMk/>
            <pc:sldMk cId="3161152169" sldId="2147477035"/>
            <ac:spMk id="60" creationId="{6415F8FC-7872-5EAF-3164-23817DB53985}"/>
          </ac:spMkLst>
        </pc:spChg>
        <pc:spChg chg="add">
          <ac:chgData name="benjamin.barth@dlr.de" userId="S::benjamin.barth_dlr.de#ext#@antunibremen.onmicrosoft.com::125bcdd7-effb-4ed3-ab95-be7e18fe1b24" providerId="AD" clId="Web-{90D97E94-7153-8D28-B44C-4635BCC2DDC0}" dt="2025-03-28T12:29:07.359" v="1"/>
          <ac:spMkLst>
            <pc:docMk/>
            <pc:sldMk cId="3161152169" sldId="2147477035"/>
            <ac:spMk id="61" creationId="{87CFECD1-9212-43A2-8782-BB0EBF91A393}"/>
          </ac:spMkLst>
        </pc:spChg>
        <pc:grpChg chg="mod">
          <ac:chgData name="benjamin.barth@dlr.de" userId="S::benjamin.barth_dlr.de#ext#@antunibremen.onmicrosoft.com::125bcdd7-effb-4ed3-ab95-be7e18fe1b24" providerId="AD" clId="Web-{90D97E94-7153-8D28-B44C-4635BCC2DDC0}" dt="2025-03-28T12:30:12.502" v="70" actId="1076"/>
          <ac:grpSpMkLst>
            <pc:docMk/>
            <pc:sldMk cId="3161152169" sldId="2147477035"/>
            <ac:grpSpMk id="22" creationId="{0EFE23BB-110C-5011-8DC8-5205854C5C7B}"/>
          </ac:grpSpMkLst>
        </pc:grpChg>
        <pc:grpChg chg="mod">
          <ac:chgData name="benjamin.barth@dlr.de" userId="S::benjamin.barth_dlr.de#ext#@antunibremen.onmicrosoft.com::125bcdd7-effb-4ed3-ab95-be7e18fe1b24" providerId="AD" clId="Web-{90D97E94-7153-8D28-B44C-4635BCC2DDC0}" dt="2025-03-28T12:30:12.533" v="72" actId="1076"/>
          <ac:grpSpMkLst>
            <pc:docMk/>
            <pc:sldMk cId="3161152169" sldId="2147477035"/>
            <ac:grpSpMk id="24" creationId="{77BAC37B-B930-9F07-C388-32E25F7303C0}"/>
          </ac:grpSpMkLst>
        </pc:grpChg>
        <pc:grpChg chg="mod">
          <ac:chgData name="benjamin.barth@dlr.de" userId="S::benjamin.barth_dlr.de#ext#@antunibremen.onmicrosoft.com::125bcdd7-effb-4ed3-ab95-be7e18fe1b24" providerId="AD" clId="Web-{90D97E94-7153-8D28-B44C-4635BCC2DDC0}" dt="2025-03-28T12:30:12.564" v="73" actId="1076"/>
          <ac:grpSpMkLst>
            <pc:docMk/>
            <pc:sldMk cId="3161152169" sldId="2147477035"/>
            <ac:grpSpMk id="29" creationId="{2A917310-E697-8ADE-F327-D34BB68ABE54}"/>
          </ac:grpSpMkLst>
        </pc:grpChg>
        <pc:grpChg chg="mod">
          <ac:chgData name="benjamin.barth@dlr.de" userId="S::benjamin.barth_dlr.de#ext#@antunibremen.onmicrosoft.com::125bcdd7-effb-4ed3-ab95-be7e18fe1b24" providerId="AD" clId="Web-{90D97E94-7153-8D28-B44C-4635BCC2DDC0}" dt="2025-03-28T12:30:12.596" v="74" actId="1076"/>
          <ac:grpSpMkLst>
            <pc:docMk/>
            <pc:sldMk cId="3161152169" sldId="2147477035"/>
            <ac:grpSpMk id="30" creationId="{C7F2F3A0-0C77-5B4B-C4CB-9422BF7065C4}"/>
          </ac:grpSpMkLst>
        </pc:grpChg>
        <pc:grpChg chg="mod">
          <ac:chgData name="benjamin.barth@dlr.de" userId="S::benjamin.barth_dlr.de#ext#@antunibremen.onmicrosoft.com::125bcdd7-effb-4ed3-ab95-be7e18fe1b24" providerId="AD" clId="Web-{90D97E94-7153-8D28-B44C-4635BCC2DDC0}" dt="2025-03-28T12:30:12.627" v="75" actId="1076"/>
          <ac:grpSpMkLst>
            <pc:docMk/>
            <pc:sldMk cId="3161152169" sldId="2147477035"/>
            <ac:grpSpMk id="31" creationId="{ED292FF1-8D66-FF26-789B-D270FC8A3138}"/>
          </ac:grpSpMkLst>
        </pc:grpChg>
        <pc:picChg chg="mod">
          <ac:chgData name="benjamin.barth@dlr.de" userId="S::benjamin.barth_dlr.de#ext#@antunibremen.onmicrosoft.com::125bcdd7-effb-4ed3-ab95-be7e18fe1b24" providerId="AD" clId="Web-{90D97E94-7153-8D28-B44C-4635BCC2DDC0}" dt="2025-03-28T12:30:01.126" v="39" actId="1076"/>
          <ac:picMkLst>
            <pc:docMk/>
            <pc:sldMk cId="3161152169" sldId="2147477035"/>
            <ac:picMk id="5" creationId="{AE9EDB91-A319-70D9-1528-2E40430069EB}"/>
          </ac:picMkLst>
        </pc:picChg>
        <pc:picChg chg="mod">
          <ac:chgData name="benjamin.barth@dlr.de" userId="S::benjamin.barth_dlr.de#ext#@antunibremen.onmicrosoft.com::125bcdd7-effb-4ed3-ab95-be7e18fe1b24" providerId="AD" clId="Web-{90D97E94-7153-8D28-B44C-4635BCC2DDC0}" dt="2025-03-28T12:30:01.142" v="40" actId="1076"/>
          <ac:picMkLst>
            <pc:docMk/>
            <pc:sldMk cId="3161152169" sldId="2147477035"/>
            <ac:picMk id="9" creationId="{815BC6AB-0348-AEF9-9107-8F93B098836A}"/>
          </ac:picMkLst>
        </pc:picChg>
        <pc:picChg chg="mod">
          <ac:chgData name="benjamin.barth@dlr.de" userId="S::benjamin.barth_dlr.de#ext#@antunibremen.onmicrosoft.com::125bcdd7-effb-4ed3-ab95-be7e18fe1b24" providerId="AD" clId="Web-{90D97E94-7153-8D28-B44C-4635BCC2DDC0}" dt="2025-03-28T12:30:01.158" v="41" actId="1076"/>
          <ac:picMkLst>
            <pc:docMk/>
            <pc:sldMk cId="3161152169" sldId="2147477035"/>
            <ac:picMk id="10" creationId="{96ABDCC8-94C0-0542-8BF9-12F2ACBDC021}"/>
          </ac:picMkLst>
        </pc:picChg>
        <pc:picChg chg="mod">
          <ac:chgData name="benjamin.barth@dlr.de" userId="S::benjamin.barth_dlr.de#ext#@antunibremen.onmicrosoft.com::125bcdd7-effb-4ed3-ab95-be7e18fe1b24" providerId="AD" clId="Web-{90D97E94-7153-8D28-B44C-4635BCC2DDC0}" dt="2025-03-28T12:30:01.173" v="42" actId="1076"/>
          <ac:picMkLst>
            <pc:docMk/>
            <pc:sldMk cId="3161152169" sldId="2147477035"/>
            <ac:picMk id="11" creationId="{B6923DA4-3FC6-5723-D1DD-3C1F9DCFDBC7}"/>
          </ac:picMkLst>
        </pc:picChg>
        <pc:picChg chg="mod">
          <ac:chgData name="benjamin.barth@dlr.de" userId="S::benjamin.barth_dlr.de#ext#@antunibremen.onmicrosoft.com::125bcdd7-effb-4ed3-ab95-be7e18fe1b24" providerId="AD" clId="Web-{90D97E94-7153-8D28-B44C-4635BCC2DDC0}" dt="2025-03-28T12:30:01.189" v="43" actId="1076"/>
          <ac:picMkLst>
            <pc:docMk/>
            <pc:sldMk cId="3161152169" sldId="2147477035"/>
            <ac:picMk id="12" creationId="{6EEADFA2-12D3-764D-0DDC-B5C994138C14}"/>
          </ac:picMkLst>
        </pc:picChg>
        <pc:picChg chg="mod">
          <ac:chgData name="benjamin.barth@dlr.de" userId="S::benjamin.barth_dlr.de#ext#@antunibremen.onmicrosoft.com::125bcdd7-effb-4ed3-ab95-be7e18fe1b24" providerId="AD" clId="Web-{90D97E94-7153-8D28-B44C-4635BCC2DDC0}" dt="2025-03-28T12:30:01.204" v="44" actId="1076"/>
          <ac:picMkLst>
            <pc:docMk/>
            <pc:sldMk cId="3161152169" sldId="2147477035"/>
            <ac:picMk id="13" creationId="{AF740C22-DCEE-0DD5-7D62-511F7B752B16}"/>
          </ac:picMkLst>
        </pc:picChg>
        <pc:picChg chg="mod">
          <ac:chgData name="benjamin.barth@dlr.de" userId="S::benjamin.barth_dlr.de#ext#@antunibremen.onmicrosoft.com::125bcdd7-effb-4ed3-ab95-be7e18fe1b24" providerId="AD" clId="Web-{90D97E94-7153-8D28-B44C-4635BCC2DDC0}" dt="2025-03-28T12:30:01.204" v="45" actId="1076"/>
          <ac:picMkLst>
            <pc:docMk/>
            <pc:sldMk cId="3161152169" sldId="2147477035"/>
            <ac:picMk id="14" creationId="{FA757B57-38D1-82F9-3359-A84CD0C2894B}"/>
          </ac:picMkLst>
        </pc:picChg>
        <pc:picChg chg="mod">
          <ac:chgData name="benjamin.barth@dlr.de" userId="S::benjamin.barth_dlr.de#ext#@antunibremen.onmicrosoft.com::125bcdd7-effb-4ed3-ab95-be7e18fe1b24" providerId="AD" clId="Web-{90D97E94-7153-8D28-B44C-4635BCC2DDC0}" dt="2025-03-28T12:30:01.220" v="46" actId="1076"/>
          <ac:picMkLst>
            <pc:docMk/>
            <pc:sldMk cId="3161152169" sldId="2147477035"/>
            <ac:picMk id="15" creationId="{BEBF5A51-05AD-62C6-193F-6231FE48A508}"/>
          </ac:picMkLst>
        </pc:picChg>
        <pc:picChg chg="mod">
          <ac:chgData name="benjamin.barth@dlr.de" userId="S::benjamin.barth_dlr.de#ext#@antunibremen.onmicrosoft.com::125bcdd7-effb-4ed3-ab95-be7e18fe1b24" providerId="AD" clId="Web-{90D97E94-7153-8D28-B44C-4635BCC2DDC0}" dt="2025-03-28T12:30:01.236" v="47" actId="1076"/>
          <ac:picMkLst>
            <pc:docMk/>
            <pc:sldMk cId="3161152169" sldId="2147477035"/>
            <ac:picMk id="16" creationId="{77EF512A-EAD7-EB6F-7627-6ED43E422664}"/>
          </ac:picMkLst>
        </pc:picChg>
        <pc:picChg chg="mod">
          <ac:chgData name="benjamin.barth@dlr.de" userId="S::benjamin.barth_dlr.de#ext#@antunibremen.onmicrosoft.com::125bcdd7-effb-4ed3-ab95-be7e18fe1b24" providerId="AD" clId="Web-{90D97E94-7153-8D28-B44C-4635BCC2DDC0}" dt="2025-03-28T12:30:01.251" v="48" actId="1076"/>
          <ac:picMkLst>
            <pc:docMk/>
            <pc:sldMk cId="3161152169" sldId="2147477035"/>
            <ac:picMk id="17" creationId="{A2DAE410-B42D-C4CD-560E-4DCE3C218604}"/>
          </ac:picMkLst>
        </pc:picChg>
        <pc:picChg chg="mod">
          <ac:chgData name="benjamin.barth@dlr.de" userId="S::benjamin.barth_dlr.de#ext#@antunibremen.onmicrosoft.com::125bcdd7-effb-4ed3-ab95-be7e18fe1b24" providerId="AD" clId="Web-{90D97E94-7153-8D28-B44C-4635BCC2DDC0}" dt="2025-03-28T12:30:12.439" v="68" actId="1076"/>
          <ac:picMkLst>
            <pc:docMk/>
            <pc:sldMk cId="3161152169" sldId="2147477035"/>
            <ac:picMk id="20" creationId="{B27B30C9-28F0-86B4-15FA-9A5808AC0888}"/>
          </ac:picMkLst>
        </pc:picChg>
        <pc:picChg chg="mod">
          <ac:chgData name="benjamin.barth@dlr.de" userId="S::benjamin.barth_dlr.de#ext#@antunibremen.onmicrosoft.com::125bcdd7-effb-4ed3-ab95-be7e18fe1b24" providerId="AD" clId="Web-{90D97E94-7153-8D28-B44C-4635BCC2DDC0}" dt="2025-03-28T12:30:12.455" v="69" actId="1076"/>
          <ac:picMkLst>
            <pc:docMk/>
            <pc:sldMk cId="3161152169" sldId="2147477035"/>
            <ac:picMk id="21" creationId="{E91FA08A-C47C-59D0-3007-6C5067A55BEA}"/>
          </ac:picMkLst>
        </pc:picChg>
        <pc:picChg chg="mod">
          <ac:chgData name="benjamin.barth@dlr.de" userId="S::benjamin.barth_dlr.de#ext#@antunibremen.onmicrosoft.com::125bcdd7-effb-4ed3-ab95-be7e18fe1b24" providerId="AD" clId="Web-{90D97E94-7153-8D28-B44C-4635BCC2DDC0}" dt="2025-03-28T12:30:12.517" v="71" actId="1076"/>
          <ac:picMkLst>
            <pc:docMk/>
            <pc:sldMk cId="3161152169" sldId="2147477035"/>
            <ac:picMk id="23" creationId="{E2443DFF-B876-1DB6-1FBB-B3F49DDB3D36}"/>
          </ac:picMkLst>
        </pc:picChg>
        <pc:picChg chg="mod">
          <ac:chgData name="benjamin.barth@dlr.de" userId="S::benjamin.barth_dlr.de#ext#@antunibremen.onmicrosoft.com::125bcdd7-effb-4ed3-ab95-be7e18fe1b24" providerId="AD" clId="Web-{90D97E94-7153-8D28-B44C-4635BCC2DDC0}" dt="2025-03-28T12:30:01.408" v="56" actId="1076"/>
          <ac:picMkLst>
            <pc:docMk/>
            <pc:sldMk cId="3161152169" sldId="2147477035"/>
            <ac:picMk id="25" creationId="{D29AD1F6-5F9C-ABB2-CDF1-25E4629284D7}"/>
          </ac:picMkLst>
        </pc:picChg>
        <pc:picChg chg="mod">
          <ac:chgData name="benjamin.barth@dlr.de" userId="S::benjamin.barth_dlr.de#ext#@antunibremen.onmicrosoft.com::125bcdd7-effb-4ed3-ab95-be7e18fe1b24" providerId="AD" clId="Web-{90D97E94-7153-8D28-B44C-4635BCC2DDC0}" dt="2025-03-28T12:30:01.439" v="57" actId="1076"/>
          <ac:picMkLst>
            <pc:docMk/>
            <pc:sldMk cId="3161152169" sldId="2147477035"/>
            <ac:picMk id="26" creationId="{748CBCD1-B999-C830-A7FC-4FD9253FF279}"/>
          </ac:picMkLst>
        </pc:picChg>
        <pc:picChg chg="mod">
          <ac:chgData name="benjamin.barth@dlr.de" userId="S::benjamin.barth_dlr.de#ext#@antunibremen.onmicrosoft.com::125bcdd7-effb-4ed3-ab95-be7e18fe1b24" providerId="AD" clId="Web-{90D97E94-7153-8D28-B44C-4635BCC2DDC0}" dt="2025-03-28T12:30:01.454" v="58" actId="1076"/>
          <ac:picMkLst>
            <pc:docMk/>
            <pc:sldMk cId="3161152169" sldId="2147477035"/>
            <ac:picMk id="27" creationId="{651E4FCA-DA50-E816-8EDD-E76788B3F727}"/>
          </ac:picMkLst>
        </pc:picChg>
        <pc:picChg chg="mod">
          <ac:chgData name="benjamin.barth@dlr.de" userId="S::benjamin.barth_dlr.de#ext#@antunibremen.onmicrosoft.com::125bcdd7-effb-4ed3-ab95-be7e18fe1b24" providerId="AD" clId="Web-{90D97E94-7153-8D28-B44C-4635BCC2DDC0}" dt="2025-03-28T12:30:01.470" v="59" actId="1076"/>
          <ac:picMkLst>
            <pc:docMk/>
            <pc:sldMk cId="3161152169" sldId="2147477035"/>
            <ac:picMk id="28" creationId="{AF5CC2FE-E708-4061-5AB8-576CBDE1A739}"/>
          </ac:picMkLst>
        </pc:picChg>
        <pc:picChg chg="mod">
          <ac:chgData name="benjamin.barth@dlr.de" userId="S::benjamin.barth_dlr.de#ext#@antunibremen.onmicrosoft.com::125bcdd7-effb-4ed3-ab95-be7e18fe1b24" providerId="AD" clId="Web-{90D97E94-7153-8D28-B44C-4635BCC2DDC0}" dt="2025-03-28T12:30:12.658" v="77" actId="1076"/>
          <ac:picMkLst>
            <pc:docMk/>
            <pc:sldMk cId="3161152169" sldId="2147477035"/>
            <ac:picMk id="33" creationId="{64A58B4F-6040-14E9-A892-5835F090782B}"/>
          </ac:picMkLst>
        </pc:picChg>
        <pc:picChg chg="mod">
          <ac:chgData name="benjamin.barth@dlr.de" userId="S::benjamin.barth_dlr.de#ext#@antunibremen.onmicrosoft.com::125bcdd7-effb-4ed3-ab95-be7e18fe1b24" providerId="AD" clId="Web-{90D97E94-7153-8D28-B44C-4635BCC2DDC0}" dt="2025-03-28T12:30:01.595" v="67" actId="1076"/>
          <ac:picMkLst>
            <pc:docMk/>
            <pc:sldMk cId="3161152169" sldId="2147477035"/>
            <ac:picMk id="38" creationId="{0700C5DE-F966-C058-8E3C-1305E4CD5E49}"/>
          </ac:picMkLst>
        </pc:picChg>
        <pc:cxnChg chg="mod">
          <ac:chgData name="benjamin.barth@dlr.de" userId="S::benjamin.barth_dlr.de#ext#@antunibremen.onmicrosoft.com::125bcdd7-effb-4ed3-ab95-be7e18fe1b24" providerId="AD" clId="Web-{90D97E94-7153-8D28-B44C-4635BCC2DDC0}" dt="2025-03-28T12:30:12.689" v="79" actId="1076"/>
          <ac:cxnSpMkLst>
            <pc:docMk/>
            <pc:sldMk cId="3161152169" sldId="2147477035"/>
            <ac:cxnSpMk id="35" creationId="{1354B18B-A6CC-8C4B-9B20-FE667393D6ED}"/>
          </ac:cxnSpMkLst>
        </pc:cxnChg>
      </pc:sldChg>
    </pc:docChg>
  </pc:docChgLst>
  <pc:docChgLst>
    <pc:chgData name="Dirk Wübben" userId="a27602df-5b54-480c-866c-64260ceb4949" providerId="ADAL" clId="{23A56439-26F0-4ACB-858D-80E69C34F3D7}"/>
    <pc:docChg chg="undo custSel addSld delSld modSld sldOrd addSection modSection">
      <pc:chgData name="Dirk Wübben" userId="a27602df-5b54-480c-866c-64260ceb4949" providerId="ADAL" clId="{23A56439-26F0-4ACB-858D-80E69C34F3D7}" dt="2024-09-18T16:30:38.628" v="222" actId="20577"/>
      <pc:docMkLst>
        <pc:docMk/>
      </pc:docMkLst>
      <pc:sldChg chg="modSp mod">
        <pc:chgData name="Dirk Wübben" userId="a27602df-5b54-480c-866c-64260ceb4949" providerId="ADAL" clId="{23A56439-26F0-4ACB-858D-80E69C34F3D7}" dt="2024-09-18T15:10:35.377" v="24" actId="20577"/>
        <pc:sldMkLst>
          <pc:docMk/>
          <pc:sldMk cId="0" sldId="258"/>
        </pc:sldMkLst>
      </pc:sldChg>
      <pc:sldChg chg="modSp mod">
        <pc:chgData name="Dirk Wübben" userId="a27602df-5b54-480c-866c-64260ceb4949" providerId="ADAL" clId="{23A56439-26F0-4ACB-858D-80E69C34F3D7}" dt="2024-09-18T15:11:06.811" v="98" actId="1038"/>
        <pc:sldMkLst>
          <pc:docMk/>
          <pc:sldMk cId="2277072009" sldId="409"/>
        </pc:sldMkLst>
      </pc:sldChg>
      <pc:sldChg chg="ord">
        <pc:chgData name="Dirk Wübben" userId="a27602df-5b54-480c-866c-64260ceb4949" providerId="ADAL" clId="{23A56439-26F0-4ACB-858D-80E69C34F3D7}" dt="2024-09-18T15:13:47.213" v="141"/>
        <pc:sldMkLst>
          <pc:docMk/>
          <pc:sldMk cId="4055870343" sldId="2147472502"/>
        </pc:sldMkLst>
      </pc:sldChg>
      <pc:sldChg chg="add del">
        <pc:chgData name="Dirk Wübben" userId="a27602df-5b54-480c-866c-64260ceb4949" providerId="ADAL" clId="{23A56439-26F0-4ACB-858D-80E69C34F3D7}" dt="2024-09-18T15:12:34.567" v="119" actId="47"/>
        <pc:sldMkLst>
          <pc:docMk/>
          <pc:sldMk cId="104511861" sldId="2147472510"/>
        </pc:sldMkLst>
      </pc:sldChg>
      <pc:sldChg chg="ord">
        <pc:chgData name="Dirk Wübben" userId="a27602df-5b54-480c-866c-64260ceb4949" providerId="ADAL" clId="{23A56439-26F0-4ACB-858D-80E69C34F3D7}" dt="2024-09-18T15:13:53.432" v="143"/>
        <pc:sldMkLst>
          <pc:docMk/>
          <pc:sldMk cId="2780177838" sldId="2147472511"/>
        </pc:sldMkLst>
      </pc:sldChg>
      <pc:sldChg chg="ord">
        <pc:chgData name="Dirk Wübben" userId="a27602df-5b54-480c-866c-64260ceb4949" providerId="ADAL" clId="{23A56439-26F0-4ACB-858D-80E69C34F3D7}" dt="2024-09-18T15:15:07.635" v="152"/>
        <pc:sldMkLst>
          <pc:docMk/>
          <pc:sldMk cId="3495942424" sldId="2147472513"/>
        </pc:sldMkLst>
      </pc:sldChg>
      <pc:sldChg chg="ord">
        <pc:chgData name="Dirk Wübben" userId="a27602df-5b54-480c-866c-64260ceb4949" providerId="ADAL" clId="{23A56439-26F0-4ACB-858D-80E69C34F3D7}" dt="2024-09-18T15:15:07.635" v="152"/>
        <pc:sldMkLst>
          <pc:docMk/>
          <pc:sldMk cId="4273766805" sldId="2147472515"/>
        </pc:sldMkLst>
      </pc:sldChg>
      <pc:sldChg chg="ord">
        <pc:chgData name="Dirk Wübben" userId="a27602df-5b54-480c-866c-64260ceb4949" providerId="ADAL" clId="{23A56439-26F0-4ACB-858D-80E69C34F3D7}" dt="2024-09-18T15:12:56.615" v="123"/>
        <pc:sldMkLst>
          <pc:docMk/>
          <pc:sldMk cId="600687088" sldId="2147472516"/>
        </pc:sldMkLst>
      </pc:sldChg>
      <pc:sldChg chg="add del">
        <pc:chgData name="Dirk Wübben" userId="a27602df-5b54-480c-866c-64260ceb4949" providerId="ADAL" clId="{23A56439-26F0-4ACB-858D-80E69C34F3D7}" dt="2024-09-18T15:12:34.567" v="119" actId="47"/>
        <pc:sldMkLst>
          <pc:docMk/>
          <pc:sldMk cId="727142129" sldId="2147472519"/>
        </pc:sldMkLst>
      </pc:sldChg>
      <pc:sldChg chg="add del">
        <pc:chgData name="Dirk Wübben" userId="a27602df-5b54-480c-866c-64260ceb4949" providerId="ADAL" clId="{23A56439-26F0-4ACB-858D-80E69C34F3D7}" dt="2024-09-18T15:12:34.567" v="119" actId="47"/>
        <pc:sldMkLst>
          <pc:docMk/>
          <pc:sldMk cId="1655634797" sldId="2147472520"/>
        </pc:sldMkLst>
      </pc:sldChg>
      <pc:sldChg chg="add del">
        <pc:chgData name="Dirk Wübben" userId="a27602df-5b54-480c-866c-64260ceb4949" providerId="ADAL" clId="{23A56439-26F0-4ACB-858D-80E69C34F3D7}" dt="2024-09-18T15:12:34.567" v="119" actId="47"/>
        <pc:sldMkLst>
          <pc:docMk/>
          <pc:sldMk cId="1786956514" sldId="2147472521"/>
        </pc:sldMkLst>
      </pc:sldChg>
      <pc:sldChg chg="addSp modSp mod">
        <pc:chgData name="Dirk Wübben" userId="a27602df-5b54-480c-866c-64260ceb4949" providerId="ADAL" clId="{23A56439-26F0-4ACB-858D-80E69C34F3D7}" dt="2024-09-18T15:11:33.097" v="113" actId="13822"/>
        <pc:sldMkLst>
          <pc:docMk/>
          <pc:sldMk cId="237492012" sldId="2147472535"/>
        </pc:sldMkLst>
      </pc:sldChg>
      <pc:sldChg chg="modSp mod">
        <pc:chgData name="Dirk Wübben" userId="a27602df-5b54-480c-866c-64260ceb4949" providerId="ADAL" clId="{23A56439-26F0-4ACB-858D-80E69C34F3D7}" dt="2024-09-18T15:16:28.325" v="165" actId="115"/>
        <pc:sldMkLst>
          <pc:docMk/>
          <pc:sldMk cId="4272447073" sldId="2147472540"/>
        </pc:sldMkLst>
      </pc:sldChg>
      <pc:sldChg chg="ord">
        <pc:chgData name="Dirk Wübben" userId="a27602df-5b54-480c-866c-64260ceb4949" providerId="ADAL" clId="{23A56439-26F0-4ACB-858D-80E69C34F3D7}" dt="2024-09-18T15:15:53.380" v="162"/>
        <pc:sldMkLst>
          <pc:docMk/>
          <pc:sldMk cId="1773697133" sldId="2147472545"/>
        </pc:sldMkLst>
      </pc:sldChg>
      <pc:sldChg chg="ord">
        <pc:chgData name="Dirk Wübben" userId="a27602df-5b54-480c-866c-64260ceb4949" providerId="ADAL" clId="{23A56439-26F0-4ACB-858D-80E69C34F3D7}" dt="2024-09-18T15:15:53.380" v="162"/>
        <pc:sldMkLst>
          <pc:docMk/>
          <pc:sldMk cId="1536693095" sldId="2147472546"/>
        </pc:sldMkLst>
      </pc:sldChg>
      <pc:sldChg chg="ord">
        <pc:chgData name="Dirk Wübben" userId="a27602df-5b54-480c-866c-64260ceb4949" providerId="ADAL" clId="{23A56439-26F0-4ACB-858D-80E69C34F3D7}" dt="2024-09-18T15:18:52.562" v="173"/>
        <pc:sldMkLst>
          <pc:docMk/>
          <pc:sldMk cId="4177113034" sldId="2147472550"/>
        </pc:sldMkLst>
      </pc:sldChg>
      <pc:sldChg chg="del">
        <pc:chgData name="Dirk Wübben" userId="a27602df-5b54-480c-866c-64260ceb4949" providerId="ADAL" clId="{23A56439-26F0-4ACB-858D-80E69C34F3D7}" dt="2024-09-18T15:12:38.448" v="121" actId="47"/>
        <pc:sldMkLst>
          <pc:docMk/>
          <pc:sldMk cId="2259278948" sldId="2147472553"/>
        </pc:sldMkLst>
      </pc:sldChg>
      <pc:sldChg chg="ord">
        <pc:chgData name="Dirk Wübben" userId="a27602df-5b54-480c-866c-64260ceb4949" providerId="ADAL" clId="{23A56439-26F0-4ACB-858D-80E69C34F3D7}" dt="2024-09-18T15:14:50.896" v="148"/>
        <pc:sldMkLst>
          <pc:docMk/>
          <pc:sldMk cId="95809100" sldId="2147472554"/>
        </pc:sldMkLst>
      </pc:sldChg>
      <pc:sldChg chg="ord">
        <pc:chgData name="Dirk Wübben" userId="a27602df-5b54-480c-866c-64260ceb4949" providerId="ADAL" clId="{23A56439-26F0-4ACB-858D-80E69C34F3D7}" dt="2024-09-18T15:13:47.213" v="141"/>
        <pc:sldMkLst>
          <pc:docMk/>
          <pc:sldMk cId="4196284054" sldId="2147472557"/>
        </pc:sldMkLst>
      </pc:sldChg>
      <pc:sldChg chg="ord">
        <pc:chgData name="Dirk Wübben" userId="a27602df-5b54-480c-866c-64260ceb4949" providerId="ADAL" clId="{23A56439-26F0-4ACB-858D-80E69C34F3D7}" dt="2024-09-18T15:14:54.305" v="150"/>
        <pc:sldMkLst>
          <pc:docMk/>
          <pc:sldMk cId="2885984354" sldId="2147472558"/>
        </pc:sldMkLst>
      </pc:sldChg>
      <pc:sldChg chg="ord">
        <pc:chgData name="Dirk Wübben" userId="a27602df-5b54-480c-866c-64260ceb4949" providerId="ADAL" clId="{23A56439-26F0-4ACB-858D-80E69C34F3D7}" dt="2024-09-18T15:14:50.896" v="148"/>
        <pc:sldMkLst>
          <pc:docMk/>
          <pc:sldMk cId="1962824018" sldId="2147472559"/>
        </pc:sldMkLst>
      </pc:sldChg>
      <pc:sldChg chg="ord">
        <pc:chgData name="Dirk Wübben" userId="a27602df-5b54-480c-866c-64260ceb4949" providerId="ADAL" clId="{23A56439-26F0-4ACB-858D-80E69C34F3D7}" dt="2024-09-18T15:14:50.896" v="148"/>
        <pc:sldMkLst>
          <pc:docMk/>
          <pc:sldMk cId="2703493096" sldId="2147472560"/>
        </pc:sldMkLst>
      </pc:sldChg>
      <pc:sldChg chg="ord">
        <pc:chgData name="Dirk Wübben" userId="a27602df-5b54-480c-866c-64260ceb4949" providerId="ADAL" clId="{23A56439-26F0-4ACB-858D-80E69C34F3D7}" dt="2024-09-18T15:13:07.201" v="125"/>
        <pc:sldMkLst>
          <pc:docMk/>
          <pc:sldMk cId="4240751118" sldId="2147472561"/>
        </pc:sldMkLst>
      </pc:sldChg>
      <pc:sldChg chg="modSp mod ord">
        <pc:chgData name="Dirk Wübben" userId="a27602df-5b54-480c-866c-64260ceb4949" providerId="ADAL" clId="{23A56439-26F0-4ACB-858D-80E69C34F3D7}" dt="2024-09-18T16:30:38.628" v="222" actId="20577"/>
        <pc:sldMkLst>
          <pc:docMk/>
          <pc:sldMk cId="1463133876" sldId="2147472564"/>
        </pc:sldMkLst>
      </pc:sldChg>
      <pc:sldChg chg="modSp mod">
        <pc:chgData name="Dirk Wübben" userId="a27602df-5b54-480c-866c-64260ceb4949" providerId="ADAL" clId="{23A56439-26F0-4ACB-858D-80E69C34F3D7}" dt="2024-09-18T15:13:16.274" v="139" actId="20577"/>
        <pc:sldMkLst>
          <pc:docMk/>
          <pc:sldMk cId="715461091" sldId="2147472565"/>
        </pc:sldMkLst>
      </pc:sldChg>
      <pc:sldChg chg="new ord">
        <pc:chgData name="Dirk Wübben" userId="a27602df-5b54-480c-866c-64260ceb4949" providerId="ADAL" clId="{23A56439-26F0-4ACB-858D-80E69C34F3D7}" dt="2024-09-18T15:12:32.862" v="118"/>
        <pc:sldMkLst>
          <pc:docMk/>
          <pc:sldMk cId="3711600815" sldId="2147472566"/>
        </pc:sldMkLst>
      </pc:sldChg>
      <pc:sldChg chg="add ord">
        <pc:chgData name="Dirk Wübben" userId="a27602df-5b54-480c-866c-64260ceb4949" providerId="ADAL" clId="{23A56439-26F0-4ACB-858D-80E69C34F3D7}" dt="2024-09-18T15:13:53.432" v="143"/>
        <pc:sldMkLst>
          <pc:docMk/>
          <pc:sldMk cId="2400852674" sldId="2147472567"/>
        </pc:sldMkLst>
      </pc:sldChg>
      <pc:sldChg chg="add del">
        <pc:chgData name="Dirk Wübben" userId="a27602df-5b54-480c-866c-64260ceb4949" providerId="ADAL" clId="{23A56439-26F0-4ACB-858D-80E69C34F3D7}" dt="2024-09-18T15:17:15.099" v="168" actId="47"/>
        <pc:sldMkLst>
          <pc:docMk/>
          <pc:sldMk cId="1581096663" sldId="2147472568"/>
        </pc:sldMkLst>
      </pc:sldChg>
      <pc:sldChg chg="add">
        <pc:chgData name="Dirk Wübben" userId="a27602df-5b54-480c-866c-64260ceb4949" providerId="ADAL" clId="{23A56439-26F0-4ACB-858D-80E69C34F3D7}" dt="2024-09-18T15:17:17.533" v="169"/>
        <pc:sldMkLst>
          <pc:docMk/>
          <pc:sldMk cId="3936702495" sldId="2147472569"/>
        </pc:sldMkLst>
      </pc:sldChg>
      <pc:sldChg chg="modSp add mod">
        <pc:chgData name="Dirk Wübben" userId="a27602df-5b54-480c-866c-64260ceb4949" providerId="ADAL" clId="{23A56439-26F0-4ACB-858D-80E69C34F3D7}" dt="2024-09-18T15:19:00.053" v="184" actId="6549"/>
        <pc:sldMkLst>
          <pc:docMk/>
          <pc:sldMk cId="2423869233" sldId="2147472570"/>
        </pc:sldMkLst>
      </pc:sldChg>
      <pc:sldChg chg="add del">
        <pc:chgData name="Dirk Wübben" userId="a27602df-5b54-480c-866c-64260ceb4949" providerId="ADAL" clId="{23A56439-26F0-4ACB-858D-80E69C34F3D7}" dt="2024-09-18T15:17:31.464" v="171" actId="47"/>
        <pc:sldMkLst>
          <pc:docMk/>
          <pc:sldMk cId="3122510097" sldId="2147472570"/>
        </pc:sldMkLst>
      </pc:sldChg>
    </pc:docChg>
  </pc:docChgLst>
  <pc:docChgLst>
    <pc:chgData name="Dirk Wübben" userId="a27602df-5b54-480c-866c-64260ceb4949" providerId="ADAL" clId="{7162790A-E281-4BC1-9C57-48011993EB4E}"/>
    <pc:docChg chg="undo redo custSel addSld delSld modSld modSection">
      <pc:chgData name="Dirk Wübben" userId="a27602df-5b54-480c-866c-64260ceb4949" providerId="ADAL" clId="{7162790A-E281-4BC1-9C57-48011993EB4E}" dt="2024-03-12T11:55:16.089" v="480" actId="20577"/>
      <pc:docMkLst>
        <pc:docMk/>
      </pc:docMkLst>
      <pc:sldChg chg="modSp mod">
        <pc:chgData name="Dirk Wübben" userId="a27602df-5b54-480c-866c-64260ceb4949" providerId="ADAL" clId="{7162790A-E281-4BC1-9C57-48011993EB4E}" dt="2024-03-11T13:47:07.793" v="239" actId="20577"/>
        <pc:sldMkLst>
          <pc:docMk/>
          <pc:sldMk cId="600687088" sldId="2147472516"/>
        </pc:sldMkLst>
      </pc:sldChg>
      <pc:sldChg chg="delCm">
        <pc:chgData name="Dirk Wübben" userId="a27602df-5b54-480c-866c-64260ceb4949" providerId="ADAL" clId="{7162790A-E281-4BC1-9C57-48011993EB4E}" dt="2024-03-10T16:00:55.788" v="97"/>
        <pc:sldMkLst>
          <pc:docMk/>
          <pc:sldMk cId="237492012" sldId="2147472535"/>
        </pc:sldMkLst>
      </pc:sldChg>
      <pc:sldChg chg="del">
        <pc:chgData name="Dirk Wübben" userId="a27602df-5b54-480c-866c-64260ceb4949" providerId="ADAL" clId="{7162790A-E281-4BC1-9C57-48011993EB4E}" dt="2024-03-11T12:28:32.281" v="98" actId="47"/>
        <pc:sldMkLst>
          <pc:docMk/>
          <pc:sldMk cId="291196983" sldId="2147472536"/>
        </pc:sldMkLst>
      </pc:sldChg>
      <pc:sldChg chg="modSp mod">
        <pc:chgData name="Dirk Wübben" userId="a27602df-5b54-480c-866c-64260ceb4949" providerId="ADAL" clId="{7162790A-E281-4BC1-9C57-48011993EB4E}" dt="2024-03-10T15:41:02.072" v="53" actId="6549"/>
        <pc:sldMkLst>
          <pc:docMk/>
          <pc:sldMk cId="3719215840" sldId="2147472539"/>
        </pc:sldMkLst>
      </pc:sldChg>
      <pc:sldChg chg="modSp mod">
        <pc:chgData name="Dirk Wübben" userId="a27602df-5b54-480c-866c-64260ceb4949" providerId="ADAL" clId="{7162790A-E281-4BC1-9C57-48011993EB4E}" dt="2024-03-10T15:42:22.500" v="95" actId="20577"/>
        <pc:sldMkLst>
          <pc:docMk/>
          <pc:sldMk cId="4272447073" sldId="2147472540"/>
        </pc:sldMkLst>
      </pc:sldChg>
      <pc:sldChg chg="modSp mod">
        <pc:chgData name="Dirk Wübben" userId="a27602df-5b54-480c-866c-64260ceb4949" providerId="ADAL" clId="{7162790A-E281-4BC1-9C57-48011993EB4E}" dt="2024-03-12T08:14:21.843" v="436" actId="20577"/>
        <pc:sldMkLst>
          <pc:docMk/>
          <pc:sldMk cId="1773697133" sldId="2147472545"/>
        </pc:sldMkLst>
      </pc:sldChg>
      <pc:sldChg chg="addSp delSp modSp mod modClrScheme chgLayout">
        <pc:chgData name="Dirk Wübben" userId="a27602df-5b54-480c-866c-64260ceb4949" providerId="ADAL" clId="{7162790A-E281-4BC1-9C57-48011993EB4E}" dt="2024-03-12T08:12:55.105" v="423" actId="20577"/>
        <pc:sldMkLst>
          <pc:docMk/>
          <pc:sldMk cId="106407812" sldId="2147472547"/>
        </pc:sldMkLst>
      </pc:sldChg>
      <pc:sldChg chg="modSp mod">
        <pc:chgData name="Dirk Wübben" userId="a27602df-5b54-480c-866c-64260ceb4949" providerId="ADAL" clId="{7162790A-E281-4BC1-9C57-48011993EB4E}" dt="2024-03-12T08:13:53.648" v="430" actId="20577"/>
        <pc:sldMkLst>
          <pc:docMk/>
          <pc:sldMk cId="811786820" sldId="2147472548"/>
        </pc:sldMkLst>
      </pc:sldChg>
      <pc:sldChg chg="delSp modSp mod modClrScheme chgLayout">
        <pc:chgData name="Dirk Wübben" userId="a27602df-5b54-480c-866c-64260ceb4949" providerId="ADAL" clId="{7162790A-E281-4BC1-9C57-48011993EB4E}" dt="2024-03-12T11:55:16.089" v="480" actId="20577"/>
        <pc:sldMkLst>
          <pc:docMk/>
          <pc:sldMk cId="319463743" sldId="2147472549"/>
        </pc:sldMkLst>
      </pc:sldChg>
      <pc:sldChg chg="modSp mod">
        <pc:chgData name="Dirk Wübben" userId="a27602df-5b54-480c-866c-64260ceb4949" providerId="ADAL" clId="{7162790A-E281-4BC1-9C57-48011993EB4E}" dt="2024-03-12T07:47:57.274" v="256" actId="20577"/>
        <pc:sldMkLst>
          <pc:docMk/>
          <pc:sldMk cId="4177113034" sldId="2147472550"/>
        </pc:sldMkLst>
      </pc:sldChg>
      <pc:sldChg chg="addSp delSp modSp add mod">
        <pc:chgData name="Dirk Wübben" userId="a27602df-5b54-480c-866c-64260ceb4949" providerId="ADAL" clId="{7162790A-E281-4BC1-9C57-48011993EB4E}" dt="2024-03-12T07:46:18.822" v="244" actId="1076"/>
        <pc:sldMkLst>
          <pc:docMk/>
          <pc:sldMk cId="1830304761" sldId="2147472562"/>
        </pc:sldMkLst>
      </pc:sldChg>
      <pc:sldChg chg="modSp add mod">
        <pc:chgData name="Dirk Wübben" userId="a27602df-5b54-480c-866c-64260ceb4949" providerId="ADAL" clId="{7162790A-E281-4BC1-9C57-48011993EB4E}" dt="2024-03-12T07:50:14.632" v="316" actId="20577"/>
        <pc:sldMkLst>
          <pc:docMk/>
          <pc:sldMk cId="1463133876" sldId="2147472564"/>
        </pc:sldMkLst>
      </pc:sldChg>
      <pc:sldChg chg="addSp modSp new mod chgLayout">
        <pc:chgData name="Dirk Wübben" userId="a27602df-5b54-480c-866c-64260ceb4949" providerId="ADAL" clId="{7162790A-E281-4BC1-9C57-48011993EB4E}" dt="2024-03-12T08:06:22.388" v="410" actId="6549"/>
        <pc:sldMkLst>
          <pc:docMk/>
          <pc:sldMk cId="715461091" sldId="2147472565"/>
        </pc:sldMkLst>
      </pc:sldChg>
    </pc:docChg>
  </pc:docChgLst>
  <pc:docChgLst>
    <pc:chgData name="jan.buchholz@imst.de" userId="S::jan.buchholz_imst.de#ext#@antunibremen.onmicrosoft.com::32a6142b-abe6-465a-b35e-cd845930b28f" providerId="AD" clId="Web-{7881527B-EBBE-C421-BBDC-94DE3749B151}"/>
    <pc:docChg chg="addSld delSld modSld sldOrd modSection">
      <pc:chgData name="jan.buchholz@imst.de" userId="S::jan.buchholz_imst.de#ext#@antunibremen.onmicrosoft.com::32a6142b-abe6-465a-b35e-cd845930b28f" providerId="AD" clId="Web-{7881527B-EBBE-C421-BBDC-94DE3749B151}" dt="2024-10-18T11:48:40.812" v="466"/>
      <pc:docMkLst>
        <pc:docMk/>
      </pc:docMkLst>
      <pc:sldChg chg="modSp add">
        <pc:chgData name="jan.buchholz@imst.de" userId="S::jan.buchholz_imst.de#ext#@antunibremen.onmicrosoft.com::32a6142b-abe6-465a-b35e-cd845930b28f" providerId="AD" clId="Web-{7881527B-EBBE-C421-BBDC-94DE3749B151}" dt="2024-10-18T11:20:52.195" v="15" actId="20577"/>
        <pc:sldMkLst>
          <pc:docMk/>
          <pc:sldMk cId="104511861" sldId="2147472510"/>
        </pc:sldMkLst>
      </pc:sldChg>
      <pc:sldChg chg="addSp delSp modSp add">
        <pc:chgData name="jan.buchholz@imst.de" userId="S::jan.buchholz_imst.de#ext#@antunibremen.onmicrosoft.com::32a6142b-abe6-465a-b35e-cd845930b28f" providerId="AD" clId="Web-{7881527B-EBBE-C421-BBDC-94DE3749B151}" dt="2024-10-18T11:48:22.812" v="464" actId="20577"/>
        <pc:sldMkLst>
          <pc:docMk/>
          <pc:sldMk cId="727142129" sldId="2147472519"/>
        </pc:sldMkLst>
      </pc:sldChg>
      <pc:sldChg chg="addSp modSp add ord">
        <pc:chgData name="jan.buchholz@imst.de" userId="S::jan.buchholz_imst.de#ext#@antunibremen.onmicrosoft.com::32a6142b-abe6-465a-b35e-cd845930b28f" providerId="AD" clId="Web-{7881527B-EBBE-C421-BBDC-94DE3749B151}" dt="2024-10-18T11:25:36.689" v="159"/>
        <pc:sldMkLst>
          <pc:docMk/>
          <pc:sldMk cId="1655634797" sldId="2147472520"/>
        </pc:sldMkLst>
      </pc:sldChg>
      <pc:sldChg chg="modSp add del ord">
        <pc:chgData name="jan.buchholz@imst.de" userId="S::jan.buchholz_imst.de#ext#@antunibremen.onmicrosoft.com::32a6142b-abe6-465a-b35e-cd845930b28f" providerId="AD" clId="Web-{7881527B-EBBE-C421-BBDC-94DE3749B151}" dt="2024-10-18T11:48:36.953" v="465"/>
        <pc:sldMkLst>
          <pc:docMk/>
          <pc:sldMk cId="1786956514" sldId="2147472521"/>
        </pc:sldMkLst>
      </pc:sldChg>
      <pc:sldChg chg="del">
        <pc:chgData name="jan.buchholz@imst.de" userId="S::jan.buchholz_imst.de#ext#@antunibremen.onmicrosoft.com::32a6142b-abe6-465a-b35e-cd845930b28f" providerId="AD" clId="Web-{7881527B-EBBE-C421-BBDC-94DE3749B151}" dt="2024-10-18T11:48:40.812" v="466"/>
        <pc:sldMkLst>
          <pc:docMk/>
          <pc:sldMk cId="3711600815" sldId="2147472566"/>
        </pc:sldMkLst>
      </pc:sldChg>
      <pc:sldChg chg="modSp add replId">
        <pc:chgData name="jan.buchholz@imst.de" userId="S::jan.buchholz_imst.de#ext#@antunibremen.onmicrosoft.com::32a6142b-abe6-465a-b35e-cd845930b28f" providerId="AD" clId="Web-{7881527B-EBBE-C421-BBDC-94DE3749B151}" dt="2024-10-18T11:25:51.330" v="161" actId="20577"/>
        <pc:sldMkLst>
          <pc:docMk/>
          <pc:sldMk cId="2158314366" sldId="2147476895"/>
        </pc:sldMkLst>
      </pc:sldChg>
      <pc:sldChg chg="addSp delSp modSp new">
        <pc:chgData name="jan.buchholz@imst.de" userId="S::jan.buchholz_imst.de#ext#@antunibremen.onmicrosoft.com::32a6142b-abe6-465a-b35e-cd845930b28f" providerId="AD" clId="Web-{7881527B-EBBE-C421-BBDC-94DE3749B151}" dt="2024-10-18T11:36:22.398" v="405"/>
        <pc:sldMkLst>
          <pc:docMk/>
          <pc:sldMk cId="3279944619" sldId="2147476896"/>
        </pc:sldMkLst>
      </pc:sldChg>
    </pc:docChg>
  </pc:docChgLst>
  <pc:docChgLst>
    <pc:chgData name="Johannes Demel" userId="S::demel@ant.uni-bremen.de::aeb5a5a0-aa24-4948-b3bb-243bfd1d98fe" providerId="AD" clId="Web-{C2A93345-11E4-124C-7C3C-5500AFFD1430}"/>
    <pc:docChg chg="addSld modSld">
      <pc:chgData name="Johannes Demel" userId="S::demel@ant.uni-bremen.de::aeb5a5a0-aa24-4948-b3bb-243bfd1d98fe" providerId="AD" clId="Web-{C2A93345-11E4-124C-7C3C-5500AFFD1430}" dt="2023-04-25T12:33:12.327" v="260" actId="20577"/>
      <pc:docMkLst>
        <pc:docMk/>
      </pc:docMkLst>
      <pc:sldChg chg="modSp new">
        <pc:chgData name="Johannes Demel" userId="S::demel@ant.uni-bremen.de::aeb5a5a0-aa24-4948-b3bb-243bfd1d98fe" providerId="AD" clId="Web-{C2A93345-11E4-124C-7C3C-5500AFFD1430}" dt="2023-04-25T12:33:12.327" v="260" actId="20577"/>
        <pc:sldMkLst>
          <pc:docMk/>
          <pc:sldMk cId="3199516498" sldId="2147472499"/>
        </pc:sldMkLst>
      </pc:sldChg>
    </pc:docChg>
  </pc:docChgLst>
  <pc:docChgLst>
    <pc:chgData name="Breitbach, Markus" userId="3a53c396-6358-48c2-abee-5fcc35806ccb" providerId="ADAL" clId="{96FB3121-84A3-48F6-B914-869E0D30CD1E}"/>
    <pc:docChg chg="undo custSel addSld delSld modSld sldOrd modSection">
      <pc:chgData name="Breitbach, Markus" userId="3a53c396-6358-48c2-abee-5fcc35806ccb" providerId="ADAL" clId="{96FB3121-84A3-48F6-B914-869E0D30CD1E}" dt="2025-03-28T13:26:35.875" v="1317"/>
      <pc:docMkLst>
        <pc:docMk/>
      </pc:docMkLst>
      <pc:sldChg chg="addSp delSp modSp mod chgLayout modNotesTx">
        <pc:chgData name="Breitbach, Markus" userId="3a53c396-6358-48c2-abee-5fcc35806ccb" providerId="ADAL" clId="{96FB3121-84A3-48F6-B914-869E0D30CD1E}" dt="2025-03-28T13:26:35.875" v="1317"/>
        <pc:sldMkLst>
          <pc:docMk/>
          <pc:sldMk cId="1673204685" sldId="285"/>
        </pc:sldMkLst>
        <pc:spChg chg="mod ord">
          <ac:chgData name="Breitbach, Markus" userId="3a53c396-6358-48c2-abee-5fcc35806ccb" providerId="ADAL" clId="{96FB3121-84A3-48F6-B914-869E0D30CD1E}" dt="2025-03-28T13:26:13.421" v="1305" actId="700"/>
          <ac:spMkLst>
            <pc:docMk/>
            <pc:sldMk cId="1673204685" sldId="285"/>
            <ac:spMk id="5" creationId="{14A49D94-6F22-4FB3-AF78-C20985F7A7C6}"/>
          </ac:spMkLst>
        </pc:spChg>
        <pc:spChg chg="mod ord">
          <ac:chgData name="Breitbach, Markus" userId="3a53c396-6358-48c2-abee-5fcc35806ccb" providerId="ADAL" clId="{96FB3121-84A3-48F6-B914-869E0D30CD1E}" dt="2025-03-28T13:26:13.421" v="1305" actId="700"/>
          <ac:spMkLst>
            <pc:docMk/>
            <pc:sldMk cId="1673204685" sldId="285"/>
            <ac:spMk id="7" creationId="{102D0D86-8DC9-4BF0-88E4-A6B37A846845}"/>
          </ac:spMkLst>
        </pc:spChg>
        <pc:spChg chg="mod ord">
          <ac:chgData name="Breitbach, Markus" userId="3a53c396-6358-48c2-abee-5fcc35806ccb" providerId="ADAL" clId="{96FB3121-84A3-48F6-B914-869E0D30CD1E}" dt="2025-03-28T13:26:13.421" v="1305" actId="700"/>
          <ac:spMkLst>
            <pc:docMk/>
            <pc:sldMk cId="1673204685" sldId="285"/>
            <ac:spMk id="8" creationId="{3090E32B-B750-4164-BB98-9235484AE550}"/>
          </ac:spMkLst>
        </pc:spChg>
        <pc:spChg chg="mod ord">
          <ac:chgData name="Breitbach, Markus" userId="3a53c396-6358-48c2-abee-5fcc35806ccb" providerId="ADAL" clId="{96FB3121-84A3-48F6-B914-869E0D30CD1E}" dt="2025-03-28T13:26:13.421" v="1305" actId="700"/>
          <ac:spMkLst>
            <pc:docMk/>
            <pc:sldMk cId="1673204685" sldId="285"/>
            <ac:spMk id="9" creationId="{F670715D-EAAF-485D-88B9-9BE48B9432F3}"/>
          </ac:spMkLst>
        </pc:spChg>
        <pc:spChg chg="mod ord">
          <ac:chgData name="Breitbach, Markus" userId="3a53c396-6358-48c2-abee-5fcc35806ccb" providerId="ADAL" clId="{96FB3121-84A3-48F6-B914-869E0D30CD1E}" dt="2025-03-28T13:26:13.421" v="1305" actId="700"/>
          <ac:spMkLst>
            <pc:docMk/>
            <pc:sldMk cId="1673204685" sldId="285"/>
            <ac:spMk id="11" creationId="{A16B7E54-4F2C-4F52-8EA9-8DBEAAC461B3}"/>
          </ac:spMkLst>
        </pc:spChg>
        <pc:picChg chg="add mod">
          <ac:chgData name="Breitbach, Markus" userId="3a53c396-6358-48c2-abee-5fcc35806ccb" providerId="ADAL" clId="{96FB3121-84A3-48F6-B914-869E0D30CD1E}" dt="2025-03-28T13:26:25.186" v="1311"/>
          <ac:picMkLst>
            <pc:docMk/>
            <pc:sldMk cId="1673204685" sldId="285"/>
            <ac:picMk id="12" creationId="{C643DA7E-FE1B-E6E8-2BD9-64DE785413FD}"/>
          </ac:picMkLst>
        </pc:picChg>
        <pc:picChg chg="add mod">
          <ac:chgData name="Breitbach, Markus" userId="3a53c396-6358-48c2-abee-5fcc35806ccb" providerId="ADAL" clId="{96FB3121-84A3-48F6-B914-869E0D30CD1E}" dt="2025-03-28T13:26:28.756" v="1313"/>
          <ac:picMkLst>
            <pc:docMk/>
            <pc:sldMk cId="1673204685" sldId="285"/>
            <ac:picMk id="13" creationId="{18CC4491-F3F5-6E12-7993-1BDE03C7B6DF}"/>
          </ac:picMkLst>
        </pc:picChg>
        <pc:picChg chg="add mod">
          <ac:chgData name="Breitbach, Markus" userId="3a53c396-6358-48c2-abee-5fcc35806ccb" providerId="ADAL" clId="{96FB3121-84A3-48F6-B914-869E0D30CD1E}" dt="2025-03-28T13:26:32.481" v="1315"/>
          <ac:picMkLst>
            <pc:docMk/>
            <pc:sldMk cId="1673204685" sldId="285"/>
            <ac:picMk id="14" creationId="{A3F7809E-2C1A-20CE-9A30-65C62C31AE09}"/>
          </ac:picMkLst>
        </pc:picChg>
        <pc:picChg chg="add mod">
          <ac:chgData name="Breitbach, Markus" userId="3a53c396-6358-48c2-abee-5fcc35806ccb" providerId="ADAL" clId="{96FB3121-84A3-48F6-B914-869E0D30CD1E}" dt="2025-03-28T13:26:35.875" v="1317"/>
          <ac:picMkLst>
            <pc:docMk/>
            <pc:sldMk cId="1673204685" sldId="285"/>
            <ac:picMk id="15" creationId="{D134B75E-ACD8-64D1-4390-F95B8A50B556}"/>
          </ac:picMkLst>
        </pc:picChg>
      </pc:sldChg>
      <pc:sldChg chg="addSp delSp modSp mod modNotesTx">
        <pc:chgData name="Breitbach, Markus" userId="3a53c396-6358-48c2-abee-5fcc35806ccb" providerId="ADAL" clId="{96FB3121-84A3-48F6-B914-869E0D30CD1E}" dt="2025-03-28T13:17:33.893" v="1291"/>
        <pc:sldMkLst>
          <pc:docMk/>
          <pc:sldMk cId="473860687" sldId="286"/>
        </pc:sldMkLst>
        <pc:picChg chg="add mod modCrop">
          <ac:chgData name="Breitbach, Markus" userId="3a53c396-6358-48c2-abee-5fcc35806ccb" providerId="ADAL" clId="{96FB3121-84A3-48F6-B914-869E0D30CD1E}" dt="2025-03-25T18:08:08.618" v="623" actId="1076"/>
          <ac:picMkLst>
            <pc:docMk/>
            <pc:sldMk cId="473860687" sldId="286"/>
            <ac:picMk id="10" creationId="{FBC2D5B9-6EE7-29C5-D7E4-D6BA3689FA0B}"/>
          </ac:picMkLst>
        </pc:picChg>
        <pc:picChg chg="add mod">
          <ac:chgData name="Breitbach, Markus" userId="3a53c396-6358-48c2-abee-5fcc35806ccb" providerId="ADAL" clId="{96FB3121-84A3-48F6-B914-869E0D30CD1E}" dt="2025-03-28T13:17:33.893" v="1291"/>
          <ac:picMkLst>
            <pc:docMk/>
            <pc:sldMk cId="473860687" sldId="286"/>
            <ac:picMk id="14" creationId="{594B5592-4C85-3C55-AA55-067B4DDABD57}"/>
          </ac:picMkLst>
        </pc:picChg>
      </pc:sldChg>
      <pc:sldChg chg="addSp delSp modSp mod chgLayout modNotesTx">
        <pc:chgData name="Breitbach, Markus" userId="3a53c396-6358-48c2-abee-5fcc35806ccb" providerId="ADAL" clId="{96FB3121-84A3-48F6-B914-869E0D30CD1E}" dt="2025-03-28T13:02:06.047" v="1286" actId="962"/>
        <pc:sldMkLst>
          <pc:docMk/>
          <pc:sldMk cId="1641422220" sldId="288"/>
        </pc:sldMkLst>
        <pc:spChg chg="mod ord">
          <ac:chgData name="Breitbach, Markus" userId="3a53c396-6358-48c2-abee-5fcc35806ccb" providerId="ADAL" clId="{96FB3121-84A3-48F6-B914-869E0D30CD1E}" dt="2025-03-28T13:00:26.722" v="1281" actId="700"/>
          <ac:spMkLst>
            <pc:docMk/>
            <pc:sldMk cId="1641422220" sldId="288"/>
            <ac:spMk id="2" creationId="{B3F37D34-2907-4CEF-B5C0-76F80398E4A7}"/>
          </ac:spMkLst>
        </pc:spChg>
        <pc:spChg chg="mod ord">
          <ac:chgData name="Breitbach, Markus" userId="3a53c396-6358-48c2-abee-5fcc35806ccb" providerId="ADAL" clId="{96FB3121-84A3-48F6-B914-869E0D30CD1E}" dt="2025-03-28T13:00:26.722" v="1281" actId="700"/>
          <ac:spMkLst>
            <pc:docMk/>
            <pc:sldMk cId="1641422220" sldId="288"/>
            <ac:spMk id="3" creationId="{24A987B4-8126-4C6A-9ECA-CBE476367B4B}"/>
          </ac:spMkLst>
        </pc:spChg>
        <pc:spChg chg="mod ord">
          <ac:chgData name="Breitbach, Markus" userId="3a53c396-6358-48c2-abee-5fcc35806ccb" providerId="ADAL" clId="{96FB3121-84A3-48F6-B914-869E0D30CD1E}" dt="2025-03-28T13:00:26.722" v="1281" actId="700"/>
          <ac:spMkLst>
            <pc:docMk/>
            <pc:sldMk cId="1641422220" sldId="288"/>
            <ac:spMk id="5" creationId="{6A2776D3-E035-4D67-8166-CB3F8F2F7BE1}"/>
          </ac:spMkLst>
        </pc:spChg>
        <pc:spChg chg="mod ord">
          <ac:chgData name="Breitbach, Markus" userId="3a53c396-6358-48c2-abee-5fcc35806ccb" providerId="ADAL" clId="{96FB3121-84A3-48F6-B914-869E0D30CD1E}" dt="2025-03-28T13:00:26.722" v="1281" actId="700"/>
          <ac:spMkLst>
            <pc:docMk/>
            <pc:sldMk cId="1641422220" sldId="288"/>
            <ac:spMk id="7" creationId="{22FE73DD-8DEC-4C0D-80AE-75316F5E2052}"/>
          </ac:spMkLst>
        </pc:spChg>
        <pc:spChg chg="mod ord">
          <ac:chgData name="Breitbach, Markus" userId="3a53c396-6358-48c2-abee-5fcc35806ccb" providerId="ADAL" clId="{96FB3121-84A3-48F6-B914-869E0D30CD1E}" dt="2025-03-28T13:00:26.722" v="1281" actId="700"/>
          <ac:spMkLst>
            <pc:docMk/>
            <pc:sldMk cId="1641422220" sldId="288"/>
            <ac:spMk id="9" creationId="{555721A3-B5F3-48DA-A706-93023FAEB371}"/>
          </ac:spMkLst>
        </pc:spChg>
        <pc:picChg chg="add mod ord">
          <ac:chgData name="Breitbach, Markus" userId="3a53c396-6358-48c2-abee-5fcc35806ccb" providerId="ADAL" clId="{96FB3121-84A3-48F6-B914-869E0D30CD1E}" dt="2025-03-28T13:00:26.722" v="1281" actId="700"/>
          <ac:picMkLst>
            <pc:docMk/>
            <pc:sldMk cId="1641422220" sldId="288"/>
            <ac:picMk id="13" creationId="{863F9D80-8321-30C0-F635-EDD210CE9AE5}"/>
          </ac:picMkLst>
        </pc:picChg>
        <pc:picChg chg="mod ord">
          <ac:chgData name="Breitbach, Markus" userId="3a53c396-6358-48c2-abee-5fcc35806ccb" providerId="ADAL" clId="{96FB3121-84A3-48F6-B914-869E0D30CD1E}" dt="2025-03-28T13:00:26.722" v="1281" actId="700"/>
          <ac:picMkLst>
            <pc:docMk/>
            <pc:sldMk cId="1641422220" sldId="288"/>
            <ac:picMk id="14" creationId="{55DD648F-5D75-4E38-BBAD-182206B8BC4E}"/>
          </ac:picMkLst>
        </pc:picChg>
        <pc:picChg chg="add mod ord">
          <ac:chgData name="Breitbach, Markus" userId="3a53c396-6358-48c2-abee-5fcc35806ccb" providerId="ADAL" clId="{96FB3121-84A3-48F6-B914-869E0D30CD1E}" dt="2025-03-28T13:00:26.722" v="1281" actId="700"/>
          <ac:picMkLst>
            <pc:docMk/>
            <pc:sldMk cId="1641422220" sldId="288"/>
            <ac:picMk id="17" creationId="{730B9062-C161-F173-9837-E2C9ECB7E97E}"/>
          </ac:picMkLst>
        </pc:picChg>
        <pc:picChg chg="add mod">
          <ac:chgData name="Breitbach, Markus" userId="3a53c396-6358-48c2-abee-5fcc35806ccb" providerId="ADAL" clId="{96FB3121-84A3-48F6-B914-869E0D30CD1E}" dt="2025-03-28T13:02:06.047" v="1286" actId="962"/>
          <ac:picMkLst>
            <pc:docMk/>
            <pc:sldMk cId="1641422220" sldId="288"/>
            <ac:picMk id="22" creationId="{1997A303-6AF6-3C8D-B3D0-3A00680DE064}"/>
          </ac:picMkLst>
        </pc:picChg>
      </pc:sldChg>
      <pc:sldChg chg="del">
        <pc:chgData name="Breitbach, Markus" userId="3a53c396-6358-48c2-abee-5fcc35806ccb" providerId="ADAL" clId="{96FB3121-84A3-48F6-B914-869E0D30CD1E}" dt="2025-03-25T13:55:21.910" v="538" actId="47"/>
        <pc:sldMkLst>
          <pc:docMk/>
          <pc:sldMk cId="3618174397" sldId="290"/>
        </pc:sldMkLst>
      </pc:sldChg>
      <pc:sldChg chg="modSp mod modNotesTx">
        <pc:chgData name="Breitbach, Markus" userId="3a53c396-6358-48c2-abee-5fcc35806ccb" providerId="ADAL" clId="{96FB3121-84A3-48F6-B914-869E0D30CD1E}" dt="2025-03-27T10:28:43.135" v="1106"/>
        <pc:sldMkLst>
          <pc:docMk/>
          <pc:sldMk cId="18779260" sldId="299"/>
        </pc:sldMkLst>
        <pc:spChg chg="mod">
          <ac:chgData name="Breitbach, Markus" userId="3a53c396-6358-48c2-abee-5fcc35806ccb" providerId="ADAL" clId="{96FB3121-84A3-48F6-B914-869E0D30CD1E}" dt="2025-03-27T10:28:09.002" v="1105" actId="3064"/>
          <ac:spMkLst>
            <pc:docMk/>
            <pc:sldMk cId="18779260" sldId="299"/>
            <ac:spMk id="20" creationId="{F8C1D0D8-87A0-4E2B-9499-DB7D07575A68}"/>
          </ac:spMkLst>
        </pc:spChg>
      </pc:sldChg>
      <pc:sldChg chg="del">
        <pc:chgData name="Breitbach, Markus" userId="3a53c396-6358-48c2-abee-5fcc35806ccb" providerId="ADAL" clId="{96FB3121-84A3-48F6-B914-869E0D30CD1E}" dt="2025-03-25T09:32:25.884" v="0" actId="47"/>
        <pc:sldMkLst>
          <pc:docMk/>
          <pc:sldMk cId="3089069018" sldId="2147477022"/>
        </pc:sldMkLst>
      </pc:sldChg>
      <pc:sldChg chg="ord">
        <pc:chgData name="Breitbach, Markus" userId="3a53c396-6358-48c2-abee-5fcc35806ccb" providerId="ADAL" clId="{96FB3121-84A3-48F6-B914-869E0D30CD1E}" dt="2025-03-25T09:55:57.052" v="342"/>
        <pc:sldMkLst>
          <pc:docMk/>
          <pc:sldMk cId="2146140212" sldId="2147477026"/>
        </pc:sldMkLst>
      </pc:sldChg>
      <pc:sldChg chg="addSp delSp modSp mod modNotesTx">
        <pc:chgData name="Breitbach, Markus" userId="3a53c396-6358-48c2-abee-5fcc35806ccb" providerId="ADAL" clId="{96FB3121-84A3-48F6-B914-869E0D30CD1E}" dt="2025-03-28T13:18:22.251" v="1299"/>
        <pc:sldMkLst>
          <pc:docMk/>
          <pc:sldMk cId="3146538416" sldId="2147477040"/>
        </pc:sldMkLst>
        <pc:spChg chg="mod">
          <ac:chgData name="Breitbach, Markus" userId="3a53c396-6358-48c2-abee-5fcc35806ccb" providerId="ADAL" clId="{96FB3121-84A3-48F6-B914-869E0D30CD1E}" dt="2025-03-25T16:53:52.179" v="550" actId="21"/>
          <ac:spMkLst>
            <pc:docMk/>
            <pc:sldMk cId="3146538416" sldId="2147477040"/>
            <ac:spMk id="5" creationId="{06184398-E501-429B-8F17-57999DF39B69}"/>
          </ac:spMkLst>
        </pc:spChg>
        <pc:spChg chg="mod">
          <ac:chgData name="Breitbach, Markus" userId="3a53c396-6358-48c2-abee-5fcc35806ccb" providerId="ADAL" clId="{96FB3121-84A3-48F6-B914-869E0D30CD1E}" dt="2025-03-25T16:53:55.152" v="551"/>
          <ac:spMkLst>
            <pc:docMk/>
            <pc:sldMk cId="3146538416" sldId="2147477040"/>
            <ac:spMk id="7" creationId="{AE2992A3-0769-4612-8C91-95B6C892D578}"/>
          </ac:spMkLst>
        </pc:spChg>
        <pc:spChg chg="mod">
          <ac:chgData name="Breitbach, Markus" userId="3a53c396-6358-48c2-abee-5fcc35806ccb" providerId="ADAL" clId="{96FB3121-84A3-48F6-B914-869E0D30CD1E}" dt="2025-03-25T16:53:42.590" v="548" actId="6549"/>
          <ac:spMkLst>
            <pc:docMk/>
            <pc:sldMk cId="3146538416" sldId="2147477040"/>
            <ac:spMk id="9" creationId="{A4E0F1AD-ADCA-4A49-A4B1-A9FE4D532910}"/>
          </ac:spMkLst>
        </pc:spChg>
        <pc:picChg chg="add mod">
          <ac:chgData name="Breitbach, Markus" userId="3a53c396-6358-48c2-abee-5fcc35806ccb" providerId="ADAL" clId="{96FB3121-84A3-48F6-B914-869E0D30CD1E}" dt="2025-03-28T13:18:16.857" v="1298"/>
          <ac:picMkLst>
            <pc:docMk/>
            <pc:sldMk cId="3146538416" sldId="2147477040"/>
            <ac:picMk id="13" creationId="{AE2A661B-61C6-9902-A61F-12B5531BA6D2}"/>
          </ac:picMkLst>
        </pc:picChg>
        <pc:picChg chg="add mod">
          <ac:chgData name="Breitbach, Markus" userId="3a53c396-6358-48c2-abee-5fcc35806ccb" providerId="ADAL" clId="{96FB3121-84A3-48F6-B914-869E0D30CD1E}" dt="2025-03-28T13:18:22.251" v="1299"/>
          <ac:picMkLst>
            <pc:docMk/>
            <pc:sldMk cId="3146538416" sldId="2147477040"/>
            <ac:picMk id="14" creationId="{88442216-0498-6E97-7E5B-9F836F480F62}"/>
          </ac:picMkLst>
        </pc:picChg>
      </pc:sldChg>
      <pc:sldChg chg="addSp modSp mod modShow modNotesTx">
        <pc:chgData name="Breitbach, Markus" userId="3a53c396-6358-48c2-abee-5fcc35806ccb" providerId="ADAL" clId="{96FB3121-84A3-48F6-B914-869E0D30CD1E}" dt="2025-03-27T10:30:47.486" v="1116" actId="729"/>
        <pc:sldMkLst>
          <pc:docMk/>
          <pc:sldMk cId="746299310" sldId="2147477041"/>
        </pc:sldMkLst>
      </pc:sldChg>
      <pc:sldChg chg="addSp delSp modSp del mod modNotesTx">
        <pc:chgData name="Breitbach, Markus" userId="3a53c396-6358-48c2-abee-5fcc35806ccb" providerId="ADAL" clId="{96FB3121-84A3-48F6-B914-869E0D30CD1E}" dt="2025-03-28T13:19:06.617" v="1304"/>
        <pc:sldMkLst>
          <pc:docMk/>
          <pc:sldMk cId="1092017827" sldId="2147477046"/>
        </pc:sldMkLst>
        <pc:picChg chg="add mod">
          <ac:chgData name="Breitbach, Markus" userId="3a53c396-6358-48c2-abee-5fcc35806ccb" providerId="ADAL" clId="{96FB3121-84A3-48F6-B914-869E0D30CD1E}" dt="2025-03-28T13:19:06.617" v="1304"/>
          <ac:picMkLst>
            <pc:docMk/>
            <pc:sldMk cId="1092017827" sldId="2147477046"/>
            <ac:picMk id="5" creationId="{5F289EE8-2A54-E197-A45E-C2AA9FC6B8E3}"/>
          </ac:picMkLst>
        </pc:picChg>
      </pc:sldChg>
      <pc:sldChg chg="mod modShow">
        <pc:chgData name="Breitbach, Markus" userId="3a53c396-6358-48c2-abee-5fcc35806ccb" providerId="ADAL" clId="{96FB3121-84A3-48F6-B914-869E0D30CD1E}" dt="2025-03-27T10:32:55.991" v="1129" actId="729"/>
        <pc:sldMkLst>
          <pc:docMk/>
          <pc:sldMk cId="2207442008" sldId="2147477047"/>
        </pc:sldMkLst>
      </pc:sldChg>
      <pc:sldChg chg="addSp delSp modSp mod modShow modNotesTx">
        <pc:chgData name="Breitbach, Markus" userId="3a53c396-6358-48c2-abee-5fcc35806ccb" providerId="ADAL" clId="{96FB3121-84A3-48F6-B914-869E0D30CD1E}" dt="2025-03-27T10:30:47.486" v="1116" actId="729"/>
        <pc:sldMkLst>
          <pc:docMk/>
          <pc:sldMk cId="761125098" sldId="2147477048"/>
        </pc:sldMkLst>
      </pc:sldChg>
      <pc:sldChg chg="addSp delSp modSp mod ord modNotesTx">
        <pc:chgData name="Breitbach, Markus" userId="3a53c396-6358-48c2-abee-5fcc35806ccb" providerId="ADAL" clId="{96FB3121-84A3-48F6-B914-869E0D30CD1E}" dt="2025-03-28T13:18:44.596" v="1301"/>
        <pc:sldMkLst>
          <pc:docMk/>
          <pc:sldMk cId="484452169" sldId="2147477049"/>
        </pc:sldMkLst>
        <pc:spChg chg="mod">
          <ac:chgData name="Breitbach, Markus" userId="3a53c396-6358-48c2-abee-5fcc35806ccb" providerId="ADAL" clId="{96FB3121-84A3-48F6-B914-869E0D30CD1E}" dt="2025-03-28T13:18:44.596" v="1301"/>
          <ac:spMkLst>
            <pc:docMk/>
            <pc:sldMk cId="484452169" sldId="2147477049"/>
            <ac:spMk id="4" creationId="{3D2CF760-8952-C6C8-7FC7-62D271413ABB}"/>
          </ac:spMkLst>
        </pc:spChg>
        <pc:grpChg chg="add mod">
          <ac:chgData name="Breitbach, Markus" userId="3a53c396-6358-48c2-abee-5fcc35806ccb" providerId="ADAL" clId="{96FB3121-84A3-48F6-B914-869E0D30CD1E}" dt="2025-03-28T13:18:44.596" v="1301"/>
          <ac:grpSpMkLst>
            <pc:docMk/>
            <pc:sldMk cId="484452169" sldId="2147477049"/>
            <ac:grpSpMk id="3" creationId="{E80BEE7D-F8DE-719A-7C00-74C7AD66F72B}"/>
          </ac:grpSpMkLst>
        </pc:grpChg>
        <pc:picChg chg="mod">
          <ac:chgData name="Breitbach, Markus" userId="3a53c396-6358-48c2-abee-5fcc35806ccb" providerId="ADAL" clId="{96FB3121-84A3-48F6-B914-869E0D30CD1E}" dt="2025-03-28T13:18:44.596" v="1301"/>
          <ac:picMkLst>
            <pc:docMk/>
            <pc:sldMk cId="484452169" sldId="2147477049"/>
            <ac:picMk id="5" creationId="{0EB52FA3-0DC6-0C51-9982-B819B972F688}"/>
          </ac:picMkLst>
        </pc:picChg>
      </pc:sldChg>
      <pc:sldChg chg="addSp modSp mod">
        <pc:chgData name="Breitbach, Markus" userId="3a53c396-6358-48c2-abee-5fcc35806ccb" providerId="ADAL" clId="{96FB3121-84A3-48F6-B914-869E0D30CD1E}" dt="2025-03-25T13:55:16.877" v="537" actId="1036"/>
        <pc:sldMkLst>
          <pc:docMk/>
          <pc:sldMk cId="4096211898" sldId="2147477057"/>
        </pc:sldMkLst>
        <pc:spChg chg="add mod">
          <ac:chgData name="Breitbach, Markus" userId="3a53c396-6358-48c2-abee-5fcc35806ccb" providerId="ADAL" clId="{96FB3121-84A3-48F6-B914-869E0D30CD1E}" dt="2025-03-25T13:54:03.924" v="488" actId="1076"/>
          <ac:spMkLst>
            <pc:docMk/>
            <pc:sldMk cId="4096211898" sldId="2147477057"/>
            <ac:spMk id="3" creationId="{D3F864B4-9B59-75C8-F475-28C18FCAE30B}"/>
          </ac:spMkLst>
        </pc:spChg>
        <pc:spChg chg="add mod">
          <ac:chgData name="Breitbach, Markus" userId="3a53c396-6358-48c2-abee-5fcc35806ccb" providerId="ADAL" clId="{96FB3121-84A3-48F6-B914-869E0D30CD1E}" dt="2025-03-25T13:55:16.877" v="537" actId="1036"/>
          <ac:spMkLst>
            <pc:docMk/>
            <pc:sldMk cId="4096211898" sldId="2147477057"/>
            <ac:spMk id="4" creationId="{C6E632BA-E18A-EB7E-FAEF-695293B59F59}"/>
          </ac:spMkLst>
        </pc:spChg>
        <pc:spChg chg="add mod">
          <ac:chgData name="Breitbach, Markus" userId="3a53c396-6358-48c2-abee-5fcc35806ccb" providerId="ADAL" clId="{96FB3121-84A3-48F6-B914-869E0D30CD1E}" dt="2025-03-25T13:55:16.877" v="537" actId="1036"/>
          <ac:spMkLst>
            <pc:docMk/>
            <pc:sldMk cId="4096211898" sldId="2147477057"/>
            <ac:spMk id="5" creationId="{BC7A01D8-0453-F774-5B9F-6806329D22D7}"/>
          </ac:spMkLst>
        </pc:spChg>
        <pc:spChg chg="add mod">
          <ac:chgData name="Breitbach, Markus" userId="3a53c396-6358-48c2-abee-5fcc35806ccb" providerId="ADAL" clId="{96FB3121-84A3-48F6-B914-869E0D30CD1E}" dt="2025-03-25T13:55:16.877" v="537" actId="1036"/>
          <ac:spMkLst>
            <pc:docMk/>
            <pc:sldMk cId="4096211898" sldId="2147477057"/>
            <ac:spMk id="6" creationId="{D02812DE-2A38-1D67-2C42-2EB914AA6DA3}"/>
          </ac:spMkLst>
        </pc:spChg>
        <pc:spChg chg="add mod">
          <ac:chgData name="Breitbach, Markus" userId="3a53c396-6358-48c2-abee-5fcc35806ccb" providerId="ADAL" clId="{96FB3121-84A3-48F6-B914-869E0D30CD1E}" dt="2025-03-25T13:55:16.877" v="537" actId="1036"/>
          <ac:spMkLst>
            <pc:docMk/>
            <pc:sldMk cId="4096211898" sldId="2147477057"/>
            <ac:spMk id="7" creationId="{E99C0065-2D4B-F11F-453E-2C26EF3B286C}"/>
          </ac:spMkLst>
        </pc:spChg>
      </pc:sldChg>
      <pc:sldChg chg="addSp delSp modSp mod">
        <pc:chgData name="Breitbach, Markus" userId="3a53c396-6358-48c2-abee-5fcc35806ccb" providerId="ADAL" clId="{96FB3121-84A3-48F6-B914-869E0D30CD1E}" dt="2025-03-25T13:56:00.814" v="545" actId="478"/>
        <pc:sldMkLst>
          <pc:docMk/>
          <pc:sldMk cId="2374344934" sldId="2147477060"/>
        </pc:sldMkLst>
        <pc:spChg chg="mod">
          <ac:chgData name="Breitbach, Markus" userId="3a53c396-6358-48c2-abee-5fcc35806ccb" providerId="ADAL" clId="{96FB3121-84A3-48F6-B914-869E0D30CD1E}" dt="2025-03-25T09:33:21.182" v="34" actId="108"/>
          <ac:spMkLst>
            <pc:docMk/>
            <pc:sldMk cId="2374344934" sldId="2147477060"/>
            <ac:spMk id="7" creationId="{6F3506D2-B724-31F4-B4DF-7018A8759D3C}"/>
          </ac:spMkLst>
        </pc:spChg>
      </pc:sldChg>
      <pc:sldChg chg="addSp delSp modSp mod">
        <pc:chgData name="Breitbach, Markus" userId="3a53c396-6358-48c2-abee-5fcc35806ccb" providerId="ADAL" clId="{96FB3121-84A3-48F6-B914-869E0D30CD1E}" dt="2025-03-25T13:55:58.039" v="544" actId="478"/>
        <pc:sldMkLst>
          <pc:docMk/>
          <pc:sldMk cId="1591686061" sldId="2147477061"/>
        </pc:sldMkLst>
        <pc:spChg chg="mod">
          <ac:chgData name="Breitbach, Markus" userId="3a53c396-6358-48c2-abee-5fcc35806ccb" providerId="ADAL" clId="{96FB3121-84A3-48F6-B914-869E0D30CD1E}" dt="2025-03-25T09:36:17.551" v="123" actId="20577"/>
          <ac:spMkLst>
            <pc:docMk/>
            <pc:sldMk cId="1591686061" sldId="2147477061"/>
            <ac:spMk id="7" creationId="{5B756A53-159B-661F-61D5-C4CA34347C63}"/>
          </ac:spMkLst>
        </pc:spChg>
        <pc:graphicFrameChg chg="add mod">
          <ac:chgData name="Breitbach, Markus" userId="3a53c396-6358-48c2-abee-5fcc35806ccb" providerId="ADAL" clId="{96FB3121-84A3-48F6-B914-869E0D30CD1E}" dt="2025-03-25T09:36:37.872" v="125" actId="1076"/>
          <ac:graphicFrameMkLst>
            <pc:docMk/>
            <pc:sldMk cId="1591686061" sldId="2147477061"/>
            <ac:graphicFrameMk id="18" creationId="{46B02D6D-14A9-E3AD-4598-F70EEF457533}"/>
          </ac:graphicFrameMkLst>
        </pc:graphicFrameChg>
      </pc:sldChg>
      <pc:sldChg chg="modSp mod">
        <pc:chgData name="Breitbach, Markus" userId="3a53c396-6358-48c2-abee-5fcc35806ccb" providerId="ADAL" clId="{96FB3121-84A3-48F6-B914-869E0D30CD1E}" dt="2025-03-25T13:55:42.182" v="542" actId="20577"/>
        <pc:sldMkLst>
          <pc:docMk/>
          <pc:sldMk cId="1793038787" sldId="2147477062"/>
        </pc:sldMkLst>
        <pc:spChg chg="mod">
          <ac:chgData name="Breitbach, Markus" userId="3a53c396-6358-48c2-abee-5fcc35806ccb" providerId="ADAL" clId="{96FB3121-84A3-48F6-B914-869E0D30CD1E}" dt="2025-03-25T13:55:42.182" v="542" actId="20577"/>
          <ac:spMkLst>
            <pc:docMk/>
            <pc:sldMk cId="1793038787" sldId="2147477062"/>
            <ac:spMk id="3" creationId="{F42495F3-EE84-0459-0041-3761B3E2F850}"/>
          </ac:spMkLst>
        </pc:spChg>
      </pc:sldChg>
      <pc:sldChg chg="modSp add mod">
        <pc:chgData name="Breitbach, Markus" userId="3a53c396-6358-48c2-abee-5fcc35806ccb" providerId="ADAL" clId="{96FB3121-84A3-48F6-B914-869E0D30CD1E}" dt="2025-03-25T09:43:37.625" v="220" actId="1076"/>
        <pc:sldMkLst>
          <pc:docMk/>
          <pc:sldMk cId="2652341965" sldId="2147477063"/>
        </pc:sldMkLst>
      </pc:sldChg>
      <pc:sldChg chg="add">
        <pc:chgData name="Breitbach, Markus" userId="3a53c396-6358-48c2-abee-5fcc35806ccb" providerId="ADAL" clId="{96FB3121-84A3-48F6-B914-869E0D30CD1E}" dt="2025-03-25T09:47:15.192" v="221"/>
        <pc:sldMkLst>
          <pc:docMk/>
          <pc:sldMk cId="4268970151" sldId="2147477064"/>
        </pc:sldMkLst>
      </pc:sldChg>
      <pc:sldChg chg="add del">
        <pc:chgData name="Breitbach, Markus" userId="3a53c396-6358-48c2-abee-5fcc35806ccb" providerId="ADAL" clId="{96FB3121-84A3-48F6-B914-869E0D30CD1E}" dt="2025-03-25T09:55:05.163" v="337" actId="47"/>
        <pc:sldMkLst>
          <pc:docMk/>
          <pc:sldMk cId="1793536144" sldId="2147477065"/>
        </pc:sldMkLst>
      </pc:sldChg>
      <pc:sldChg chg="addSp delSp modSp add mod">
        <pc:chgData name="Breitbach, Markus" userId="3a53c396-6358-48c2-abee-5fcc35806ccb" providerId="ADAL" clId="{96FB3121-84A3-48F6-B914-869E0D30CD1E}" dt="2025-03-25T13:55:54.218" v="543" actId="478"/>
        <pc:sldMkLst>
          <pc:docMk/>
          <pc:sldMk cId="3965821702" sldId="2147477066"/>
        </pc:sldMkLst>
        <pc:spChg chg="mod">
          <ac:chgData name="Breitbach, Markus" userId="3a53c396-6358-48c2-abee-5fcc35806ccb" providerId="ADAL" clId="{96FB3121-84A3-48F6-B914-869E0D30CD1E}" dt="2025-03-25T09:50:17.764" v="318" actId="20577"/>
          <ac:spMkLst>
            <pc:docMk/>
            <pc:sldMk cId="3965821702" sldId="2147477066"/>
            <ac:spMk id="5" creationId="{CEFC4841-3499-436E-AC2A-C2216E0A59F1}"/>
          </ac:spMkLst>
        </pc:spChg>
        <pc:spChg chg="mod">
          <ac:chgData name="Breitbach, Markus" userId="3a53c396-6358-48c2-abee-5fcc35806ccb" providerId="ADAL" clId="{96FB3121-84A3-48F6-B914-869E0D30CD1E}" dt="2025-03-25T09:54:51.471" v="334" actId="403"/>
          <ac:spMkLst>
            <pc:docMk/>
            <pc:sldMk cId="3965821702" sldId="2147477066"/>
            <ac:spMk id="6" creationId="{F8415785-4E23-4E9C-877E-524655334521}"/>
          </ac:spMkLst>
        </pc:spChg>
        <pc:picChg chg="add mod">
          <ac:chgData name="Breitbach, Markus" userId="3a53c396-6358-48c2-abee-5fcc35806ccb" providerId="ADAL" clId="{96FB3121-84A3-48F6-B914-869E0D30CD1E}" dt="2025-03-25T09:55:03.138" v="336" actId="1076"/>
          <ac:picMkLst>
            <pc:docMk/>
            <pc:sldMk cId="3965821702" sldId="2147477066"/>
            <ac:picMk id="7" creationId="{8C12AF7E-8EE9-F17D-111E-C4E9D5A5157C}"/>
          </ac:picMkLst>
        </pc:picChg>
      </pc:sldChg>
      <pc:sldChg chg="del">
        <pc:chgData name="Breitbach, Markus" userId="3a53c396-6358-48c2-abee-5fcc35806ccb" providerId="ADAL" clId="{96FB3121-84A3-48F6-B914-869E0D30CD1E}" dt="2025-03-25T13:55:25.398" v="539" actId="47"/>
        <pc:sldMkLst>
          <pc:docMk/>
          <pc:sldMk cId="3565376226" sldId="2147477067"/>
        </pc:sldMkLst>
      </pc:sldChg>
      <pc:sldChg chg="addSp delSp modSp add mod ord modNotesTx">
        <pc:chgData name="Breitbach, Markus" userId="3a53c396-6358-48c2-abee-5fcc35806ccb" providerId="ADAL" clId="{96FB3121-84A3-48F6-B914-869E0D30CD1E}" dt="2025-03-27T10:31:21.576" v="1118"/>
        <pc:sldMkLst>
          <pc:docMk/>
          <pc:sldMk cId="1397644730" sldId="2147477068"/>
        </pc:sldMkLst>
      </pc:sldChg>
      <pc:sldChg chg="addSp delSp modSp del mod modNotesTx">
        <pc:chgData name="Breitbach, Markus" userId="3a53c396-6358-48c2-abee-5fcc35806ccb" providerId="ADAL" clId="{96FB3121-84A3-48F6-B914-869E0D30CD1E}" dt="2025-03-27T10:32:45.783" v="1128" actId="47"/>
        <pc:sldMkLst>
          <pc:docMk/>
          <pc:sldMk cId="2301428776" sldId="2147477070"/>
        </pc:sldMkLst>
      </pc:sldChg>
      <pc:sldChg chg="addSp delSp modSp add mod">
        <pc:chgData name="Breitbach, Markus" userId="3a53c396-6358-48c2-abee-5fcc35806ccb" providerId="ADAL" clId="{96FB3121-84A3-48F6-B914-869E0D30CD1E}" dt="2025-03-27T10:33:27.146" v="1266" actId="1035"/>
        <pc:sldMkLst>
          <pc:docMk/>
          <pc:sldMk cId="2673052505" sldId="2147477071"/>
        </pc:sldMkLst>
      </pc:sldChg>
      <pc:sldChg chg="addSp delSp modSp add del mod">
        <pc:chgData name="Breitbach, Markus" userId="3a53c396-6358-48c2-abee-5fcc35806ccb" providerId="ADAL" clId="{96FB3121-84A3-48F6-B914-869E0D30CD1E}" dt="2025-03-27T10:28:59.345" v="1107" actId="47"/>
        <pc:sldMkLst>
          <pc:docMk/>
          <pc:sldMk cId="3572739781" sldId="2147477071"/>
        </pc:sldMkLst>
      </pc:sldChg>
    </pc:docChg>
  </pc:docChgLst>
  <pc:docChgLst>
    <pc:chgData name="Dirk Wübben" userId="S::wuebben@ant.uni-bremen.de::a27602df-5b54-480c-866c-64260ceb4949" providerId="AD" clId="Web-{B8B4F837-C89C-EAEC-60AF-8CF59C4105FC}"/>
    <pc:docChg chg="modSld">
      <pc:chgData name="Dirk Wübben" userId="S::wuebben@ant.uni-bremen.de::a27602df-5b54-480c-866c-64260ceb4949" providerId="AD" clId="Web-{B8B4F837-C89C-EAEC-60AF-8CF59C4105FC}" dt="2023-04-21T08:55:47.965" v="3" actId="20577"/>
      <pc:docMkLst>
        <pc:docMk/>
      </pc:docMkLst>
      <pc:sldChg chg="modSp">
        <pc:chgData name="Dirk Wübben" userId="S::wuebben@ant.uni-bremen.de::a27602df-5b54-480c-866c-64260ceb4949" providerId="AD" clId="Web-{B8B4F837-C89C-EAEC-60AF-8CF59C4105FC}" dt="2023-04-21T08:55:47.965" v="3" actId="20577"/>
        <pc:sldMkLst>
          <pc:docMk/>
          <pc:sldMk cId="0" sldId="257"/>
        </pc:sldMkLst>
      </pc:sldChg>
    </pc:docChg>
  </pc:docChgLst>
  <pc:docChgLst>
    <pc:chgData name="shama.noreen@rptu.de" userId="S::shama.noreen_rptu.de#ext#@antunibremen.onmicrosoft.com::723f12dc-439d-467c-b689-ae2f5074cd4f" providerId="AD" clId="Web-{7A7A5693-30F2-CF71-242B-F03CB05D317C}"/>
    <pc:docChg chg="addSld modSld modSection">
      <pc:chgData name="shama.noreen@rptu.de" userId="S::shama.noreen_rptu.de#ext#@antunibremen.onmicrosoft.com::723f12dc-439d-467c-b689-ae2f5074cd4f" providerId="AD" clId="Web-{7A7A5693-30F2-CF71-242B-F03CB05D317C}" dt="2024-11-28T09:27:11.710" v="1" actId="1076"/>
      <pc:docMkLst>
        <pc:docMk/>
      </pc:docMkLst>
      <pc:sldChg chg="modSp">
        <pc:chgData name="shama.noreen@rptu.de" userId="S::shama.noreen_rptu.de#ext#@antunibremen.onmicrosoft.com::723f12dc-439d-467c-b689-ae2f5074cd4f" providerId="AD" clId="Web-{7A7A5693-30F2-CF71-242B-F03CB05D317C}" dt="2024-11-28T09:27:11.710" v="1" actId="1076"/>
        <pc:sldMkLst>
          <pc:docMk/>
          <pc:sldMk cId="4240751118" sldId="2147472561"/>
        </pc:sldMkLst>
      </pc:sldChg>
      <pc:sldChg chg="new">
        <pc:chgData name="shama.noreen@rptu.de" userId="S::shama.noreen_rptu.de#ext#@antunibremen.onmicrosoft.com::723f12dc-439d-467c-b689-ae2f5074cd4f" providerId="AD" clId="Web-{7A7A5693-30F2-CF71-242B-F03CB05D317C}" dt="2024-11-27T14:18:45.891" v="0"/>
        <pc:sldMkLst>
          <pc:docMk/>
          <pc:sldMk cId="2163661027" sldId="2147476926"/>
        </pc:sldMkLst>
      </pc:sldChg>
    </pc:docChg>
  </pc:docChgLst>
  <pc:docChgLst>
    <pc:chgData name="Dennis Buchberger" userId="S::buchberger@ant.uni-bremen.de::cfe5e5e7-b999-4ed2-8d25-bbd6e3df32e4" providerId="AD" clId="Web-{5B0E5496-9FE8-0E44-9420-BD7563389C52}"/>
    <pc:docChg chg="sldOrd">
      <pc:chgData name="Dennis Buchberger" userId="S::buchberger@ant.uni-bremen.de::cfe5e5e7-b999-4ed2-8d25-bbd6e3df32e4" providerId="AD" clId="Web-{5B0E5496-9FE8-0E44-9420-BD7563389C52}" dt="2024-04-17T08:14:51.063" v="0"/>
      <pc:docMkLst>
        <pc:docMk/>
      </pc:docMkLst>
      <pc:sldChg chg="ord">
        <pc:chgData name="Dennis Buchberger" userId="S::buchberger@ant.uni-bremen.de::cfe5e5e7-b999-4ed2-8d25-bbd6e3df32e4" providerId="AD" clId="Web-{5B0E5496-9FE8-0E44-9420-BD7563389C52}" dt="2024-04-17T08:14:51.063" v="0"/>
        <pc:sldMkLst>
          <pc:docMk/>
          <pc:sldMk cId="2685880669" sldId="2147472551"/>
        </pc:sldMkLst>
      </pc:sldChg>
    </pc:docChg>
  </pc:docChgLst>
  <pc:docChgLst>
    <pc:chgData name="federico.clazzer@dlr.de" userId="S::federico.clazzer_dlr.de#ext#@antunibremen.onmicrosoft.com::168cc1cf-d8c9-4959-a554-a7f2ef4eaad8" providerId="AD" clId="Web-{44221B83-ACEA-1CAE-807F-A7B6005EDE37}"/>
    <pc:docChg chg="addSld delSld modSld modSection">
      <pc:chgData name="federico.clazzer@dlr.de" userId="S::federico.clazzer_dlr.de#ext#@antunibremen.onmicrosoft.com::168cc1cf-d8c9-4959-a554-a7f2ef4eaad8" providerId="AD" clId="Web-{44221B83-ACEA-1CAE-807F-A7B6005EDE37}" dt="2024-10-23T12:56:54.385" v="8"/>
      <pc:docMkLst>
        <pc:docMk/>
      </pc:docMkLst>
      <pc:sldChg chg="addSp delSp add">
        <pc:chgData name="federico.clazzer@dlr.de" userId="S::federico.clazzer_dlr.de#ext#@antunibremen.onmicrosoft.com::168cc1cf-d8c9-4959-a554-a7f2ef4eaad8" providerId="AD" clId="Web-{44221B83-ACEA-1CAE-807F-A7B6005EDE37}" dt="2024-10-23T12:56:47.807" v="6"/>
        <pc:sldMkLst>
          <pc:docMk/>
          <pc:sldMk cId="3945475399" sldId="289"/>
        </pc:sldMkLst>
      </pc:sldChg>
      <pc:sldChg chg="addSp add">
        <pc:chgData name="federico.clazzer@dlr.de" userId="S::federico.clazzer_dlr.de#ext#@antunibremen.onmicrosoft.com::168cc1cf-d8c9-4959-a554-a7f2ef4eaad8" providerId="AD" clId="Web-{44221B83-ACEA-1CAE-807F-A7B6005EDE37}" dt="2024-10-23T12:56:50.948" v="7"/>
        <pc:sldMkLst>
          <pc:docMk/>
          <pc:sldMk cId="1527793017" sldId="290"/>
        </pc:sldMkLst>
      </pc:sldChg>
      <pc:sldChg chg="addSp add">
        <pc:chgData name="federico.clazzer@dlr.de" userId="S::federico.clazzer_dlr.de#ext#@antunibremen.onmicrosoft.com::168cc1cf-d8c9-4959-a554-a7f2ef4eaad8" providerId="AD" clId="Web-{44221B83-ACEA-1CAE-807F-A7B6005EDE37}" dt="2024-10-23T12:56:37.869" v="3"/>
        <pc:sldMkLst>
          <pc:docMk/>
          <pc:sldMk cId="834027754" sldId="291"/>
        </pc:sldMkLst>
      </pc:sldChg>
      <pc:sldChg chg="del">
        <pc:chgData name="federico.clazzer@dlr.de" userId="S::federico.clazzer_dlr.de#ext#@antunibremen.onmicrosoft.com::168cc1cf-d8c9-4959-a554-a7f2ef4eaad8" providerId="AD" clId="Web-{44221B83-ACEA-1CAE-807F-A7B6005EDE37}" dt="2024-10-23T12:56:54.385" v="8"/>
        <pc:sldMkLst>
          <pc:docMk/>
          <pc:sldMk cId="3270358093" sldId="2147476921"/>
        </pc:sldMkLst>
      </pc:sldChg>
      <pc:sldMasterChg chg="addSldLayout">
        <pc:chgData name="federico.clazzer@dlr.de" userId="S::federico.clazzer_dlr.de#ext#@antunibremen.onmicrosoft.com::168cc1cf-d8c9-4959-a554-a7f2ef4eaad8" providerId="AD" clId="Web-{44221B83-ACEA-1CAE-807F-A7B6005EDE37}" dt="2024-10-23T12:56:21.619" v="0"/>
        <pc:sldMasterMkLst>
          <pc:docMk/>
          <pc:sldMasterMk cId="611449510" sldId="2147483686"/>
        </pc:sldMasterMkLst>
        <pc:sldLayoutChg chg="add">
          <pc:chgData name="federico.clazzer@dlr.de" userId="S::federico.clazzer_dlr.de#ext#@antunibremen.onmicrosoft.com::168cc1cf-d8c9-4959-a554-a7f2ef4eaad8" providerId="AD" clId="Web-{44221B83-ACEA-1CAE-807F-A7B6005EDE37}" dt="2024-10-23T12:56:21.619" v="0"/>
          <pc:sldLayoutMkLst>
            <pc:docMk/>
            <pc:sldMasterMk cId="611449510" sldId="2147483686"/>
            <pc:sldLayoutMk cId="3542992440" sldId="2147483703"/>
          </pc:sldLayoutMkLst>
        </pc:sldLayoutChg>
      </pc:sldMasterChg>
    </pc:docChg>
  </pc:docChgLst>
  <pc:docChgLst>
    <pc:chgData name="Hammouda Marwan" userId="S::hammouda@ant.uni-bremen.de::141c87ca-9386-4b1c-88e0-e9251bd241ba" providerId="AD" clId="Web-{2C38C3DB-B699-5C8F-2B65-78B9C309E1DE}"/>
    <pc:docChg chg="addSld delSld modSld modSection">
      <pc:chgData name="Hammouda Marwan" userId="S::hammouda@ant.uni-bremen.de::141c87ca-9386-4b1c-88e0-e9251bd241ba" providerId="AD" clId="Web-{2C38C3DB-B699-5C8F-2B65-78B9C309E1DE}" dt="2024-10-21T13:28:12.239" v="86"/>
      <pc:docMkLst>
        <pc:docMk/>
      </pc:docMkLst>
      <pc:sldChg chg="add">
        <pc:chgData name="Hammouda Marwan" userId="S::hammouda@ant.uni-bremen.de::141c87ca-9386-4b1c-88e0-e9251bd241ba" providerId="AD" clId="Web-{2C38C3DB-B699-5C8F-2B65-78B9C309E1DE}" dt="2024-10-21T13:26:24.420" v="84"/>
        <pc:sldMkLst>
          <pc:docMk/>
          <pc:sldMk cId="1852633294" sldId="259"/>
        </pc:sldMkLst>
      </pc:sldChg>
      <pc:sldChg chg="add">
        <pc:chgData name="Hammouda Marwan" userId="S::hammouda@ant.uni-bremen.de::141c87ca-9386-4b1c-88e0-e9251bd241ba" providerId="AD" clId="Web-{2C38C3DB-B699-5C8F-2B65-78B9C309E1DE}" dt="2024-10-21T13:28:01.879" v="85"/>
        <pc:sldMkLst>
          <pc:docMk/>
          <pc:sldMk cId="1848419274" sldId="264"/>
        </pc:sldMkLst>
      </pc:sldChg>
      <pc:sldChg chg="modSp">
        <pc:chgData name="Hammouda Marwan" userId="S::hammouda@ant.uni-bremen.de::141c87ca-9386-4b1c-88e0-e9251bd241ba" providerId="AD" clId="Web-{2C38C3DB-B699-5C8F-2B65-78B9C309E1DE}" dt="2024-10-21T13:25:37.432" v="82" actId="20577"/>
        <pc:sldMkLst>
          <pc:docMk/>
          <pc:sldMk cId="1704986583" sldId="270"/>
        </pc:sldMkLst>
      </pc:sldChg>
      <pc:sldChg chg="mod modShow">
        <pc:chgData name="Hammouda Marwan" userId="S::hammouda@ant.uni-bremen.de::141c87ca-9386-4b1c-88e0-e9251bd241ba" providerId="AD" clId="Web-{2C38C3DB-B699-5C8F-2B65-78B9C309E1DE}" dt="2024-10-21T13:24:10.083" v="78"/>
        <pc:sldMkLst>
          <pc:docMk/>
          <pc:sldMk cId="2237517558" sldId="271"/>
        </pc:sldMkLst>
      </pc:sldChg>
      <pc:sldChg chg="modSp">
        <pc:chgData name="Hammouda Marwan" userId="S::hammouda@ant.uni-bremen.de::141c87ca-9386-4b1c-88e0-e9251bd241ba" providerId="AD" clId="Web-{2C38C3DB-B699-5C8F-2B65-78B9C309E1DE}" dt="2024-10-21T13:15:39.987" v="73" actId="20577"/>
        <pc:sldMkLst>
          <pc:docMk/>
          <pc:sldMk cId="95809100" sldId="2147472554"/>
        </pc:sldMkLst>
      </pc:sldChg>
      <pc:sldChg chg="del">
        <pc:chgData name="Hammouda Marwan" userId="S::hammouda@ant.uni-bremen.de::141c87ca-9386-4b1c-88e0-e9251bd241ba" providerId="AD" clId="Web-{2C38C3DB-B699-5C8F-2B65-78B9C309E1DE}" dt="2024-10-21T13:26:13.435" v="83"/>
        <pc:sldMkLst>
          <pc:docMk/>
          <pc:sldMk cId="1962824018" sldId="2147472559"/>
        </pc:sldMkLst>
      </pc:sldChg>
      <pc:sldChg chg="mod modShow">
        <pc:chgData name="Hammouda Marwan" userId="S::hammouda@ant.uni-bremen.de::141c87ca-9386-4b1c-88e0-e9251bd241ba" providerId="AD" clId="Web-{2C38C3DB-B699-5C8F-2B65-78B9C309E1DE}" dt="2024-10-21T13:28:12.239" v="86"/>
        <pc:sldMkLst>
          <pc:docMk/>
          <pc:sldMk cId="2703493096" sldId="2147472560"/>
        </pc:sldMkLst>
      </pc:sldChg>
      <pc:sldChg chg="modSp">
        <pc:chgData name="Hammouda Marwan" userId="S::hammouda@ant.uni-bremen.de::141c87ca-9386-4b1c-88e0-e9251bd241ba" providerId="AD" clId="Web-{2C38C3DB-B699-5C8F-2B65-78B9C309E1DE}" dt="2024-10-21T13:16:30.771" v="77" actId="20577"/>
        <pc:sldMkLst>
          <pc:docMk/>
          <pc:sldMk cId="2123224230" sldId="2147476905"/>
        </pc:sldMkLst>
      </pc:sldChg>
    </pc:docChg>
  </pc:docChgLst>
  <pc:docChgLst>
    <pc:chgData name="Dirk Wübben" userId="S::wuebben@ant.uni-bremen.de::a27602df-5b54-480c-866c-64260ceb4949" providerId="AD" clId="Web-{5CC3F32F-980E-AC68-925A-3113BDF9FCC2}"/>
    <pc:docChg chg="modSld">
      <pc:chgData name="Dirk Wübben" userId="S::wuebben@ant.uni-bremen.de::a27602df-5b54-480c-866c-64260ceb4949" providerId="AD" clId="Web-{5CC3F32F-980E-AC68-925A-3113BDF9FCC2}" dt="2024-10-21T15:32:03.459" v="1"/>
      <pc:docMkLst>
        <pc:docMk/>
      </pc:docMkLst>
      <pc:sldChg chg="delSp">
        <pc:chgData name="Dirk Wübben" userId="S::wuebben@ant.uni-bremen.de::a27602df-5b54-480c-866c-64260ceb4949" providerId="AD" clId="Web-{5CC3F32F-980E-AC68-925A-3113BDF9FCC2}" dt="2024-10-21T15:32:03.459" v="1"/>
        <pc:sldMkLst>
          <pc:docMk/>
          <pc:sldMk cId="2621753809" sldId="2147472509"/>
        </pc:sldMkLst>
      </pc:sldChg>
      <pc:sldChg chg="delSp">
        <pc:chgData name="Dirk Wübben" userId="S::wuebben@ant.uni-bremen.de::a27602df-5b54-480c-866c-64260ceb4949" providerId="AD" clId="Web-{5CC3F32F-980E-AC68-925A-3113BDF9FCC2}" dt="2024-10-21T15:31:57.990" v="0"/>
        <pc:sldMkLst>
          <pc:docMk/>
          <pc:sldMk cId="2780177838" sldId="2147472511"/>
        </pc:sldMkLst>
      </pc:sldChg>
    </pc:docChg>
  </pc:docChgLst>
  <pc:docChgLst>
    <pc:chgData name="Dennis Buchberger" userId="S::buchberger@ant.uni-bremen.de::cfe5e5e7-b999-4ed2-8d25-bbd6e3df32e4" providerId="AD" clId="Web-{CB562997-D875-4EFE-FBFD-B67A46D1E6B7}"/>
    <pc:docChg chg="addSld modSld modSection">
      <pc:chgData name="Dennis Buchberger" userId="S::buchberger@ant.uni-bremen.de::cfe5e5e7-b999-4ed2-8d25-bbd6e3df32e4" providerId="AD" clId="Web-{CB562997-D875-4EFE-FBFD-B67A46D1E6B7}" dt="2025-02-24T14:42:18.512" v="129" actId="1076"/>
      <pc:docMkLst>
        <pc:docMk/>
      </pc:docMkLst>
      <pc:sldChg chg="addSp modSp new addAnim">
        <pc:chgData name="Dennis Buchberger" userId="S::buchberger@ant.uni-bremen.de::cfe5e5e7-b999-4ed2-8d25-bbd6e3df32e4" providerId="AD" clId="Web-{CB562997-D875-4EFE-FBFD-B67A46D1E6B7}" dt="2025-02-24T14:42:18.512" v="129" actId="1076"/>
        <pc:sldMkLst>
          <pc:docMk/>
          <pc:sldMk cId="3801953932" sldId="2147476937"/>
        </pc:sldMkLst>
      </pc:sldChg>
    </pc:docChg>
  </pc:docChgLst>
  <pc:docChgLst>
    <pc:chgData name="Dirk Wübben" userId="a27602df-5b54-480c-866c-64260ceb4949" providerId="ADAL" clId="{B9152457-D034-412D-B2E5-D965518DEF53}"/>
    <pc:docChg chg="undo redo custSel addSld delSld modSld delSection modSection">
      <pc:chgData name="Dirk Wübben" userId="a27602df-5b54-480c-866c-64260ceb4949" providerId="ADAL" clId="{B9152457-D034-412D-B2E5-D965518DEF53}" dt="2024-10-23T14:17:25.926" v="1471" actId="47"/>
      <pc:docMkLst>
        <pc:docMk/>
      </pc:docMkLst>
      <pc:sldChg chg="addSp modSp">
        <pc:chgData name="Dirk Wübben" userId="a27602df-5b54-480c-866c-64260ceb4949" providerId="ADAL" clId="{B9152457-D034-412D-B2E5-D965518DEF53}" dt="2024-10-17T07:56:35.821" v="979"/>
        <pc:sldMkLst>
          <pc:docMk/>
          <pc:sldMk cId="2367375905" sldId="262"/>
        </pc:sldMkLst>
      </pc:sldChg>
      <pc:sldChg chg="addSp modSp">
        <pc:chgData name="Dirk Wübben" userId="a27602df-5b54-480c-866c-64260ceb4949" providerId="ADAL" clId="{B9152457-D034-412D-B2E5-D965518DEF53}" dt="2024-10-17T07:56:51.663" v="981"/>
        <pc:sldMkLst>
          <pc:docMk/>
          <pc:sldMk cId="2792263198" sldId="263"/>
        </pc:sldMkLst>
      </pc:sldChg>
      <pc:sldChg chg="addSp modSp">
        <pc:chgData name="Dirk Wübben" userId="a27602df-5b54-480c-866c-64260ceb4949" providerId="ADAL" clId="{B9152457-D034-412D-B2E5-D965518DEF53}" dt="2024-10-17T07:56:44.908" v="980"/>
        <pc:sldMkLst>
          <pc:docMk/>
          <pc:sldMk cId="715311766" sldId="264"/>
        </pc:sldMkLst>
      </pc:sldChg>
      <pc:sldChg chg="addSp delSp modSp mod chgLayout">
        <pc:chgData name="Dirk Wübben" userId="a27602df-5b54-480c-866c-64260ceb4949" providerId="ADAL" clId="{B9152457-D034-412D-B2E5-D965518DEF53}" dt="2024-10-21T15:46:11.315" v="1012" actId="700"/>
        <pc:sldMkLst>
          <pc:docMk/>
          <pc:sldMk cId="1848419274" sldId="264"/>
        </pc:sldMkLst>
      </pc:sldChg>
      <pc:sldChg chg="modSp mod chgLayout">
        <pc:chgData name="Dirk Wübben" userId="a27602df-5b54-480c-866c-64260ceb4949" providerId="ADAL" clId="{B9152457-D034-412D-B2E5-D965518DEF53}" dt="2024-10-22T14:26:24.969" v="1295" actId="403"/>
        <pc:sldMkLst>
          <pc:docMk/>
          <pc:sldMk cId="1349728837" sldId="267"/>
        </pc:sldMkLst>
      </pc:sldChg>
      <pc:sldChg chg="addSp delSp modSp mod chgLayout">
        <pc:chgData name="Dirk Wübben" userId="a27602df-5b54-480c-866c-64260ceb4949" providerId="ADAL" clId="{B9152457-D034-412D-B2E5-D965518DEF53}" dt="2024-10-22T14:26:41.785" v="1297" actId="700"/>
        <pc:sldMkLst>
          <pc:docMk/>
          <pc:sldMk cId="3400339010" sldId="269"/>
        </pc:sldMkLst>
      </pc:sldChg>
      <pc:sldChg chg="addSp delSp modSp mod modClrScheme chgLayout">
        <pc:chgData name="Dirk Wübben" userId="a27602df-5b54-480c-866c-64260ceb4949" providerId="ADAL" clId="{B9152457-D034-412D-B2E5-D965518DEF53}" dt="2024-10-22T14:26:15.415" v="1292" actId="403"/>
        <pc:sldMkLst>
          <pc:docMk/>
          <pc:sldMk cId="2748807046" sldId="274"/>
        </pc:sldMkLst>
      </pc:sldChg>
      <pc:sldChg chg="modSp mod">
        <pc:chgData name="Dirk Wübben" userId="a27602df-5b54-480c-866c-64260ceb4949" providerId="ADAL" clId="{B9152457-D034-412D-B2E5-D965518DEF53}" dt="2024-10-15T08:18:52.055" v="1" actId="1038"/>
        <pc:sldMkLst>
          <pc:docMk/>
          <pc:sldMk cId="2277072009" sldId="409"/>
        </pc:sldMkLst>
      </pc:sldChg>
      <pc:sldChg chg="addSp delSp modSp mod">
        <pc:chgData name="Dirk Wübben" userId="a27602df-5b54-480c-866c-64260ceb4949" providerId="ADAL" clId="{B9152457-D034-412D-B2E5-D965518DEF53}" dt="2024-10-17T07:58:39.351" v="991" actId="14429"/>
        <pc:sldMkLst>
          <pc:docMk/>
          <pc:sldMk cId="1903714414" sldId="416"/>
        </pc:sldMkLst>
      </pc:sldChg>
      <pc:sldChg chg="addSp modSp mod">
        <pc:chgData name="Dirk Wübben" userId="a27602df-5b54-480c-866c-64260ceb4949" providerId="ADAL" clId="{B9152457-D034-412D-B2E5-D965518DEF53}" dt="2024-10-17T07:53:14.059" v="921" actId="6549"/>
        <pc:sldMkLst>
          <pc:docMk/>
          <pc:sldMk cId="4055870343" sldId="2147472502"/>
        </pc:sldMkLst>
      </pc:sldChg>
      <pc:sldChg chg="addSp modSp mod">
        <pc:chgData name="Dirk Wübben" userId="a27602df-5b54-480c-866c-64260ceb4949" providerId="ADAL" clId="{B9152457-D034-412D-B2E5-D965518DEF53}" dt="2024-10-17T07:52:35.315" v="912" actId="1076"/>
        <pc:sldMkLst>
          <pc:docMk/>
          <pc:sldMk cId="2621753809" sldId="2147472509"/>
        </pc:sldMkLst>
      </pc:sldChg>
      <pc:sldChg chg="addSp modSp">
        <pc:chgData name="Dirk Wübben" userId="a27602df-5b54-480c-866c-64260ceb4949" providerId="ADAL" clId="{B9152457-D034-412D-B2E5-D965518DEF53}" dt="2024-10-17T07:52:37.441" v="913"/>
        <pc:sldMkLst>
          <pc:docMk/>
          <pc:sldMk cId="2780177838" sldId="2147472511"/>
        </pc:sldMkLst>
      </pc:sldChg>
      <pc:sldChg chg="del">
        <pc:chgData name="Dirk Wübben" userId="a27602df-5b54-480c-866c-64260ceb4949" providerId="ADAL" clId="{B9152457-D034-412D-B2E5-D965518DEF53}" dt="2024-10-17T07:53:05.501" v="914" actId="47"/>
        <pc:sldMkLst>
          <pc:docMk/>
          <pc:sldMk cId="4273766805" sldId="2147472515"/>
        </pc:sldMkLst>
      </pc:sldChg>
      <pc:sldChg chg="delSp modSp del mod">
        <pc:chgData name="Dirk Wübben" userId="a27602df-5b54-480c-866c-64260ceb4949" providerId="ADAL" clId="{B9152457-D034-412D-B2E5-D965518DEF53}" dt="2024-10-17T07:50:27.384" v="885" actId="47"/>
        <pc:sldMkLst>
          <pc:docMk/>
          <pc:sldMk cId="600687088" sldId="2147472516"/>
        </pc:sldMkLst>
      </pc:sldChg>
      <pc:sldChg chg="delSp mod">
        <pc:chgData name="Dirk Wübben" userId="a27602df-5b54-480c-866c-64260ceb4949" providerId="ADAL" clId="{B9152457-D034-412D-B2E5-D965518DEF53}" dt="2024-10-22T14:21:32.668" v="1031" actId="478"/>
        <pc:sldMkLst>
          <pc:docMk/>
          <pc:sldMk cId="237492012" sldId="2147472535"/>
        </pc:sldMkLst>
      </pc:sldChg>
      <pc:sldChg chg="addSp modSp mod">
        <pc:chgData name="Dirk Wübben" userId="a27602df-5b54-480c-866c-64260ceb4949" providerId="ADAL" clId="{B9152457-D034-412D-B2E5-D965518DEF53}" dt="2024-10-17T08:02:37.022" v="1007" actId="6549"/>
        <pc:sldMkLst>
          <pc:docMk/>
          <pc:sldMk cId="3719215840" sldId="2147472539"/>
        </pc:sldMkLst>
      </pc:sldChg>
      <pc:sldChg chg="addSp delSp modSp mod">
        <pc:chgData name="Dirk Wübben" userId="a27602df-5b54-480c-866c-64260ceb4949" providerId="ADAL" clId="{B9152457-D034-412D-B2E5-D965518DEF53}" dt="2024-10-23T14:16:13.293" v="1467" actId="478"/>
        <pc:sldMkLst>
          <pc:docMk/>
          <pc:sldMk cId="2335996785" sldId="2147472543"/>
        </pc:sldMkLst>
      </pc:sldChg>
      <pc:sldChg chg="addSp modSp add del">
        <pc:chgData name="Dirk Wübben" userId="a27602df-5b54-480c-866c-64260ceb4949" providerId="ADAL" clId="{B9152457-D034-412D-B2E5-D965518DEF53}" dt="2024-10-23T14:17:10.561" v="1469" actId="47"/>
        <pc:sldMkLst>
          <pc:docMk/>
          <pc:sldMk cId="3744710436" sldId="2147472544"/>
        </pc:sldMkLst>
      </pc:sldChg>
      <pc:sldChg chg="addSp modSp">
        <pc:chgData name="Dirk Wübben" userId="a27602df-5b54-480c-866c-64260ceb4949" providerId="ADAL" clId="{B9152457-D034-412D-B2E5-D965518DEF53}" dt="2024-10-17T07:56:20.950" v="978"/>
        <pc:sldMkLst>
          <pc:docMk/>
          <pc:sldMk cId="106407812" sldId="2147472547"/>
        </pc:sldMkLst>
      </pc:sldChg>
      <pc:sldChg chg="addSp modSp">
        <pc:chgData name="Dirk Wübben" userId="a27602df-5b54-480c-866c-64260ceb4949" providerId="ADAL" clId="{B9152457-D034-412D-B2E5-D965518DEF53}" dt="2024-10-17T07:57:02.639" v="982"/>
        <pc:sldMkLst>
          <pc:docMk/>
          <pc:sldMk cId="811786820" sldId="2147472548"/>
        </pc:sldMkLst>
      </pc:sldChg>
      <pc:sldChg chg="addSp modSp mod">
        <pc:chgData name="Dirk Wübben" userId="a27602df-5b54-480c-866c-64260ceb4949" providerId="ADAL" clId="{B9152457-D034-412D-B2E5-D965518DEF53}" dt="2024-10-17T08:01:32.669" v="1003" actId="1076"/>
        <pc:sldMkLst>
          <pc:docMk/>
          <pc:sldMk cId="319463743" sldId="2147472549"/>
        </pc:sldMkLst>
      </pc:sldChg>
      <pc:sldChg chg="addSp modSp add del">
        <pc:chgData name="Dirk Wübben" userId="a27602df-5b54-480c-866c-64260ceb4949" providerId="ADAL" clId="{B9152457-D034-412D-B2E5-D965518DEF53}" dt="2024-10-23T14:17:10.561" v="1469" actId="47"/>
        <pc:sldMkLst>
          <pc:docMk/>
          <pc:sldMk cId="2685880669" sldId="2147472551"/>
        </pc:sldMkLst>
      </pc:sldChg>
      <pc:sldChg chg="addSp modSp add del">
        <pc:chgData name="Dirk Wübben" userId="a27602df-5b54-480c-866c-64260ceb4949" providerId="ADAL" clId="{B9152457-D034-412D-B2E5-D965518DEF53}" dt="2024-10-23T14:17:10.561" v="1469" actId="47"/>
        <pc:sldMkLst>
          <pc:docMk/>
          <pc:sldMk cId="1597934679" sldId="2147472552"/>
        </pc:sldMkLst>
      </pc:sldChg>
      <pc:sldChg chg="addSp modSp mod">
        <pc:chgData name="Dirk Wübben" userId="a27602df-5b54-480c-866c-64260ceb4949" providerId="ADAL" clId="{B9152457-D034-412D-B2E5-D965518DEF53}" dt="2024-10-17T07:59:56.643" v="1001" actId="1076"/>
        <pc:sldMkLst>
          <pc:docMk/>
          <pc:sldMk cId="2885984354" sldId="2147472558"/>
        </pc:sldMkLst>
      </pc:sldChg>
      <pc:sldChg chg="addSp modSp mod">
        <pc:chgData name="Dirk Wübben" userId="a27602df-5b54-480c-866c-64260ceb4949" providerId="ADAL" clId="{B9152457-D034-412D-B2E5-D965518DEF53}" dt="2024-10-17T07:58:57.477" v="993" actId="1076"/>
        <pc:sldMkLst>
          <pc:docMk/>
          <pc:sldMk cId="1962824018" sldId="2147472559"/>
        </pc:sldMkLst>
      </pc:sldChg>
      <pc:sldChg chg="addSp modSp">
        <pc:chgData name="Dirk Wübben" userId="a27602df-5b54-480c-866c-64260ceb4949" providerId="ADAL" clId="{B9152457-D034-412D-B2E5-D965518DEF53}" dt="2024-10-17T07:58:59.846" v="994"/>
        <pc:sldMkLst>
          <pc:docMk/>
          <pc:sldMk cId="2703493096" sldId="2147472560"/>
        </pc:sldMkLst>
      </pc:sldChg>
      <pc:sldChg chg="addSp modSp">
        <pc:chgData name="Dirk Wübben" userId="a27602df-5b54-480c-866c-64260ceb4949" providerId="ADAL" clId="{B9152457-D034-412D-B2E5-D965518DEF53}" dt="2024-10-17T08:01:56.400" v="1005"/>
        <pc:sldMkLst>
          <pc:docMk/>
          <pc:sldMk cId="4240751118" sldId="2147472561"/>
        </pc:sldMkLst>
      </pc:sldChg>
      <pc:sldChg chg="addSp modSp add del">
        <pc:chgData name="Dirk Wübben" userId="a27602df-5b54-480c-866c-64260ceb4949" providerId="ADAL" clId="{B9152457-D034-412D-B2E5-D965518DEF53}" dt="2024-10-23T14:17:10.561" v="1469" actId="47"/>
        <pc:sldMkLst>
          <pc:docMk/>
          <pc:sldMk cId="1830304761" sldId="2147472562"/>
        </pc:sldMkLst>
      </pc:sldChg>
      <pc:sldChg chg="addSp delSp modSp mod">
        <pc:chgData name="Dirk Wübben" userId="a27602df-5b54-480c-866c-64260ceb4949" providerId="ADAL" clId="{B9152457-D034-412D-B2E5-D965518DEF53}" dt="2024-10-23T09:52:15.383" v="1466" actId="20577"/>
        <pc:sldMkLst>
          <pc:docMk/>
          <pc:sldMk cId="1463133876" sldId="2147472564"/>
        </pc:sldMkLst>
      </pc:sldChg>
      <pc:sldChg chg="modSp del mod">
        <pc:chgData name="Dirk Wübben" userId="a27602df-5b54-480c-866c-64260ceb4949" providerId="ADAL" clId="{B9152457-D034-412D-B2E5-D965518DEF53}" dt="2024-10-15T08:29:10.088" v="386" actId="47"/>
        <pc:sldMkLst>
          <pc:docMk/>
          <pc:sldMk cId="715461091" sldId="2147472565"/>
        </pc:sldMkLst>
      </pc:sldChg>
      <pc:sldChg chg="add">
        <pc:chgData name="Dirk Wübben" userId="a27602df-5b54-480c-866c-64260ceb4949" providerId="ADAL" clId="{B9152457-D034-412D-B2E5-D965518DEF53}" dt="2024-10-23T14:16:59.302" v="1468"/>
        <pc:sldMkLst>
          <pc:docMk/>
          <pc:sldMk cId="1170095649" sldId="2147472567"/>
        </pc:sldMkLst>
      </pc:sldChg>
      <pc:sldChg chg="add">
        <pc:chgData name="Dirk Wübben" userId="a27602df-5b54-480c-866c-64260ceb4949" providerId="ADAL" clId="{B9152457-D034-412D-B2E5-D965518DEF53}" dt="2024-10-23T14:16:59.302" v="1468"/>
        <pc:sldMkLst>
          <pc:docMk/>
          <pc:sldMk cId="2175279067" sldId="2147472568"/>
        </pc:sldMkLst>
      </pc:sldChg>
      <pc:sldChg chg="add">
        <pc:chgData name="Dirk Wübben" userId="a27602df-5b54-480c-866c-64260ceb4949" providerId="ADAL" clId="{B9152457-D034-412D-B2E5-D965518DEF53}" dt="2024-10-23T14:16:59.302" v="1468"/>
        <pc:sldMkLst>
          <pc:docMk/>
          <pc:sldMk cId="1001824235" sldId="2147472569"/>
        </pc:sldMkLst>
      </pc:sldChg>
      <pc:sldChg chg="addSp delSp modSp new mod modClrScheme chgLayout">
        <pc:chgData name="Dirk Wübben" userId="a27602df-5b54-480c-866c-64260ceb4949" providerId="ADAL" clId="{B9152457-D034-412D-B2E5-D965518DEF53}" dt="2024-10-17T07:50:40.869" v="891" actId="20577"/>
        <pc:sldMkLst>
          <pc:docMk/>
          <pc:sldMk cId="3648413544" sldId="2147476861"/>
        </pc:sldMkLst>
      </pc:sldChg>
      <pc:sldChg chg="addSp modSp">
        <pc:chgData name="Dirk Wübben" userId="a27602df-5b54-480c-866c-64260ceb4949" providerId="ADAL" clId="{B9152457-D034-412D-B2E5-D965518DEF53}" dt="2024-10-17T07:59:16.870" v="996"/>
        <pc:sldMkLst>
          <pc:docMk/>
          <pc:sldMk cId="1194833940" sldId="2147476878"/>
        </pc:sldMkLst>
      </pc:sldChg>
      <pc:sldChg chg="addSp modSp">
        <pc:chgData name="Dirk Wübben" userId="a27602df-5b54-480c-866c-64260ceb4949" providerId="ADAL" clId="{B9152457-D034-412D-B2E5-D965518DEF53}" dt="2024-10-17T07:59:15.473" v="995"/>
        <pc:sldMkLst>
          <pc:docMk/>
          <pc:sldMk cId="1965443747" sldId="2147476879"/>
        </pc:sldMkLst>
      </pc:sldChg>
      <pc:sldChg chg="addSp modSp del">
        <pc:chgData name="Dirk Wübben" userId="a27602df-5b54-480c-866c-64260ceb4949" providerId="ADAL" clId="{B9152457-D034-412D-B2E5-D965518DEF53}" dt="2024-10-23T14:17:15.048" v="1470" actId="47"/>
        <pc:sldMkLst>
          <pc:docMk/>
          <pc:sldMk cId="113998610" sldId="2147476880"/>
        </pc:sldMkLst>
      </pc:sldChg>
      <pc:sldChg chg="addSp delSp modSp add mod">
        <pc:chgData name="Dirk Wübben" userId="a27602df-5b54-480c-866c-64260ceb4949" providerId="ADAL" clId="{B9152457-D034-412D-B2E5-D965518DEF53}" dt="2024-10-22T14:23:21.809" v="1275" actId="20577"/>
        <pc:sldMkLst>
          <pc:docMk/>
          <pc:sldMk cId="2797061931" sldId="2147476881"/>
        </pc:sldMkLst>
      </pc:sldChg>
      <pc:sldChg chg="addSp delSp modSp new mod">
        <pc:chgData name="Dirk Wübben" userId="a27602df-5b54-480c-866c-64260ceb4949" providerId="ADAL" clId="{B9152457-D034-412D-B2E5-D965518DEF53}" dt="2024-10-17T07:56:09.389" v="973" actId="478"/>
        <pc:sldMkLst>
          <pc:docMk/>
          <pc:sldMk cId="566569657" sldId="2147476882"/>
        </pc:sldMkLst>
      </pc:sldChg>
      <pc:sldChg chg="modSp del mod">
        <pc:chgData name="Dirk Wübben" userId="a27602df-5b54-480c-866c-64260ceb4949" providerId="ADAL" clId="{B9152457-D034-412D-B2E5-D965518DEF53}" dt="2024-10-22T19:51:02.912" v="1382" actId="47"/>
        <pc:sldMkLst>
          <pc:docMk/>
          <pc:sldMk cId="2123224230" sldId="2147476905"/>
        </pc:sldMkLst>
      </pc:sldChg>
      <pc:sldChg chg="addSp delSp modSp new del mod chgLayout">
        <pc:chgData name="Dirk Wübben" userId="a27602df-5b54-480c-866c-64260ceb4949" providerId="ADAL" clId="{B9152457-D034-412D-B2E5-D965518DEF53}" dt="2024-10-21T15:47:22.979" v="1026" actId="680"/>
        <pc:sldMkLst>
          <pc:docMk/>
          <pc:sldMk cId="2201414817" sldId="2147476907"/>
        </pc:sldMkLst>
      </pc:sldChg>
      <pc:sldChg chg="add del">
        <pc:chgData name="Dirk Wübben" userId="a27602df-5b54-480c-866c-64260ceb4949" providerId="ADAL" clId="{B9152457-D034-412D-B2E5-D965518DEF53}" dt="2024-10-21T15:47:18.438" v="1022"/>
        <pc:sldMkLst>
          <pc:docMk/>
          <pc:sldMk cId="1177201426" sldId="2147476908"/>
        </pc:sldMkLst>
      </pc:sldChg>
      <pc:sldChg chg="del">
        <pc:chgData name="Dirk Wübben" userId="a27602df-5b54-480c-866c-64260ceb4949" providerId="ADAL" clId="{B9152457-D034-412D-B2E5-D965518DEF53}" dt="2024-10-23T14:17:15.048" v="1470" actId="47"/>
        <pc:sldMkLst>
          <pc:docMk/>
          <pc:sldMk cId="1553401679" sldId="2147476912"/>
        </pc:sldMkLst>
      </pc:sldChg>
      <pc:sldChg chg="new del">
        <pc:chgData name="Dirk Wübben" userId="a27602df-5b54-480c-866c-64260ceb4949" providerId="ADAL" clId="{B9152457-D034-412D-B2E5-D965518DEF53}" dt="2024-10-23T08:03:28.798" v="1383" actId="47"/>
        <pc:sldMkLst>
          <pc:docMk/>
          <pc:sldMk cId="1058998340" sldId="2147476916"/>
        </pc:sldMkLst>
      </pc:sldChg>
      <pc:sldChg chg="modSp add mod">
        <pc:chgData name="Dirk Wübben" userId="a27602df-5b54-480c-866c-64260ceb4949" providerId="ADAL" clId="{B9152457-D034-412D-B2E5-D965518DEF53}" dt="2024-10-22T19:48:39.795" v="1324" actId="20577"/>
        <pc:sldMkLst>
          <pc:docMk/>
          <pc:sldMk cId="912650279" sldId="2147476917"/>
        </pc:sldMkLst>
      </pc:sldChg>
      <pc:sldChg chg="del">
        <pc:chgData name="Dirk Wübben" userId="a27602df-5b54-480c-866c-64260ceb4949" providerId="ADAL" clId="{B9152457-D034-412D-B2E5-D965518DEF53}" dt="2024-10-23T14:17:10.561" v="1469" actId="47"/>
        <pc:sldMkLst>
          <pc:docMk/>
          <pc:sldMk cId="365676027" sldId="2147476920"/>
        </pc:sldMkLst>
      </pc:sldChg>
      <pc:sldChg chg="add del">
        <pc:chgData name="Dirk Wübben" userId="a27602df-5b54-480c-866c-64260ceb4949" providerId="ADAL" clId="{B9152457-D034-412D-B2E5-D965518DEF53}" dt="2024-10-23T14:17:25.926" v="1471" actId="47"/>
        <pc:sldMkLst>
          <pc:docMk/>
          <pc:sldMk cId="2777163463" sldId="2147476923"/>
        </pc:sldMkLst>
      </pc:sldChg>
      <pc:sldChg chg="add">
        <pc:chgData name="Dirk Wübben" userId="a27602df-5b54-480c-866c-64260ceb4949" providerId="ADAL" clId="{B9152457-D034-412D-B2E5-D965518DEF53}" dt="2024-10-23T14:16:59.302" v="1468"/>
        <pc:sldMkLst>
          <pc:docMk/>
          <pc:sldMk cId="2699808742" sldId="2147476924"/>
        </pc:sldMkLst>
      </pc:sldChg>
      <pc:sldChg chg="add">
        <pc:chgData name="Dirk Wübben" userId="a27602df-5b54-480c-866c-64260ceb4949" providerId="ADAL" clId="{B9152457-D034-412D-B2E5-D965518DEF53}" dt="2024-10-23T14:16:59.302" v="1468"/>
        <pc:sldMkLst>
          <pc:docMk/>
          <pc:sldMk cId="3788563094" sldId="2147476925"/>
        </pc:sldMkLst>
      </pc:sldChg>
    </pc:docChg>
  </pc:docChgLst>
  <pc:docChgLst>
    <pc:chgData name="benjamin.barth@dlr.de" userId="S::benjamin.barth_dlr.de#ext#@antunibremen.onmicrosoft.com::125bcdd7-effb-4ed3-ab95-be7e18fe1b24" providerId="AD" clId="Web-{35BD273D-DA53-4DEE-974E-CF967D51D839}"/>
    <pc:docChg chg="modSld">
      <pc:chgData name="benjamin.barth@dlr.de" userId="S::benjamin.barth_dlr.de#ext#@antunibremen.onmicrosoft.com::125bcdd7-effb-4ed3-ab95-be7e18fe1b24" providerId="AD" clId="Web-{35BD273D-DA53-4DEE-974E-CF967D51D839}" dt="2025-03-19T07:46:18.287" v="172" actId="14100"/>
      <pc:docMkLst>
        <pc:docMk/>
      </pc:docMkLst>
      <pc:sldChg chg="addSp delSp modSp">
        <pc:chgData name="benjamin.barth@dlr.de" userId="S::benjamin.barth_dlr.de#ext#@antunibremen.onmicrosoft.com::125bcdd7-effb-4ed3-ab95-be7e18fe1b24" providerId="AD" clId="Web-{35BD273D-DA53-4DEE-974E-CF967D51D839}" dt="2025-03-19T07:46:18.287" v="172" actId="14100"/>
        <pc:sldMkLst>
          <pc:docMk/>
          <pc:sldMk cId="4217844185" sldId="2147477025"/>
        </pc:sldMkLst>
      </pc:sldChg>
    </pc:docChg>
  </pc:docChgLst>
  <pc:docChgLst>
    <pc:chgData name="timon.petermann@telematik-zentrum.de" userId="S::timon.petermann_telematik-zentrum.de#ext#@antunibremen.onmicrosoft.com::09e0c723-61db-4925-a819-cd79f1389da8" providerId="AD" clId="Web-{BD499A86-7053-1BE5-6B2D-35E65428A734}"/>
    <pc:docChg chg="addSld delSld modSld modSection">
      <pc:chgData name="timon.petermann@telematik-zentrum.de" userId="S::timon.petermann_telematik-zentrum.de#ext#@antunibremen.onmicrosoft.com::09e0c723-61db-4925-a819-cd79f1389da8" providerId="AD" clId="Web-{BD499A86-7053-1BE5-6B2D-35E65428A734}" dt="2024-10-18T11:05:26.383" v="85"/>
      <pc:docMkLst>
        <pc:docMk/>
      </pc:docMkLst>
      <pc:sldChg chg="add">
        <pc:chgData name="timon.petermann@telematik-zentrum.de" userId="S::timon.petermann_telematik-zentrum.de#ext#@antunibremen.onmicrosoft.com::09e0c723-61db-4925-a819-cd79f1389da8" providerId="AD" clId="Web-{BD499A86-7053-1BE5-6B2D-35E65428A734}" dt="2024-10-18T10:02:39.995" v="4"/>
        <pc:sldMkLst>
          <pc:docMk/>
          <pc:sldMk cId="601664267" sldId="261"/>
        </pc:sldMkLst>
      </pc:sldChg>
      <pc:sldChg chg="del">
        <pc:chgData name="timon.petermann@telematik-zentrum.de" userId="S::timon.petermann_telematik-zentrum.de#ext#@antunibremen.onmicrosoft.com::09e0c723-61db-4925-a819-cd79f1389da8" providerId="AD" clId="Web-{BD499A86-7053-1BE5-6B2D-35E65428A734}" dt="2024-10-18T10:03:09.339" v="18"/>
        <pc:sldMkLst>
          <pc:docMk/>
          <pc:sldMk cId="2367375905" sldId="262"/>
        </pc:sldMkLst>
      </pc:sldChg>
      <pc:sldChg chg="del">
        <pc:chgData name="timon.petermann@telematik-zentrum.de" userId="S::timon.petermann_telematik-zentrum.de#ext#@antunibremen.onmicrosoft.com::09e0c723-61db-4925-a819-cd79f1389da8" providerId="AD" clId="Web-{BD499A86-7053-1BE5-6B2D-35E65428A734}" dt="2024-10-18T10:03:21.357" v="19"/>
        <pc:sldMkLst>
          <pc:docMk/>
          <pc:sldMk cId="2792263198" sldId="263"/>
        </pc:sldMkLst>
      </pc:sldChg>
      <pc:sldChg chg="add del">
        <pc:chgData name="timon.petermann@telematik-zentrum.de" userId="S::timon.petermann_telematik-zentrum.de#ext#@antunibremen.onmicrosoft.com::09e0c723-61db-4925-a819-cd79f1389da8" providerId="AD" clId="Web-{BD499A86-7053-1BE5-6B2D-35E65428A734}" dt="2024-10-18T11:05:26.383" v="85"/>
        <pc:sldMkLst>
          <pc:docMk/>
          <pc:sldMk cId="715311766" sldId="264"/>
        </pc:sldMkLst>
      </pc:sldChg>
      <pc:sldChg chg="add">
        <pc:chgData name="timon.petermann@telematik-zentrum.de" userId="S::timon.petermann_telematik-zentrum.de#ext#@antunibremen.onmicrosoft.com::09e0c723-61db-4925-a819-cd79f1389da8" providerId="AD" clId="Web-{BD499A86-7053-1BE5-6B2D-35E65428A734}" dt="2024-10-18T10:02:40.135" v="11"/>
        <pc:sldMkLst>
          <pc:docMk/>
          <pc:sldMk cId="2064440054" sldId="268"/>
        </pc:sldMkLst>
      </pc:sldChg>
      <pc:sldChg chg="add">
        <pc:chgData name="timon.petermann@telematik-zentrum.de" userId="S::timon.petermann_telematik-zentrum.de#ext#@antunibremen.onmicrosoft.com::09e0c723-61db-4925-a819-cd79f1389da8" providerId="AD" clId="Web-{BD499A86-7053-1BE5-6B2D-35E65428A734}" dt="2024-10-18T10:02:40.010" v="5"/>
        <pc:sldMkLst>
          <pc:docMk/>
          <pc:sldMk cId="2208714601" sldId="273"/>
        </pc:sldMkLst>
      </pc:sldChg>
      <pc:sldChg chg="addSp delSp modSp">
        <pc:chgData name="timon.petermann@telematik-zentrum.de" userId="S::timon.petermann_telematik-zentrum.de#ext#@antunibremen.onmicrosoft.com::09e0c723-61db-4925-a819-cd79f1389da8" providerId="AD" clId="Web-{BD499A86-7053-1BE5-6B2D-35E65428A734}" dt="2024-10-18T11:05:18.664" v="84"/>
        <pc:sldMkLst>
          <pc:docMk/>
          <pc:sldMk cId="106407812" sldId="2147472547"/>
        </pc:sldMkLst>
      </pc:sldChg>
      <pc:sldChg chg="del">
        <pc:chgData name="timon.petermann@telematik-zentrum.de" userId="S::timon.petermann_telematik-zentrum.de#ext#@antunibremen.onmicrosoft.com::09e0c723-61db-4925-a819-cd79f1389da8" providerId="AD" clId="Web-{BD499A86-7053-1BE5-6B2D-35E65428A734}" dt="2024-10-18T10:03:07.855" v="17"/>
        <pc:sldMkLst>
          <pc:docMk/>
          <pc:sldMk cId="3936702495" sldId="2147472569"/>
        </pc:sldMkLst>
      </pc:sldChg>
      <pc:sldChg chg="add">
        <pc:chgData name="timon.petermann@telematik-zentrum.de" userId="S::timon.petermann_telematik-zentrum.de#ext#@antunibremen.onmicrosoft.com::09e0c723-61db-4925-a819-cd79f1389da8" providerId="AD" clId="Web-{BD499A86-7053-1BE5-6B2D-35E65428A734}" dt="2024-10-18T10:02:40.042" v="6"/>
        <pc:sldMkLst>
          <pc:docMk/>
          <pc:sldMk cId="1132672783" sldId="2147476887"/>
        </pc:sldMkLst>
      </pc:sldChg>
      <pc:sldChg chg="add">
        <pc:chgData name="timon.petermann@telematik-zentrum.de" userId="S::timon.petermann_telematik-zentrum.de#ext#@antunibremen.onmicrosoft.com::09e0c723-61db-4925-a819-cd79f1389da8" providerId="AD" clId="Web-{BD499A86-7053-1BE5-6B2D-35E65428A734}" dt="2024-10-18T10:02:40.073" v="7"/>
        <pc:sldMkLst>
          <pc:docMk/>
          <pc:sldMk cId="1420673530" sldId="2147476888"/>
        </pc:sldMkLst>
      </pc:sldChg>
      <pc:sldChg chg="add">
        <pc:chgData name="timon.petermann@telematik-zentrum.de" userId="S::timon.petermann_telematik-zentrum.de#ext#@antunibremen.onmicrosoft.com::09e0c723-61db-4925-a819-cd79f1389da8" providerId="AD" clId="Web-{BD499A86-7053-1BE5-6B2D-35E65428A734}" dt="2024-10-18T10:02:40.089" v="8"/>
        <pc:sldMkLst>
          <pc:docMk/>
          <pc:sldMk cId="2683184328" sldId="2147476889"/>
        </pc:sldMkLst>
      </pc:sldChg>
      <pc:sldChg chg="modSp add">
        <pc:chgData name="timon.petermann@telematik-zentrum.de" userId="S::timon.petermann_telematik-zentrum.de#ext#@antunibremen.onmicrosoft.com::09e0c723-61db-4925-a819-cd79f1389da8" providerId="AD" clId="Web-{BD499A86-7053-1BE5-6B2D-35E65428A734}" dt="2024-10-18T10:04:11.748" v="79" actId="1076"/>
        <pc:sldMkLst>
          <pc:docMk/>
          <pc:sldMk cId="2565903550" sldId="2147476890"/>
        </pc:sldMkLst>
      </pc:sldChg>
      <pc:sldChg chg="add">
        <pc:chgData name="timon.petermann@telematik-zentrum.de" userId="S::timon.petermann_telematik-zentrum.de#ext#@antunibremen.onmicrosoft.com::09e0c723-61db-4925-a819-cd79f1389da8" providerId="AD" clId="Web-{BD499A86-7053-1BE5-6B2D-35E65428A734}" dt="2024-10-18T10:02:40.120" v="10"/>
        <pc:sldMkLst>
          <pc:docMk/>
          <pc:sldMk cId="1603383790" sldId="2147476891"/>
        </pc:sldMkLst>
      </pc:sldChg>
      <pc:sldChg chg="add del">
        <pc:chgData name="timon.petermann@telematik-zentrum.de" userId="S::timon.petermann_telematik-zentrum.de#ext#@antunibremen.onmicrosoft.com::09e0c723-61db-4925-a819-cd79f1389da8" providerId="AD" clId="Web-{BD499A86-7053-1BE5-6B2D-35E65428A734}" dt="2024-10-18T10:03:04.605" v="16"/>
        <pc:sldMkLst>
          <pc:docMk/>
          <pc:sldMk cId="3485633261" sldId="2147476892"/>
        </pc:sldMkLst>
      </pc:sldChg>
      <pc:sldChg chg="add del">
        <pc:chgData name="timon.petermann@telematik-zentrum.de" userId="S::timon.petermann_telematik-zentrum.de#ext#@antunibremen.onmicrosoft.com::09e0c723-61db-4925-a819-cd79f1389da8" providerId="AD" clId="Web-{BD499A86-7053-1BE5-6B2D-35E65428A734}" dt="2024-10-18T10:03:04.589" v="15"/>
        <pc:sldMkLst>
          <pc:docMk/>
          <pc:sldMk cId="2294177321" sldId="2147476893"/>
        </pc:sldMkLst>
      </pc:sldChg>
      <pc:sldChg chg="add">
        <pc:chgData name="timon.petermann@telematik-zentrum.de" userId="S::timon.petermann_telematik-zentrum.de#ext#@antunibremen.onmicrosoft.com::09e0c723-61db-4925-a819-cd79f1389da8" providerId="AD" clId="Web-{BD499A86-7053-1BE5-6B2D-35E65428A734}" dt="2024-10-18T10:02:40.260" v="14"/>
        <pc:sldMkLst>
          <pc:docMk/>
          <pc:sldMk cId="714228859" sldId="2147476894"/>
        </pc:sldMkLst>
      </pc:sldChg>
    </pc:docChg>
  </pc:docChgLst>
  <pc:docChgLst>
    <pc:chgData name="Dirk Wübben" userId="a27602df-5b54-480c-866c-64260ceb4949" providerId="ADAL" clId="{37BE8744-2CCE-424F-B4A7-DEFAC50FDE3F}"/>
    <pc:docChg chg="undo redo custSel addSld delSld modSld sldOrd addSection delSection modSection">
      <pc:chgData name="Dirk Wübben" userId="a27602df-5b54-480c-866c-64260ceb4949" providerId="ADAL" clId="{37BE8744-2CCE-424F-B4A7-DEFAC50FDE3F}" dt="2025-03-04T10:19:03.278" v="3741" actId="729"/>
      <pc:docMkLst>
        <pc:docMk/>
      </pc:docMkLst>
      <pc:sldChg chg="addSp delSp modSp mod">
        <pc:chgData name="Dirk Wübben" userId="a27602df-5b54-480c-866c-64260ceb4949" providerId="ADAL" clId="{37BE8744-2CCE-424F-B4A7-DEFAC50FDE3F}" dt="2025-03-03T13:42:40.619" v="3324" actId="478"/>
        <pc:sldMkLst>
          <pc:docMk/>
          <pc:sldMk cId="0" sldId="258"/>
        </pc:sldMkLst>
        <pc:spChg chg="mod">
          <ac:chgData name="Dirk Wübben" userId="a27602df-5b54-480c-866c-64260ceb4949" providerId="ADAL" clId="{37BE8744-2CCE-424F-B4A7-DEFAC50FDE3F}" dt="2025-02-10T10:40:11.077" v="25" actId="6549"/>
          <ac:spMkLst>
            <pc:docMk/>
            <pc:sldMk cId="0" sldId="258"/>
            <ac:spMk id="8" creationId="{B920F805-83F7-4D3B-B498-15EC0814BC4C}"/>
          </ac:spMkLst>
        </pc:spChg>
      </pc:sldChg>
      <pc:sldChg chg="del">
        <pc:chgData name="Dirk Wübben" userId="a27602df-5b54-480c-866c-64260ceb4949" providerId="ADAL" clId="{37BE8744-2CCE-424F-B4A7-DEFAC50FDE3F}" dt="2025-02-24T13:35:22.544" v="818" actId="47"/>
        <pc:sldMkLst>
          <pc:docMk/>
          <pc:sldMk cId="1852633294" sldId="259"/>
        </pc:sldMkLst>
      </pc:sldChg>
      <pc:sldChg chg="add del">
        <pc:chgData name="Dirk Wübben" userId="a27602df-5b54-480c-866c-64260ceb4949" providerId="ADAL" clId="{37BE8744-2CCE-424F-B4A7-DEFAC50FDE3F}" dt="2025-02-24T13:35:56.778" v="821" actId="47"/>
        <pc:sldMkLst>
          <pc:docMk/>
          <pc:sldMk cId="601664267" sldId="261"/>
        </pc:sldMkLst>
      </pc:sldChg>
      <pc:sldChg chg="del">
        <pc:chgData name="Dirk Wübben" userId="a27602df-5b54-480c-866c-64260ceb4949" providerId="ADAL" clId="{37BE8744-2CCE-424F-B4A7-DEFAC50FDE3F}" dt="2025-02-24T13:35:22.544" v="818" actId="47"/>
        <pc:sldMkLst>
          <pc:docMk/>
          <pc:sldMk cId="1848419274" sldId="264"/>
        </pc:sldMkLst>
      </pc:sldChg>
      <pc:sldChg chg="del">
        <pc:chgData name="Dirk Wübben" userId="a27602df-5b54-480c-866c-64260ceb4949" providerId="ADAL" clId="{37BE8744-2CCE-424F-B4A7-DEFAC50FDE3F}" dt="2025-02-10T10:41:48.920" v="78" actId="47"/>
        <pc:sldMkLst>
          <pc:docMk/>
          <pc:sldMk cId="2539413954" sldId="265"/>
        </pc:sldMkLst>
      </pc:sldChg>
      <pc:sldChg chg="del">
        <pc:chgData name="Dirk Wübben" userId="a27602df-5b54-480c-866c-64260ceb4949" providerId="ADAL" clId="{37BE8744-2CCE-424F-B4A7-DEFAC50FDE3F}" dt="2025-02-24T13:35:22.544" v="818" actId="47"/>
        <pc:sldMkLst>
          <pc:docMk/>
          <pc:sldMk cId="1349728837" sldId="267"/>
        </pc:sldMkLst>
      </pc:sldChg>
      <pc:sldChg chg="add del">
        <pc:chgData name="Dirk Wübben" userId="a27602df-5b54-480c-866c-64260ceb4949" providerId="ADAL" clId="{37BE8744-2CCE-424F-B4A7-DEFAC50FDE3F}" dt="2025-02-24T13:35:56.778" v="821" actId="47"/>
        <pc:sldMkLst>
          <pc:docMk/>
          <pc:sldMk cId="2064440054" sldId="268"/>
        </pc:sldMkLst>
      </pc:sldChg>
      <pc:sldChg chg="del">
        <pc:chgData name="Dirk Wübben" userId="a27602df-5b54-480c-866c-64260ceb4949" providerId="ADAL" clId="{37BE8744-2CCE-424F-B4A7-DEFAC50FDE3F}" dt="2025-02-24T13:35:22.544" v="818" actId="47"/>
        <pc:sldMkLst>
          <pc:docMk/>
          <pc:sldMk cId="3400339010" sldId="269"/>
        </pc:sldMkLst>
      </pc:sldChg>
      <pc:sldChg chg="del">
        <pc:chgData name="Dirk Wübben" userId="a27602df-5b54-480c-866c-64260ceb4949" providerId="ADAL" clId="{37BE8744-2CCE-424F-B4A7-DEFAC50FDE3F}" dt="2025-02-24T13:35:22.544" v="818" actId="47"/>
        <pc:sldMkLst>
          <pc:docMk/>
          <pc:sldMk cId="1704986583" sldId="270"/>
        </pc:sldMkLst>
      </pc:sldChg>
      <pc:sldChg chg="del">
        <pc:chgData name="Dirk Wübben" userId="a27602df-5b54-480c-866c-64260ceb4949" providerId="ADAL" clId="{37BE8744-2CCE-424F-B4A7-DEFAC50FDE3F}" dt="2025-02-24T13:35:22.544" v="818" actId="47"/>
        <pc:sldMkLst>
          <pc:docMk/>
          <pc:sldMk cId="2237517558" sldId="271"/>
        </pc:sldMkLst>
      </pc:sldChg>
      <pc:sldChg chg="add del">
        <pc:chgData name="Dirk Wübben" userId="a27602df-5b54-480c-866c-64260ceb4949" providerId="ADAL" clId="{37BE8744-2CCE-424F-B4A7-DEFAC50FDE3F}" dt="2025-02-24T13:35:56.778" v="821" actId="47"/>
        <pc:sldMkLst>
          <pc:docMk/>
          <pc:sldMk cId="2208714601" sldId="273"/>
        </pc:sldMkLst>
      </pc:sldChg>
      <pc:sldChg chg="del">
        <pc:chgData name="Dirk Wübben" userId="a27602df-5b54-480c-866c-64260ceb4949" providerId="ADAL" clId="{37BE8744-2CCE-424F-B4A7-DEFAC50FDE3F}" dt="2025-02-24T13:35:22.544" v="818" actId="47"/>
        <pc:sldMkLst>
          <pc:docMk/>
          <pc:sldMk cId="2748807046" sldId="274"/>
        </pc:sldMkLst>
      </pc:sldChg>
      <pc:sldChg chg="del">
        <pc:chgData name="Dirk Wübben" userId="a27602df-5b54-480c-866c-64260ceb4949" providerId="ADAL" clId="{37BE8744-2CCE-424F-B4A7-DEFAC50FDE3F}" dt="2025-02-24T13:38:29.906" v="846" actId="47"/>
        <pc:sldMkLst>
          <pc:docMk/>
          <pc:sldMk cId="3945475399" sldId="289"/>
        </pc:sldMkLst>
      </pc:sldChg>
      <pc:sldChg chg="del">
        <pc:chgData name="Dirk Wübben" userId="a27602df-5b54-480c-866c-64260ceb4949" providerId="ADAL" clId="{37BE8744-2CCE-424F-B4A7-DEFAC50FDE3F}" dt="2025-02-24T13:38:29.906" v="846" actId="47"/>
        <pc:sldMkLst>
          <pc:docMk/>
          <pc:sldMk cId="1527793017" sldId="290"/>
        </pc:sldMkLst>
      </pc:sldChg>
      <pc:sldChg chg="del">
        <pc:chgData name="Dirk Wübben" userId="a27602df-5b54-480c-866c-64260ceb4949" providerId="ADAL" clId="{37BE8744-2CCE-424F-B4A7-DEFAC50FDE3F}" dt="2025-02-24T13:38:29.906" v="846" actId="47"/>
        <pc:sldMkLst>
          <pc:docMk/>
          <pc:sldMk cId="834027754" sldId="291"/>
        </pc:sldMkLst>
      </pc:sldChg>
      <pc:sldChg chg="del">
        <pc:chgData name="Dirk Wübben" userId="a27602df-5b54-480c-866c-64260ceb4949" providerId="ADAL" clId="{37BE8744-2CCE-424F-B4A7-DEFAC50FDE3F}" dt="2025-02-10T10:41:48.920" v="78" actId="47"/>
        <pc:sldMkLst>
          <pc:docMk/>
          <pc:sldMk cId="2090211478" sldId="305"/>
        </pc:sldMkLst>
      </pc:sldChg>
      <pc:sldChg chg="del">
        <pc:chgData name="Dirk Wübben" userId="a27602df-5b54-480c-866c-64260ceb4949" providerId="ADAL" clId="{37BE8744-2CCE-424F-B4A7-DEFAC50FDE3F}" dt="2025-02-10T10:41:23.720" v="74" actId="47"/>
        <pc:sldMkLst>
          <pc:docMk/>
          <pc:sldMk cId="3018826609" sldId="406"/>
        </pc:sldMkLst>
      </pc:sldChg>
      <pc:sldChg chg="addSp delSp modSp mod">
        <pc:chgData name="Dirk Wübben" userId="a27602df-5b54-480c-866c-64260ceb4949" providerId="ADAL" clId="{37BE8744-2CCE-424F-B4A7-DEFAC50FDE3F}" dt="2025-03-03T20:20:43.951" v="3506" actId="20577"/>
        <pc:sldMkLst>
          <pc:docMk/>
          <pc:sldMk cId="2277072009" sldId="409"/>
        </pc:sldMkLst>
      </pc:sldChg>
      <pc:sldChg chg="del">
        <pc:chgData name="Dirk Wübben" userId="a27602df-5b54-480c-866c-64260ceb4949" providerId="ADAL" clId="{37BE8744-2CCE-424F-B4A7-DEFAC50FDE3F}" dt="2025-02-10T10:41:23.720" v="74" actId="47"/>
        <pc:sldMkLst>
          <pc:docMk/>
          <pc:sldMk cId="187175673" sldId="411"/>
        </pc:sldMkLst>
      </pc:sldChg>
      <pc:sldChg chg="del">
        <pc:chgData name="Dirk Wübben" userId="a27602df-5b54-480c-866c-64260ceb4949" providerId="ADAL" clId="{37BE8744-2CCE-424F-B4A7-DEFAC50FDE3F}" dt="2025-02-10T10:41:28.264" v="75" actId="47"/>
        <pc:sldMkLst>
          <pc:docMk/>
          <pc:sldMk cId="104511861" sldId="2147472510"/>
        </pc:sldMkLst>
      </pc:sldChg>
      <pc:sldChg chg="del">
        <pc:chgData name="Dirk Wübben" userId="a27602df-5b54-480c-866c-64260ceb4949" providerId="ADAL" clId="{37BE8744-2CCE-424F-B4A7-DEFAC50FDE3F}" dt="2025-02-10T10:41:28.264" v="75" actId="47"/>
        <pc:sldMkLst>
          <pc:docMk/>
          <pc:sldMk cId="727142129" sldId="2147472519"/>
        </pc:sldMkLst>
      </pc:sldChg>
      <pc:sldChg chg="del">
        <pc:chgData name="Dirk Wübben" userId="a27602df-5b54-480c-866c-64260ceb4949" providerId="ADAL" clId="{37BE8744-2CCE-424F-B4A7-DEFAC50FDE3F}" dt="2025-02-10T10:40:57.480" v="73" actId="47"/>
        <pc:sldMkLst>
          <pc:docMk/>
          <pc:sldMk cId="1655634797" sldId="2147472520"/>
        </pc:sldMkLst>
      </pc:sldChg>
      <pc:sldChg chg="del">
        <pc:chgData name="Dirk Wübben" userId="a27602df-5b54-480c-866c-64260ceb4949" providerId="ADAL" clId="{37BE8744-2CCE-424F-B4A7-DEFAC50FDE3F}" dt="2025-02-24T13:35:22.544" v="818" actId="47"/>
        <pc:sldMkLst>
          <pc:docMk/>
          <pc:sldMk cId="4272447073" sldId="2147472540"/>
        </pc:sldMkLst>
      </pc:sldChg>
      <pc:sldChg chg="del">
        <pc:chgData name="Dirk Wübben" userId="a27602df-5b54-480c-866c-64260ceb4949" providerId="ADAL" clId="{37BE8744-2CCE-424F-B4A7-DEFAC50FDE3F}" dt="2025-02-24T13:38:29.906" v="846" actId="47"/>
        <pc:sldMkLst>
          <pc:docMk/>
          <pc:sldMk cId="1562068212" sldId="2147472541"/>
        </pc:sldMkLst>
      </pc:sldChg>
      <pc:sldChg chg="del">
        <pc:chgData name="Dirk Wübben" userId="a27602df-5b54-480c-866c-64260ceb4949" providerId="ADAL" clId="{37BE8744-2CCE-424F-B4A7-DEFAC50FDE3F}" dt="2025-02-24T13:38:29.906" v="846" actId="47"/>
        <pc:sldMkLst>
          <pc:docMk/>
          <pc:sldMk cId="4186752563" sldId="2147472542"/>
        </pc:sldMkLst>
      </pc:sldChg>
      <pc:sldChg chg="add del">
        <pc:chgData name="Dirk Wübben" userId="a27602df-5b54-480c-866c-64260ceb4949" providerId="ADAL" clId="{37BE8744-2CCE-424F-B4A7-DEFAC50FDE3F}" dt="2025-02-24T13:35:56.778" v="821" actId="47"/>
        <pc:sldMkLst>
          <pc:docMk/>
          <pc:sldMk cId="2335996785" sldId="2147472543"/>
        </pc:sldMkLst>
      </pc:sldChg>
      <pc:sldChg chg="del">
        <pc:chgData name="Dirk Wübben" userId="a27602df-5b54-480c-866c-64260ceb4949" providerId="ADAL" clId="{37BE8744-2CCE-424F-B4A7-DEFAC50FDE3F}" dt="2025-02-24T13:38:16.037" v="845" actId="47"/>
        <pc:sldMkLst>
          <pc:docMk/>
          <pc:sldMk cId="1773697133" sldId="2147472545"/>
        </pc:sldMkLst>
      </pc:sldChg>
      <pc:sldChg chg="del">
        <pc:chgData name="Dirk Wübben" userId="a27602df-5b54-480c-866c-64260ceb4949" providerId="ADAL" clId="{37BE8744-2CCE-424F-B4A7-DEFAC50FDE3F}" dt="2025-02-24T13:38:16.037" v="845" actId="47"/>
        <pc:sldMkLst>
          <pc:docMk/>
          <pc:sldMk cId="1536693095" sldId="2147472546"/>
        </pc:sldMkLst>
      </pc:sldChg>
      <pc:sldChg chg="add del">
        <pc:chgData name="Dirk Wübben" userId="a27602df-5b54-480c-866c-64260ceb4949" providerId="ADAL" clId="{37BE8744-2CCE-424F-B4A7-DEFAC50FDE3F}" dt="2025-02-24T13:35:56.778" v="821" actId="47"/>
        <pc:sldMkLst>
          <pc:docMk/>
          <pc:sldMk cId="106407812" sldId="2147472547"/>
        </pc:sldMkLst>
      </pc:sldChg>
      <pc:sldChg chg="del">
        <pc:chgData name="Dirk Wübben" userId="a27602df-5b54-480c-866c-64260ceb4949" providerId="ADAL" clId="{37BE8744-2CCE-424F-B4A7-DEFAC50FDE3F}" dt="2025-02-24T13:42:21.605" v="886" actId="47"/>
        <pc:sldMkLst>
          <pc:docMk/>
          <pc:sldMk cId="811786820" sldId="2147472548"/>
        </pc:sldMkLst>
      </pc:sldChg>
      <pc:sldChg chg="del">
        <pc:chgData name="Dirk Wübben" userId="a27602df-5b54-480c-866c-64260ceb4949" providerId="ADAL" clId="{37BE8744-2CCE-424F-B4A7-DEFAC50FDE3F}" dt="2025-02-24T13:42:21.605" v="886" actId="47"/>
        <pc:sldMkLst>
          <pc:docMk/>
          <pc:sldMk cId="319463743" sldId="2147472549"/>
        </pc:sldMkLst>
      </pc:sldChg>
      <pc:sldChg chg="del">
        <pc:chgData name="Dirk Wübben" userId="a27602df-5b54-480c-866c-64260ceb4949" providerId="ADAL" clId="{37BE8744-2CCE-424F-B4A7-DEFAC50FDE3F}" dt="2025-02-24T13:35:22.544" v="818" actId="47"/>
        <pc:sldMkLst>
          <pc:docMk/>
          <pc:sldMk cId="95809100" sldId="2147472554"/>
        </pc:sldMkLst>
      </pc:sldChg>
      <pc:sldChg chg="addSp delSp modSp del mod chgLayout">
        <pc:chgData name="Dirk Wübben" userId="a27602df-5b54-480c-866c-64260ceb4949" providerId="ADAL" clId="{37BE8744-2CCE-424F-B4A7-DEFAC50FDE3F}" dt="2025-02-28T17:45:14.053" v="3303" actId="20577"/>
        <pc:sldMkLst>
          <pc:docMk/>
          <pc:sldMk cId="4196284054" sldId="2147472557"/>
        </pc:sldMkLst>
      </pc:sldChg>
      <pc:sldChg chg="del">
        <pc:chgData name="Dirk Wübben" userId="a27602df-5b54-480c-866c-64260ceb4949" providerId="ADAL" clId="{37BE8744-2CCE-424F-B4A7-DEFAC50FDE3F}" dt="2025-02-24T13:35:22.544" v="818" actId="47"/>
        <pc:sldMkLst>
          <pc:docMk/>
          <pc:sldMk cId="2703493096" sldId="2147472560"/>
        </pc:sldMkLst>
      </pc:sldChg>
      <pc:sldChg chg="del">
        <pc:chgData name="Dirk Wübben" userId="a27602df-5b54-480c-866c-64260ceb4949" providerId="ADAL" clId="{37BE8744-2CCE-424F-B4A7-DEFAC50FDE3F}" dt="2025-02-24T13:38:29.906" v="846" actId="47"/>
        <pc:sldMkLst>
          <pc:docMk/>
          <pc:sldMk cId="4240751118" sldId="2147472561"/>
        </pc:sldMkLst>
      </pc:sldChg>
      <pc:sldChg chg="del">
        <pc:chgData name="Dirk Wübben" userId="a27602df-5b54-480c-866c-64260ceb4949" providerId="ADAL" clId="{37BE8744-2CCE-424F-B4A7-DEFAC50FDE3F}" dt="2025-02-24T13:38:29.906" v="846" actId="47"/>
        <pc:sldMkLst>
          <pc:docMk/>
          <pc:sldMk cId="1005895793" sldId="2147472563"/>
        </pc:sldMkLst>
      </pc:sldChg>
      <pc:sldChg chg="add del">
        <pc:chgData name="Dirk Wübben" userId="a27602df-5b54-480c-866c-64260ceb4949" providerId="ADAL" clId="{37BE8744-2CCE-424F-B4A7-DEFAC50FDE3F}" dt="2025-02-24T13:35:56.778" v="821" actId="47"/>
        <pc:sldMkLst>
          <pc:docMk/>
          <pc:sldMk cId="1170095649" sldId="2147472567"/>
        </pc:sldMkLst>
      </pc:sldChg>
      <pc:sldChg chg="add del">
        <pc:chgData name="Dirk Wübben" userId="a27602df-5b54-480c-866c-64260ceb4949" providerId="ADAL" clId="{37BE8744-2CCE-424F-B4A7-DEFAC50FDE3F}" dt="2025-02-24T13:35:56.778" v="821" actId="47"/>
        <pc:sldMkLst>
          <pc:docMk/>
          <pc:sldMk cId="2175279067" sldId="2147472568"/>
        </pc:sldMkLst>
      </pc:sldChg>
      <pc:sldChg chg="add del">
        <pc:chgData name="Dirk Wübben" userId="a27602df-5b54-480c-866c-64260ceb4949" providerId="ADAL" clId="{37BE8744-2CCE-424F-B4A7-DEFAC50FDE3F}" dt="2025-02-24T13:35:56.778" v="821" actId="47"/>
        <pc:sldMkLst>
          <pc:docMk/>
          <pc:sldMk cId="1001824235" sldId="2147472569"/>
        </pc:sldMkLst>
      </pc:sldChg>
      <pc:sldChg chg="del">
        <pc:chgData name="Dirk Wübben" userId="a27602df-5b54-480c-866c-64260ceb4949" providerId="ADAL" clId="{37BE8744-2CCE-424F-B4A7-DEFAC50FDE3F}" dt="2025-02-24T13:38:29.906" v="846" actId="47"/>
        <pc:sldMkLst>
          <pc:docMk/>
          <pc:sldMk cId="2423869233" sldId="2147472570"/>
        </pc:sldMkLst>
      </pc:sldChg>
      <pc:sldChg chg="del">
        <pc:chgData name="Dirk Wübben" userId="a27602df-5b54-480c-866c-64260ceb4949" providerId="ADAL" clId="{37BE8744-2CCE-424F-B4A7-DEFAC50FDE3F}" dt="2025-02-10T10:41:48.920" v="78" actId="47"/>
        <pc:sldMkLst>
          <pc:docMk/>
          <pc:sldMk cId="2592937385" sldId="2147476858"/>
        </pc:sldMkLst>
      </pc:sldChg>
      <pc:sldChg chg="del">
        <pc:chgData name="Dirk Wübben" userId="a27602df-5b54-480c-866c-64260ceb4949" providerId="ADAL" clId="{37BE8744-2CCE-424F-B4A7-DEFAC50FDE3F}" dt="2025-02-10T10:42:12.445" v="83" actId="47"/>
        <pc:sldMkLst>
          <pc:docMk/>
          <pc:sldMk cId="3324942815" sldId="2147476860"/>
        </pc:sldMkLst>
      </pc:sldChg>
      <pc:sldChg chg="addSp delSp modSp mod">
        <pc:chgData name="Dirk Wübben" userId="a27602df-5b54-480c-866c-64260ceb4949" providerId="ADAL" clId="{37BE8744-2CCE-424F-B4A7-DEFAC50FDE3F}" dt="2025-02-26T13:35:04.180" v="3019" actId="478"/>
        <pc:sldMkLst>
          <pc:docMk/>
          <pc:sldMk cId="3648413544" sldId="2147476861"/>
        </pc:sldMkLst>
      </pc:sldChg>
      <pc:sldChg chg="del">
        <pc:chgData name="Dirk Wübben" userId="a27602df-5b54-480c-866c-64260ceb4949" providerId="ADAL" clId="{37BE8744-2CCE-424F-B4A7-DEFAC50FDE3F}" dt="2025-02-24T13:38:29.906" v="846" actId="47"/>
        <pc:sldMkLst>
          <pc:docMk/>
          <pc:sldMk cId="1928819775" sldId="2147476862"/>
        </pc:sldMkLst>
      </pc:sldChg>
      <pc:sldChg chg="del">
        <pc:chgData name="Dirk Wübben" userId="a27602df-5b54-480c-866c-64260ceb4949" providerId="ADAL" clId="{37BE8744-2CCE-424F-B4A7-DEFAC50FDE3F}" dt="2025-02-24T13:38:29.906" v="846" actId="47"/>
        <pc:sldMkLst>
          <pc:docMk/>
          <pc:sldMk cId="993062843" sldId="2147476863"/>
        </pc:sldMkLst>
      </pc:sldChg>
      <pc:sldChg chg="del">
        <pc:chgData name="Dirk Wübben" userId="a27602df-5b54-480c-866c-64260ceb4949" providerId="ADAL" clId="{37BE8744-2CCE-424F-B4A7-DEFAC50FDE3F}" dt="2025-02-24T13:38:29.906" v="846" actId="47"/>
        <pc:sldMkLst>
          <pc:docMk/>
          <pc:sldMk cId="1149164908" sldId="2147476864"/>
        </pc:sldMkLst>
      </pc:sldChg>
      <pc:sldChg chg="del">
        <pc:chgData name="Dirk Wübben" userId="a27602df-5b54-480c-866c-64260ceb4949" providerId="ADAL" clId="{37BE8744-2CCE-424F-B4A7-DEFAC50FDE3F}" dt="2025-02-24T13:38:29.906" v="846" actId="47"/>
        <pc:sldMkLst>
          <pc:docMk/>
          <pc:sldMk cId="1562357202" sldId="2147476866"/>
        </pc:sldMkLst>
      </pc:sldChg>
      <pc:sldChg chg="del">
        <pc:chgData name="Dirk Wübben" userId="a27602df-5b54-480c-866c-64260ceb4949" providerId="ADAL" clId="{37BE8744-2CCE-424F-B4A7-DEFAC50FDE3F}" dt="2025-02-24T13:38:29.906" v="846" actId="47"/>
        <pc:sldMkLst>
          <pc:docMk/>
          <pc:sldMk cId="1712500352" sldId="2147476867"/>
        </pc:sldMkLst>
      </pc:sldChg>
      <pc:sldChg chg="del">
        <pc:chgData name="Dirk Wübben" userId="a27602df-5b54-480c-866c-64260ceb4949" providerId="ADAL" clId="{37BE8744-2CCE-424F-B4A7-DEFAC50FDE3F}" dt="2025-02-24T13:38:29.906" v="846" actId="47"/>
        <pc:sldMkLst>
          <pc:docMk/>
          <pc:sldMk cId="3040244155" sldId="2147476868"/>
        </pc:sldMkLst>
      </pc:sldChg>
      <pc:sldChg chg="del">
        <pc:chgData name="Dirk Wübben" userId="a27602df-5b54-480c-866c-64260ceb4949" providerId="ADAL" clId="{37BE8744-2CCE-424F-B4A7-DEFAC50FDE3F}" dt="2025-02-24T13:38:29.906" v="846" actId="47"/>
        <pc:sldMkLst>
          <pc:docMk/>
          <pc:sldMk cId="2653670087" sldId="2147476869"/>
        </pc:sldMkLst>
      </pc:sldChg>
      <pc:sldChg chg="del">
        <pc:chgData name="Dirk Wübben" userId="a27602df-5b54-480c-866c-64260ceb4949" providerId="ADAL" clId="{37BE8744-2CCE-424F-B4A7-DEFAC50FDE3F}" dt="2025-02-24T13:38:29.906" v="846" actId="47"/>
        <pc:sldMkLst>
          <pc:docMk/>
          <pc:sldMk cId="1100898078" sldId="2147476870"/>
        </pc:sldMkLst>
      </pc:sldChg>
      <pc:sldChg chg="del">
        <pc:chgData name="Dirk Wübben" userId="a27602df-5b54-480c-866c-64260ceb4949" providerId="ADAL" clId="{37BE8744-2CCE-424F-B4A7-DEFAC50FDE3F}" dt="2025-02-24T13:38:29.906" v="846" actId="47"/>
        <pc:sldMkLst>
          <pc:docMk/>
          <pc:sldMk cId="3094521085" sldId="2147476871"/>
        </pc:sldMkLst>
      </pc:sldChg>
      <pc:sldChg chg="del">
        <pc:chgData name="Dirk Wübben" userId="a27602df-5b54-480c-866c-64260ceb4949" providerId="ADAL" clId="{37BE8744-2CCE-424F-B4A7-DEFAC50FDE3F}" dt="2025-02-24T13:38:29.906" v="846" actId="47"/>
        <pc:sldMkLst>
          <pc:docMk/>
          <pc:sldMk cId="1790774335" sldId="2147476872"/>
        </pc:sldMkLst>
      </pc:sldChg>
      <pc:sldChg chg="del">
        <pc:chgData name="Dirk Wübben" userId="a27602df-5b54-480c-866c-64260ceb4949" providerId="ADAL" clId="{37BE8744-2CCE-424F-B4A7-DEFAC50FDE3F}" dt="2025-02-24T13:38:29.906" v="846" actId="47"/>
        <pc:sldMkLst>
          <pc:docMk/>
          <pc:sldMk cId="1912886402" sldId="2147476873"/>
        </pc:sldMkLst>
      </pc:sldChg>
      <pc:sldChg chg="del">
        <pc:chgData name="Dirk Wübben" userId="a27602df-5b54-480c-866c-64260ceb4949" providerId="ADAL" clId="{37BE8744-2CCE-424F-B4A7-DEFAC50FDE3F}" dt="2025-02-24T13:38:29.906" v="846" actId="47"/>
        <pc:sldMkLst>
          <pc:docMk/>
          <pc:sldMk cId="1757150157" sldId="2147476874"/>
        </pc:sldMkLst>
      </pc:sldChg>
      <pc:sldChg chg="del">
        <pc:chgData name="Dirk Wübben" userId="a27602df-5b54-480c-866c-64260ceb4949" providerId="ADAL" clId="{37BE8744-2CCE-424F-B4A7-DEFAC50FDE3F}" dt="2025-02-24T13:38:16.037" v="845" actId="47"/>
        <pc:sldMkLst>
          <pc:docMk/>
          <pc:sldMk cId="2667969569" sldId="2147476875"/>
        </pc:sldMkLst>
      </pc:sldChg>
      <pc:sldChg chg="del">
        <pc:chgData name="Dirk Wübben" userId="a27602df-5b54-480c-866c-64260ceb4949" providerId="ADAL" clId="{37BE8744-2CCE-424F-B4A7-DEFAC50FDE3F}" dt="2025-02-24T13:38:16.037" v="845" actId="47"/>
        <pc:sldMkLst>
          <pc:docMk/>
          <pc:sldMk cId="955015410" sldId="2147476876"/>
        </pc:sldMkLst>
      </pc:sldChg>
      <pc:sldChg chg="del">
        <pc:chgData name="Dirk Wübben" userId="a27602df-5b54-480c-866c-64260ceb4949" providerId="ADAL" clId="{37BE8744-2CCE-424F-B4A7-DEFAC50FDE3F}" dt="2025-02-24T13:38:16.037" v="845" actId="47"/>
        <pc:sldMkLst>
          <pc:docMk/>
          <pc:sldMk cId="4280058175" sldId="2147476877"/>
        </pc:sldMkLst>
      </pc:sldChg>
      <pc:sldChg chg="del">
        <pc:chgData name="Dirk Wübben" userId="a27602df-5b54-480c-866c-64260ceb4949" providerId="ADAL" clId="{37BE8744-2CCE-424F-B4A7-DEFAC50FDE3F}" dt="2025-02-24T13:38:16.037" v="845" actId="47"/>
        <pc:sldMkLst>
          <pc:docMk/>
          <pc:sldMk cId="1194833940" sldId="2147476878"/>
        </pc:sldMkLst>
      </pc:sldChg>
      <pc:sldChg chg="del">
        <pc:chgData name="Dirk Wübben" userId="a27602df-5b54-480c-866c-64260ceb4949" providerId="ADAL" clId="{37BE8744-2CCE-424F-B4A7-DEFAC50FDE3F}" dt="2025-02-24T13:38:16.037" v="845" actId="47"/>
        <pc:sldMkLst>
          <pc:docMk/>
          <pc:sldMk cId="1965443747" sldId="2147476879"/>
        </pc:sldMkLst>
      </pc:sldChg>
      <pc:sldChg chg="modSp mod">
        <pc:chgData name="Dirk Wübben" userId="a27602df-5b54-480c-866c-64260ceb4949" providerId="ADAL" clId="{37BE8744-2CCE-424F-B4A7-DEFAC50FDE3F}" dt="2025-02-24T13:41:55.085" v="885" actId="20577"/>
        <pc:sldMkLst>
          <pc:docMk/>
          <pc:sldMk cId="2797061931" sldId="2147476881"/>
        </pc:sldMkLst>
      </pc:sldChg>
      <pc:sldChg chg="del">
        <pc:chgData name="Dirk Wübben" userId="a27602df-5b54-480c-866c-64260ceb4949" providerId="ADAL" clId="{37BE8744-2CCE-424F-B4A7-DEFAC50FDE3F}" dt="2025-02-24T13:35:22.544" v="818" actId="47"/>
        <pc:sldMkLst>
          <pc:docMk/>
          <pc:sldMk cId="3777869553" sldId="2147476886"/>
        </pc:sldMkLst>
      </pc:sldChg>
      <pc:sldChg chg="add del">
        <pc:chgData name="Dirk Wübben" userId="a27602df-5b54-480c-866c-64260ceb4949" providerId="ADAL" clId="{37BE8744-2CCE-424F-B4A7-DEFAC50FDE3F}" dt="2025-02-24T13:35:56.778" v="821" actId="47"/>
        <pc:sldMkLst>
          <pc:docMk/>
          <pc:sldMk cId="1132672783" sldId="2147476887"/>
        </pc:sldMkLst>
      </pc:sldChg>
      <pc:sldChg chg="add del">
        <pc:chgData name="Dirk Wübben" userId="a27602df-5b54-480c-866c-64260ceb4949" providerId="ADAL" clId="{37BE8744-2CCE-424F-B4A7-DEFAC50FDE3F}" dt="2025-02-24T13:35:56.778" v="821" actId="47"/>
        <pc:sldMkLst>
          <pc:docMk/>
          <pc:sldMk cId="1420673530" sldId="2147476888"/>
        </pc:sldMkLst>
      </pc:sldChg>
      <pc:sldChg chg="add del">
        <pc:chgData name="Dirk Wübben" userId="a27602df-5b54-480c-866c-64260ceb4949" providerId="ADAL" clId="{37BE8744-2CCE-424F-B4A7-DEFAC50FDE3F}" dt="2025-02-24T13:35:56.778" v="821" actId="47"/>
        <pc:sldMkLst>
          <pc:docMk/>
          <pc:sldMk cId="2683184328" sldId="2147476889"/>
        </pc:sldMkLst>
      </pc:sldChg>
      <pc:sldChg chg="add del">
        <pc:chgData name="Dirk Wübben" userId="a27602df-5b54-480c-866c-64260ceb4949" providerId="ADAL" clId="{37BE8744-2CCE-424F-B4A7-DEFAC50FDE3F}" dt="2025-02-24T13:35:56.778" v="821" actId="47"/>
        <pc:sldMkLst>
          <pc:docMk/>
          <pc:sldMk cId="2565903550" sldId="2147476890"/>
        </pc:sldMkLst>
      </pc:sldChg>
      <pc:sldChg chg="add del">
        <pc:chgData name="Dirk Wübben" userId="a27602df-5b54-480c-866c-64260ceb4949" providerId="ADAL" clId="{37BE8744-2CCE-424F-B4A7-DEFAC50FDE3F}" dt="2025-02-24T13:35:56.778" v="821" actId="47"/>
        <pc:sldMkLst>
          <pc:docMk/>
          <pc:sldMk cId="1603383790" sldId="2147476891"/>
        </pc:sldMkLst>
      </pc:sldChg>
      <pc:sldChg chg="del">
        <pc:chgData name="Dirk Wübben" userId="a27602df-5b54-480c-866c-64260ceb4949" providerId="ADAL" clId="{37BE8744-2CCE-424F-B4A7-DEFAC50FDE3F}" dt="2025-02-10T10:41:23.720" v="74" actId="47"/>
        <pc:sldMkLst>
          <pc:docMk/>
          <pc:sldMk cId="1130383841" sldId="2147476892"/>
        </pc:sldMkLst>
      </pc:sldChg>
      <pc:sldChg chg="add del">
        <pc:chgData name="Dirk Wübben" userId="a27602df-5b54-480c-866c-64260ceb4949" providerId="ADAL" clId="{37BE8744-2CCE-424F-B4A7-DEFAC50FDE3F}" dt="2025-02-24T13:35:56.778" v="821" actId="47"/>
        <pc:sldMkLst>
          <pc:docMk/>
          <pc:sldMk cId="714228859" sldId="2147476894"/>
        </pc:sldMkLst>
      </pc:sldChg>
      <pc:sldChg chg="del">
        <pc:chgData name="Dirk Wübben" userId="a27602df-5b54-480c-866c-64260ceb4949" providerId="ADAL" clId="{37BE8744-2CCE-424F-B4A7-DEFAC50FDE3F}" dt="2025-02-10T10:41:28.264" v="75" actId="47"/>
        <pc:sldMkLst>
          <pc:docMk/>
          <pc:sldMk cId="2158314366" sldId="2147476895"/>
        </pc:sldMkLst>
      </pc:sldChg>
      <pc:sldChg chg="del">
        <pc:chgData name="Dirk Wübben" userId="a27602df-5b54-480c-866c-64260ceb4949" providerId="ADAL" clId="{37BE8744-2CCE-424F-B4A7-DEFAC50FDE3F}" dt="2025-02-10T10:41:28.264" v="75" actId="47"/>
        <pc:sldMkLst>
          <pc:docMk/>
          <pc:sldMk cId="3279944619" sldId="2147476896"/>
        </pc:sldMkLst>
      </pc:sldChg>
      <pc:sldChg chg="del">
        <pc:chgData name="Dirk Wübben" userId="a27602df-5b54-480c-866c-64260ceb4949" providerId="ADAL" clId="{37BE8744-2CCE-424F-B4A7-DEFAC50FDE3F}" dt="2025-02-10T10:42:08.766" v="81" actId="47"/>
        <pc:sldMkLst>
          <pc:docMk/>
          <pc:sldMk cId="3014750675" sldId="2147476897"/>
        </pc:sldMkLst>
      </pc:sldChg>
      <pc:sldChg chg="del">
        <pc:chgData name="Dirk Wübben" userId="a27602df-5b54-480c-866c-64260ceb4949" providerId="ADAL" clId="{37BE8744-2CCE-424F-B4A7-DEFAC50FDE3F}" dt="2025-02-10T10:41:23.720" v="74" actId="47"/>
        <pc:sldMkLst>
          <pc:docMk/>
          <pc:sldMk cId="241406546" sldId="2147476898"/>
        </pc:sldMkLst>
      </pc:sldChg>
      <pc:sldChg chg="del">
        <pc:chgData name="Dirk Wübben" userId="a27602df-5b54-480c-866c-64260ceb4949" providerId="ADAL" clId="{37BE8744-2CCE-424F-B4A7-DEFAC50FDE3F}" dt="2025-02-10T10:41:23.720" v="74" actId="47"/>
        <pc:sldMkLst>
          <pc:docMk/>
          <pc:sldMk cId="109001948" sldId="2147476899"/>
        </pc:sldMkLst>
      </pc:sldChg>
      <pc:sldChg chg="del">
        <pc:chgData name="Dirk Wübben" userId="a27602df-5b54-480c-866c-64260ceb4949" providerId="ADAL" clId="{37BE8744-2CCE-424F-B4A7-DEFAC50FDE3F}" dt="2025-02-10T10:41:23.720" v="74" actId="47"/>
        <pc:sldMkLst>
          <pc:docMk/>
          <pc:sldMk cId="104191551" sldId="2147476900"/>
        </pc:sldMkLst>
      </pc:sldChg>
      <pc:sldChg chg="del">
        <pc:chgData name="Dirk Wübben" userId="a27602df-5b54-480c-866c-64260ceb4949" providerId="ADAL" clId="{37BE8744-2CCE-424F-B4A7-DEFAC50FDE3F}" dt="2025-02-10T10:41:23.720" v="74" actId="47"/>
        <pc:sldMkLst>
          <pc:docMk/>
          <pc:sldMk cId="4108931217" sldId="2147476901"/>
        </pc:sldMkLst>
      </pc:sldChg>
      <pc:sldChg chg="del">
        <pc:chgData name="Dirk Wübben" userId="a27602df-5b54-480c-866c-64260ceb4949" providerId="ADAL" clId="{37BE8744-2CCE-424F-B4A7-DEFAC50FDE3F}" dt="2025-02-24T13:38:29.906" v="846" actId="47"/>
        <pc:sldMkLst>
          <pc:docMk/>
          <pc:sldMk cId="3715471365" sldId="2147476902"/>
        </pc:sldMkLst>
      </pc:sldChg>
      <pc:sldChg chg="del">
        <pc:chgData name="Dirk Wübben" userId="a27602df-5b54-480c-866c-64260ceb4949" providerId="ADAL" clId="{37BE8744-2CCE-424F-B4A7-DEFAC50FDE3F}" dt="2025-02-24T13:38:29.906" v="846" actId="47"/>
        <pc:sldMkLst>
          <pc:docMk/>
          <pc:sldMk cId="3083521975" sldId="2147476903"/>
        </pc:sldMkLst>
      </pc:sldChg>
      <pc:sldChg chg="del">
        <pc:chgData name="Dirk Wübben" userId="a27602df-5b54-480c-866c-64260ceb4949" providerId="ADAL" clId="{37BE8744-2CCE-424F-B4A7-DEFAC50FDE3F}" dt="2025-02-24T13:38:29.906" v="846" actId="47"/>
        <pc:sldMkLst>
          <pc:docMk/>
          <pc:sldMk cId="1985545827" sldId="2147476904"/>
        </pc:sldMkLst>
      </pc:sldChg>
      <pc:sldChg chg="del">
        <pc:chgData name="Dirk Wübben" userId="a27602df-5b54-480c-866c-64260ceb4949" providerId="ADAL" clId="{37BE8744-2CCE-424F-B4A7-DEFAC50FDE3F}" dt="2025-02-24T13:38:11.713" v="844" actId="47"/>
        <pc:sldMkLst>
          <pc:docMk/>
          <pc:sldMk cId="1638095463" sldId="2147476906"/>
        </pc:sldMkLst>
      </pc:sldChg>
      <pc:sldChg chg="del">
        <pc:chgData name="Dirk Wübben" userId="a27602df-5b54-480c-866c-64260ceb4949" providerId="ADAL" clId="{37BE8744-2CCE-424F-B4A7-DEFAC50FDE3F}" dt="2025-02-24T13:38:29.906" v="846" actId="47"/>
        <pc:sldMkLst>
          <pc:docMk/>
          <pc:sldMk cId="2251625990" sldId="2147476907"/>
        </pc:sldMkLst>
      </pc:sldChg>
      <pc:sldChg chg="del">
        <pc:chgData name="Dirk Wübben" userId="a27602df-5b54-480c-866c-64260ceb4949" providerId="ADAL" clId="{37BE8744-2CCE-424F-B4A7-DEFAC50FDE3F}" dt="2025-02-24T13:38:29.906" v="846" actId="47"/>
        <pc:sldMkLst>
          <pc:docMk/>
          <pc:sldMk cId="3018569029" sldId="2147476908"/>
        </pc:sldMkLst>
      </pc:sldChg>
      <pc:sldChg chg="del">
        <pc:chgData name="Dirk Wübben" userId="a27602df-5b54-480c-866c-64260ceb4949" providerId="ADAL" clId="{37BE8744-2CCE-424F-B4A7-DEFAC50FDE3F}" dt="2025-02-24T13:38:29.906" v="846" actId="47"/>
        <pc:sldMkLst>
          <pc:docMk/>
          <pc:sldMk cId="2022672931" sldId="2147476909"/>
        </pc:sldMkLst>
      </pc:sldChg>
      <pc:sldChg chg="del">
        <pc:chgData name="Dirk Wübben" userId="a27602df-5b54-480c-866c-64260ceb4949" providerId="ADAL" clId="{37BE8744-2CCE-424F-B4A7-DEFAC50FDE3F}" dt="2025-02-24T13:38:11.713" v="844" actId="47"/>
        <pc:sldMkLst>
          <pc:docMk/>
          <pc:sldMk cId="1793790395" sldId="2147476910"/>
        </pc:sldMkLst>
      </pc:sldChg>
      <pc:sldChg chg="del">
        <pc:chgData name="Dirk Wübben" userId="a27602df-5b54-480c-866c-64260ceb4949" providerId="ADAL" clId="{37BE8744-2CCE-424F-B4A7-DEFAC50FDE3F}" dt="2025-02-24T13:35:22.544" v="818" actId="47"/>
        <pc:sldMkLst>
          <pc:docMk/>
          <pc:sldMk cId="2951542647" sldId="2147476911"/>
        </pc:sldMkLst>
      </pc:sldChg>
      <pc:sldChg chg="del">
        <pc:chgData name="Dirk Wübben" userId="a27602df-5b54-480c-866c-64260ceb4949" providerId="ADAL" clId="{37BE8744-2CCE-424F-B4A7-DEFAC50FDE3F}" dt="2025-02-24T13:24:52.497" v="434" actId="47"/>
        <pc:sldMkLst>
          <pc:docMk/>
          <pc:sldMk cId="1654930487" sldId="2147476913"/>
        </pc:sldMkLst>
      </pc:sldChg>
      <pc:sldChg chg="del">
        <pc:chgData name="Dirk Wübben" userId="a27602df-5b54-480c-866c-64260ceb4949" providerId="ADAL" clId="{37BE8744-2CCE-424F-B4A7-DEFAC50FDE3F}" dt="2025-02-24T13:35:22.544" v="818" actId="47"/>
        <pc:sldMkLst>
          <pc:docMk/>
          <pc:sldMk cId="2167108130" sldId="2147476914"/>
        </pc:sldMkLst>
      </pc:sldChg>
      <pc:sldChg chg="del">
        <pc:chgData name="Dirk Wübben" userId="a27602df-5b54-480c-866c-64260ceb4949" providerId="ADAL" clId="{37BE8744-2CCE-424F-B4A7-DEFAC50FDE3F}" dt="2025-02-24T13:35:22.544" v="818" actId="47"/>
        <pc:sldMkLst>
          <pc:docMk/>
          <pc:sldMk cId="745752956" sldId="2147476915"/>
        </pc:sldMkLst>
      </pc:sldChg>
      <pc:sldChg chg="del">
        <pc:chgData name="Dirk Wübben" userId="a27602df-5b54-480c-866c-64260ceb4949" providerId="ADAL" clId="{37BE8744-2CCE-424F-B4A7-DEFAC50FDE3F}" dt="2025-02-24T13:35:22.544" v="818" actId="47"/>
        <pc:sldMkLst>
          <pc:docMk/>
          <pc:sldMk cId="3101646741" sldId="2147476918"/>
        </pc:sldMkLst>
      </pc:sldChg>
      <pc:sldChg chg="del">
        <pc:chgData name="Dirk Wübben" userId="a27602df-5b54-480c-866c-64260ceb4949" providerId="ADAL" clId="{37BE8744-2CCE-424F-B4A7-DEFAC50FDE3F}" dt="2025-02-24T13:35:22.544" v="818" actId="47"/>
        <pc:sldMkLst>
          <pc:docMk/>
          <pc:sldMk cId="1324875567" sldId="2147476919"/>
        </pc:sldMkLst>
      </pc:sldChg>
      <pc:sldChg chg="del">
        <pc:chgData name="Dirk Wübben" userId="a27602df-5b54-480c-866c-64260ceb4949" providerId="ADAL" clId="{37BE8744-2CCE-424F-B4A7-DEFAC50FDE3F}" dt="2025-02-24T13:38:29.906" v="846" actId="47"/>
        <pc:sldMkLst>
          <pc:docMk/>
          <pc:sldMk cId="10284624" sldId="2147476922"/>
        </pc:sldMkLst>
      </pc:sldChg>
      <pc:sldChg chg="add del">
        <pc:chgData name="Dirk Wübben" userId="a27602df-5b54-480c-866c-64260ceb4949" providerId="ADAL" clId="{37BE8744-2CCE-424F-B4A7-DEFAC50FDE3F}" dt="2025-02-24T13:35:56.778" v="821" actId="47"/>
        <pc:sldMkLst>
          <pc:docMk/>
          <pc:sldMk cId="2699808742" sldId="2147476924"/>
        </pc:sldMkLst>
      </pc:sldChg>
      <pc:sldChg chg="add del">
        <pc:chgData name="Dirk Wübben" userId="a27602df-5b54-480c-866c-64260ceb4949" providerId="ADAL" clId="{37BE8744-2CCE-424F-B4A7-DEFAC50FDE3F}" dt="2025-02-24T13:35:56.778" v="821" actId="47"/>
        <pc:sldMkLst>
          <pc:docMk/>
          <pc:sldMk cId="3788563094" sldId="2147476925"/>
        </pc:sldMkLst>
      </pc:sldChg>
      <pc:sldChg chg="del">
        <pc:chgData name="Dirk Wübben" userId="a27602df-5b54-480c-866c-64260ceb4949" providerId="ADAL" clId="{37BE8744-2CCE-424F-B4A7-DEFAC50FDE3F}" dt="2025-02-24T13:38:29.906" v="846" actId="47"/>
        <pc:sldMkLst>
          <pc:docMk/>
          <pc:sldMk cId="2163661027" sldId="2147476926"/>
        </pc:sldMkLst>
      </pc:sldChg>
      <pc:sldChg chg="addSp delSp modSp new mod modClrScheme chgLayout">
        <pc:chgData name="Dirk Wübben" userId="a27602df-5b54-480c-866c-64260ceb4949" providerId="ADAL" clId="{37BE8744-2CCE-424F-B4A7-DEFAC50FDE3F}" dt="2025-02-24T13:27:22.335" v="647"/>
        <pc:sldMkLst>
          <pc:docMk/>
          <pc:sldMk cId="3366035886" sldId="2147476927"/>
        </pc:sldMkLst>
      </pc:sldChg>
      <pc:sldChg chg="addSp modSp add">
        <pc:chgData name="Dirk Wübben" userId="a27602df-5b54-480c-866c-64260ceb4949" providerId="ADAL" clId="{37BE8744-2CCE-424F-B4A7-DEFAC50FDE3F}" dt="2025-02-24T13:27:18.578" v="645"/>
        <pc:sldMkLst>
          <pc:docMk/>
          <pc:sldMk cId="3007069579" sldId="2147476928"/>
        </pc:sldMkLst>
      </pc:sldChg>
      <pc:sldChg chg="addSp modSp add">
        <pc:chgData name="Dirk Wübben" userId="a27602df-5b54-480c-866c-64260ceb4949" providerId="ADAL" clId="{37BE8744-2CCE-424F-B4A7-DEFAC50FDE3F}" dt="2025-02-24T13:27:19.917" v="646"/>
        <pc:sldMkLst>
          <pc:docMk/>
          <pc:sldMk cId="2299871820" sldId="2147476929"/>
        </pc:sldMkLst>
      </pc:sldChg>
      <pc:sldChg chg="del">
        <pc:chgData name="Dirk Wübben" userId="a27602df-5b54-480c-866c-64260ceb4949" providerId="ADAL" clId="{37BE8744-2CCE-424F-B4A7-DEFAC50FDE3F}" dt="2025-02-24T13:34:56.099" v="816" actId="47"/>
        <pc:sldMkLst>
          <pc:docMk/>
          <pc:sldMk cId="217777118" sldId="2147476930"/>
        </pc:sldMkLst>
      </pc:sldChg>
      <pc:sldChg chg="modSp add del mod">
        <pc:chgData name="Dirk Wübben" userId="a27602df-5b54-480c-866c-64260ceb4949" providerId="ADAL" clId="{37BE8744-2CCE-424F-B4A7-DEFAC50FDE3F}" dt="2025-02-24T13:23:17.424" v="362"/>
        <pc:sldMkLst>
          <pc:docMk/>
          <pc:sldMk cId="290012276" sldId="2147476930"/>
        </pc:sldMkLst>
      </pc:sldChg>
      <pc:sldChg chg="add ord">
        <pc:chgData name="Dirk Wübben" userId="a27602df-5b54-480c-866c-64260ceb4949" providerId="ADAL" clId="{37BE8744-2CCE-424F-B4A7-DEFAC50FDE3F}" dt="2025-02-24T13:27:41.057" v="652"/>
        <pc:sldMkLst>
          <pc:docMk/>
          <pc:sldMk cId="416337945" sldId="2147476930"/>
        </pc:sldMkLst>
      </pc:sldChg>
      <pc:sldChg chg="add del">
        <pc:chgData name="Dirk Wübben" userId="a27602df-5b54-480c-866c-64260ceb4949" providerId="ADAL" clId="{37BE8744-2CCE-424F-B4A7-DEFAC50FDE3F}" dt="2025-02-20T15:27:19.922" v="89"/>
        <pc:sldMkLst>
          <pc:docMk/>
          <pc:sldMk cId="3918589941" sldId="2147476930"/>
        </pc:sldMkLst>
      </pc:sldChg>
      <pc:sldChg chg="addSp modSp new del mod ord">
        <pc:chgData name="Dirk Wübben" userId="a27602df-5b54-480c-866c-64260ceb4949" providerId="ADAL" clId="{37BE8744-2CCE-424F-B4A7-DEFAC50FDE3F}" dt="2025-03-03T13:58:19.696" v="3473" actId="47"/>
        <pc:sldMkLst>
          <pc:docMk/>
          <pc:sldMk cId="2461016957" sldId="2147476931"/>
        </pc:sldMkLst>
      </pc:sldChg>
      <pc:sldChg chg="add del">
        <pc:chgData name="Dirk Wübben" userId="a27602df-5b54-480c-866c-64260ceb4949" providerId="ADAL" clId="{37BE8744-2CCE-424F-B4A7-DEFAC50FDE3F}" dt="2025-02-24T13:33:26.350" v="763" actId="47"/>
        <pc:sldMkLst>
          <pc:docMk/>
          <pc:sldMk cId="2556956969" sldId="2147476932"/>
        </pc:sldMkLst>
      </pc:sldChg>
      <pc:sldChg chg="addSp delSp modSp new del mod modClrScheme chgLayout">
        <pc:chgData name="Dirk Wübben" userId="a27602df-5b54-480c-866c-64260ceb4949" providerId="ADAL" clId="{37BE8744-2CCE-424F-B4A7-DEFAC50FDE3F}" dt="2025-02-24T13:36:47.819" v="835" actId="47"/>
        <pc:sldMkLst>
          <pc:docMk/>
          <pc:sldMk cId="1901495427" sldId="2147476933"/>
        </pc:sldMkLst>
      </pc:sldChg>
      <pc:sldChg chg="addSp delSp modSp mod">
        <pc:chgData name="Dirk Wübben" userId="a27602df-5b54-480c-866c-64260ceb4949" providerId="ADAL" clId="{37BE8744-2CCE-424F-B4A7-DEFAC50FDE3F}" dt="2025-03-04T06:50:18.527" v="3739" actId="20577"/>
        <pc:sldMkLst>
          <pc:docMk/>
          <pc:sldMk cId="416337945" sldId="2147476934"/>
        </pc:sldMkLst>
      </pc:sldChg>
      <pc:sldChg chg="addSp delSp modSp add mod">
        <pc:chgData name="Dirk Wübben" userId="a27602df-5b54-480c-866c-64260ceb4949" providerId="ADAL" clId="{37BE8744-2CCE-424F-B4A7-DEFAC50FDE3F}" dt="2025-03-03T20:27:24.379" v="3551" actId="14734"/>
        <pc:sldMkLst>
          <pc:docMk/>
          <pc:sldMk cId="1139371620" sldId="2147476935"/>
        </pc:sldMkLst>
      </pc:sldChg>
      <pc:sldChg chg="addSp delSp modSp new mod ord modShow">
        <pc:chgData name="Dirk Wübben" userId="a27602df-5b54-480c-866c-64260ceb4949" providerId="ADAL" clId="{37BE8744-2CCE-424F-B4A7-DEFAC50FDE3F}" dt="2025-03-04T10:19:03.278" v="3741" actId="729"/>
        <pc:sldMkLst>
          <pc:docMk/>
          <pc:sldMk cId="922216803" sldId="2147476936"/>
        </pc:sldMkLst>
      </pc:sldChg>
      <pc:sldChg chg="ord">
        <pc:chgData name="Dirk Wübben" userId="a27602df-5b54-480c-866c-64260ceb4949" providerId="ADAL" clId="{37BE8744-2CCE-424F-B4A7-DEFAC50FDE3F}" dt="2025-02-26T10:10:47.814" v="1684"/>
        <pc:sldMkLst>
          <pc:docMk/>
          <pc:sldMk cId="3801953932" sldId="2147476937"/>
        </pc:sldMkLst>
      </pc:sldChg>
      <pc:sldChg chg="ord">
        <pc:chgData name="Dirk Wübben" userId="a27602df-5b54-480c-866c-64260ceb4949" providerId="ADAL" clId="{37BE8744-2CCE-424F-B4A7-DEFAC50FDE3F}" dt="2025-02-26T10:10:47.814" v="1684"/>
        <pc:sldMkLst>
          <pc:docMk/>
          <pc:sldMk cId="2477760750" sldId="2147476938"/>
        </pc:sldMkLst>
      </pc:sldChg>
      <pc:sldChg chg="modSp mod chgLayout">
        <pc:chgData name="Dirk Wübben" userId="a27602df-5b54-480c-866c-64260ceb4949" providerId="ADAL" clId="{37BE8744-2CCE-424F-B4A7-DEFAC50FDE3F}" dt="2025-02-28T17:45:03.187" v="3282" actId="700"/>
        <pc:sldMkLst>
          <pc:docMk/>
          <pc:sldMk cId="2848802291" sldId="2147476939"/>
        </pc:sldMkLst>
      </pc:sldChg>
      <pc:sldChg chg="ord">
        <pc:chgData name="Dirk Wübben" userId="a27602df-5b54-480c-866c-64260ceb4949" providerId="ADAL" clId="{37BE8744-2CCE-424F-B4A7-DEFAC50FDE3F}" dt="2025-02-26T10:10:47.814" v="1684"/>
        <pc:sldMkLst>
          <pc:docMk/>
          <pc:sldMk cId="1077208484" sldId="2147476942"/>
        </pc:sldMkLst>
      </pc:sldChg>
      <pc:sldChg chg="addSp delSp modSp del mod">
        <pc:chgData name="Dirk Wübben" userId="a27602df-5b54-480c-866c-64260ceb4949" providerId="ADAL" clId="{37BE8744-2CCE-424F-B4A7-DEFAC50FDE3F}" dt="2025-02-25T17:23:53.905" v="1648" actId="47"/>
        <pc:sldMkLst>
          <pc:docMk/>
          <pc:sldMk cId="1918850631" sldId="2147476944"/>
        </pc:sldMkLst>
      </pc:sldChg>
      <pc:sldChg chg="ord">
        <pc:chgData name="Dirk Wübben" userId="a27602df-5b54-480c-866c-64260ceb4949" providerId="ADAL" clId="{37BE8744-2CCE-424F-B4A7-DEFAC50FDE3F}" dt="2025-02-26T10:10:47.814" v="1684"/>
        <pc:sldMkLst>
          <pc:docMk/>
          <pc:sldMk cId="1527545129" sldId="2147476945"/>
        </pc:sldMkLst>
      </pc:sldChg>
      <pc:sldChg chg="ord">
        <pc:chgData name="Dirk Wübben" userId="a27602df-5b54-480c-866c-64260ceb4949" providerId="ADAL" clId="{37BE8744-2CCE-424F-B4A7-DEFAC50FDE3F}" dt="2025-02-26T10:10:47.814" v="1684"/>
        <pc:sldMkLst>
          <pc:docMk/>
          <pc:sldMk cId="781642020" sldId="2147476946"/>
        </pc:sldMkLst>
      </pc:sldChg>
      <pc:sldChg chg="ord">
        <pc:chgData name="Dirk Wübben" userId="a27602df-5b54-480c-866c-64260ceb4949" providerId="ADAL" clId="{37BE8744-2CCE-424F-B4A7-DEFAC50FDE3F}" dt="2025-02-26T10:10:47.814" v="1684"/>
        <pc:sldMkLst>
          <pc:docMk/>
          <pc:sldMk cId="1015288669" sldId="2147476947"/>
        </pc:sldMkLst>
      </pc:sldChg>
      <pc:sldChg chg="ord">
        <pc:chgData name="Dirk Wübben" userId="a27602df-5b54-480c-866c-64260ceb4949" providerId="ADAL" clId="{37BE8744-2CCE-424F-B4A7-DEFAC50FDE3F}" dt="2025-02-26T10:10:47.814" v="1684"/>
        <pc:sldMkLst>
          <pc:docMk/>
          <pc:sldMk cId="1443366484" sldId="2147476948"/>
        </pc:sldMkLst>
      </pc:sldChg>
      <pc:sldChg chg="modSp new mod ord">
        <pc:chgData name="Dirk Wübben" userId="a27602df-5b54-480c-866c-64260ceb4949" providerId="ADAL" clId="{37BE8744-2CCE-424F-B4A7-DEFAC50FDE3F}" dt="2025-03-03T13:52:04.107" v="3432"/>
        <pc:sldMkLst>
          <pc:docMk/>
          <pc:sldMk cId="854581518" sldId="2147476949"/>
        </pc:sldMkLst>
      </pc:sldChg>
      <pc:sldChg chg="modSp mod">
        <pc:chgData name="Dirk Wübben" userId="a27602df-5b54-480c-866c-64260ceb4949" providerId="ADAL" clId="{37BE8744-2CCE-424F-B4A7-DEFAC50FDE3F}" dt="2025-02-27T07:11:55.116" v="3025" actId="1076"/>
        <pc:sldMkLst>
          <pc:docMk/>
          <pc:sldMk cId="2512753512" sldId="2147476958"/>
        </pc:sldMkLst>
      </pc:sldChg>
      <pc:sldChg chg="addSp delSp modSp mod">
        <pc:chgData name="Dirk Wübben" userId="a27602df-5b54-480c-866c-64260ceb4949" providerId="ADAL" clId="{37BE8744-2CCE-424F-B4A7-DEFAC50FDE3F}" dt="2025-02-27T07:12:03.945" v="3029"/>
        <pc:sldMkLst>
          <pc:docMk/>
          <pc:sldMk cId="3362133976" sldId="2147476959"/>
        </pc:sldMkLst>
      </pc:sldChg>
      <pc:sldChg chg="addSp delSp modSp mod">
        <pc:chgData name="Dirk Wübben" userId="a27602df-5b54-480c-866c-64260ceb4949" providerId="ADAL" clId="{37BE8744-2CCE-424F-B4A7-DEFAC50FDE3F}" dt="2025-02-27T07:12:01.559" v="3027"/>
        <pc:sldMkLst>
          <pc:docMk/>
          <pc:sldMk cId="2275402349" sldId="2147476960"/>
        </pc:sldMkLst>
      </pc:sldChg>
      <pc:sldChg chg="addSp delSp modSp mod">
        <pc:chgData name="Dirk Wübben" userId="a27602df-5b54-480c-866c-64260ceb4949" providerId="ADAL" clId="{37BE8744-2CCE-424F-B4A7-DEFAC50FDE3F}" dt="2025-02-27T07:12:12.916" v="3055" actId="1038"/>
        <pc:sldMkLst>
          <pc:docMk/>
          <pc:sldMk cId="3225395690" sldId="2147476961"/>
        </pc:sldMkLst>
      </pc:sldChg>
      <pc:sldChg chg="modSp del mod chgLayout">
        <pc:chgData name="Dirk Wübben" userId="a27602df-5b54-480c-866c-64260ceb4949" providerId="ADAL" clId="{37BE8744-2CCE-424F-B4A7-DEFAC50FDE3F}" dt="2025-03-03T13:55:31.566" v="3460" actId="47"/>
        <pc:sldMkLst>
          <pc:docMk/>
          <pc:sldMk cId="2006419099" sldId="2147476962"/>
        </pc:sldMkLst>
      </pc:sldChg>
      <pc:sldChg chg="modSp mod chgLayout">
        <pc:chgData name="Dirk Wübben" userId="a27602df-5b54-480c-866c-64260ceb4949" providerId="ADAL" clId="{37BE8744-2CCE-424F-B4A7-DEFAC50FDE3F}" dt="2025-03-03T20:23:47.170" v="3532" actId="14"/>
        <pc:sldMkLst>
          <pc:docMk/>
          <pc:sldMk cId="3377633737" sldId="2147476963"/>
        </pc:sldMkLst>
      </pc:sldChg>
      <pc:sldChg chg="modSp mod chgLayout">
        <pc:chgData name="Dirk Wübben" userId="a27602df-5b54-480c-866c-64260ceb4949" providerId="ADAL" clId="{37BE8744-2CCE-424F-B4A7-DEFAC50FDE3F}" dt="2025-03-03T20:22:19.926" v="3508" actId="113"/>
        <pc:sldMkLst>
          <pc:docMk/>
          <pc:sldMk cId="2771563822" sldId="2147476964"/>
        </pc:sldMkLst>
      </pc:sldChg>
      <pc:sldChg chg="addSp delSp modSp mod chgLayout">
        <pc:chgData name="Dirk Wübben" userId="a27602df-5b54-480c-866c-64260ceb4949" providerId="ADAL" clId="{37BE8744-2CCE-424F-B4A7-DEFAC50FDE3F}" dt="2025-02-28T08:34:03.004" v="3068" actId="700"/>
        <pc:sldMkLst>
          <pc:docMk/>
          <pc:sldMk cId="2073582900" sldId="2147476966"/>
        </pc:sldMkLst>
      </pc:sldChg>
      <pc:sldChg chg="addSp delSp modSp mod chgLayout">
        <pc:chgData name="Dirk Wübben" userId="a27602df-5b54-480c-866c-64260ceb4949" providerId="ADAL" clId="{37BE8744-2CCE-424F-B4A7-DEFAC50FDE3F}" dt="2025-03-03T20:30:01.166" v="3563"/>
        <pc:sldMkLst>
          <pc:docMk/>
          <pc:sldMk cId="3470027343" sldId="2147476968"/>
        </pc:sldMkLst>
      </pc:sldChg>
      <pc:sldChg chg="addSp delSp modSp mod chgLayout">
        <pc:chgData name="Dirk Wübben" userId="a27602df-5b54-480c-866c-64260ceb4949" providerId="ADAL" clId="{37BE8744-2CCE-424F-B4A7-DEFAC50FDE3F}" dt="2025-03-03T20:32:16.763" v="3581" actId="20577"/>
        <pc:sldMkLst>
          <pc:docMk/>
          <pc:sldMk cId="3721334223" sldId="2147476969"/>
        </pc:sldMkLst>
      </pc:sldChg>
      <pc:sldChg chg="modSp mod chgLayout">
        <pc:chgData name="Dirk Wübben" userId="a27602df-5b54-480c-866c-64260ceb4949" providerId="ADAL" clId="{37BE8744-2CCE-424F-B4A7-DEFAC50FDE3F}" dt="2025-03-03T20:34:04.656" v="3622" actId="20577"/>
        <pc:sldMkLst>
          <pc:docMk/>
          <pc:sldMk cId="3370915096" sldId="2147476970"/>
        </pc:sldMkLst>
      </pc:sldChg>
      <pc:sldChg chg="addSp delSp modSp mod chgLayout">
        <pc:chgData name="Dirk Wübben" userId="a27602df-5b54-480c-866c-64260ceb4949" providerId="ADAL" clId="{37BE8744-2CCE-424F-B4A7-DEFAC50FDE3F}" dt="2025-03-03T20:34:32.215" v="3625"/>
        <pc:sldMkLst>
          <pc:docMk/>
          <pc:sldMk cId="1350914574" sldId="2147476971"/>
        </pc:sldMkLst>
      </pc:sldChg>
      <pc:sldChg chg="modSp add mod">
        <pc:chgData name="Dirk Wübben" userId="a27602df-5b54-480c-866c-64260ceb4949" providerId="ADAL" clId="{37BE8744-2CCE-424F-B4A7-DEFAC50FDE3F}" dt="2025-02-28T09:20:20.213" v="3261" actId="6549"/>
        <pc:sldMkLst>
          <pc:docMk/>
          <pc:sldMk cId="3791343366" sldId="2147476972"/>
        </pc:sldMkLst>
      </pc:sldChg>
      <pc:sldChg chg="new ord">
        <pc:chgData name="Dirk Wübben" userId="a27602df-5b54-480c-866c-64260ceb4949" providerId="ADAL" clId="{37BE8744-2CCE-424F-B4A7-DEFAC50FDE3F}" dt="2025-02-28T09:20:45.077" v="3265"/>
        <pc:sldMkLst>
          <pc:docMk/>
          <pc:sldMk cId="2936859291" sldId="2147476973"/>
        </pc:sldMkLst>
      </pc:sldChg>
      <pc:sldChg chg="modSp mod chgLayout">
        <pc:chgData name="Dirk Wübben" userId="a27602df-5b54-480c-866c-64260ceb4949" providerId="ADAL" clId="{37BE8744-2CCE-424F-B4A7-DEFAC50FDE3F}" dt="2025-03-03T13:56:09.675" v="3468" actId="113"/>
        <pc:sldMkLst>
          <pc:docMk/>
          <pc:sldMk cId="681780769" sldId="2147476976"/>
        </pc:sldMkLst>
      </pc:sldChg>
      <pc:sldChg chg="delSp modSp mod">
        <pc:chgData name="Dirk Wübben" userId="a27602df-5b54-480c-866c-64260ceb4949" providerId="ADAL" clId="{37BE8744-2CCE-424F-B4A7-DEFAC50FDE3F}" dt="2025-03-03T20:25:37.499" v="3539"/>
        <pc:sldMkLst>
          <pc:docMk/>
          <pc:sldMk cId="249829350" sldId="2147476980"/>
        </pc:sldMkLst>
      </pc:sldChg>
      <pc:sldChg chg="delSp new del mod">
        <pc:chgData name="Dirk Wübben" userId="a27602df-5b54-480c-866c-64260ceb4949" providerId="ADAL" clId="{37BE8744-2CCE-424F-B4A7-DEFAC50FDE3F}" dt="2025-02-28T17:43:42.460" v="3268" actId="47"/>
        <pc:sldMkLst>
          <pc:docMk/>
          <pc:sldMk cId="1876400791" sldId="2147476980"/>
        </pc:sldMkLst>
      </pc:sldChg>
      <pc:sldChg chg="addSp modSp new mod">
        <pc:chgData name="Dirk Wübben" userId="a27602df-5b54-480c-866c-64260ceb4949" providerId="ADAL" clId="{37BE8744-2CCE-424F-B4A7-DEFAC50FDE3F}" dt="2025-03-03T13:55:28.934" v="3459" actId="20577"/>
        <pc:sldMkLst>
          <pc:docMk/>
          <pc:sldMk cId="589856088" sldId="2147476996"/>
        </pc:sldMkLst>
      </pc:sldChg>
      <pc:sldChg chg="delSp mod">
        <pc:chgData name="Dirk Wübben" userId="a27602df-5b54-480c-866c-64260ceb4949" providerId="ADAL" clId="{37BE8744-2CCE-424F-B4A7-DEFAC50FDE3F}" dt="2025-03-04T10:18:46.917" v="3740" actId="478"/>
        <pc:sldMkLst>
          <pc:docMk/>
          <pc:sldMk cId="1159854652" sldId="2147476996"/>
        </pc:sldMkLst>
      </pc:sldChg>
      <pc:sldChg chg="modSp new del mod">
        <pc:chgData name="Dirk Wübben" userId="a27602df-5b54-480c-866c-64260ceb4949" providerId="ADAL" clId="{37BE8744-2CCE-424F-B4A7-DEFAC50FDE3F}" dt="2025-03-03T20:23:38.313" v="3530" actId="47"/>
        <pc:sldMkLst>
          <pc:docMk/>
          <pc:sldMk cId="3002324282" sldId="2147476998"/>
        </pc:sldMkLst>
      </pc:sldChg>
      <pc:sldMasterChg chg="delSldLayout">
        <pc:chgData name="Dirk Wübben" userId="a27602df-5b54-480c-866c-64260ceb4949" providerId="ADAL" clId="{37BE8744-2CCE-424F-B4A7-DEFAC50FDE3F}" dt="2025-02-24T13:38:29.906" v="846" actId="47"/>
        <pc:sldMasterMkLst>
          <pc:docMk/>
          <pc:sldMasterMk cId="611449510" sldId="2147483686"/>
        </pc:sldMasterMkLst>
        <pc:sldLayoutChg chg="del">
          <pc:chgData name="Dirk Wübben" userId="a27602df-5b54-480c-866c-64260ceb4949" providerId="ADAL" clId="{37BE8744-2CCE-424F-B4A7-DEFAC50FDE3F}" dt="2025-02-10T10:41:23.720" v="74" actId="47"/>
          <pc:sldLayoutMkLst>
            <pc:docMk/>
            <pc:sldMasterMk cId="611449510" sldId="2147483686"/>
            <pc:sldLayoutMk cId="41860388" sldId="2147483702"/>
          </pc:sldLayoutMkLst>
        </pc:sldLayoutChg>
        <pc:sldLayoutChg chg="del">
          <pc:chgData name="Dirk Wübben" userId="a27602df-5b54-480c-866c-64260ceb4949" providerId="ADAL" clId="{37BE8744-2CCE-424F-B4A7-DEFAC50FDE3F}" dt="2025-02-24T13:38:29.906" v="846" actId="47"/>
          <pc:sldLayoutMkLst>
            <pc:docMk/>
            <pc:sldMasterMk cId="611449510" sldId="2147483686"/>
            <pc:sldLayoutMk cId="3542992440" sldId="2147483703"/>
          </pc:sldLayoutMkLst>
        </pc:sldLayoutChg>
      </pc:sldMasterChg>
    </pc:docChg>
  </pc:docChgLst>
  <pc:docChgLst>
    <pc:chgData name="Dirk Wübben" userId="a27602df-5b54-480c-866c-64260ceb4949" providerId="ADAL" clId="{3D074511-CB79-4E37-B981-EA231825076E}"/>
    <pc:docChg chg="undo custSel addSld delSld modSld sldOrd addSection modSection">
      <pc:chgData name="Dirk Wübben" userId="a27602df-5b54-480c-866c-64260ceb4949" providerId="ADAL" clId="{3D074511-CB79-4E37-B981-EA231825076E}" dt="2023-09-29T11:15:48.190" v="197" actId="20577"/>
      <pc:docMkLst>
        <pc:docMk/>
      </pc:docMkLst>
      <pc:sldChg chg="modSp mod">
        <pc:chgData name="Dirk Wübben" userId="a27602df-5b54-480c-866c-64260ceb4949" providerId="ADAL" clId="{3D074511-CB79-4E37-B981-EA231825076E}" dt="2023-09-29T09:49:45.990" v="21" actId="20577"/>
        <pc:sldMkLst>
          <pc:docMk/>
          <pc:sldMk cId="0" sldId="258"/>
        </pc:sldMkLst>
      </pc:sldChg>
      <pc:sldChg chg="modSp mod">
        <pc:chgData name="Dirk Wübben" userId="a27602df-5b54-480c-866c-64260ceb4949" providerId="ADAL" clId="{3D074511-CB79-4E37-B981-EA231825076E}" dt="2023-09-29T09:49:56.366" v="22" actId="6549"/>
        <pc:sldMkLst>
          <pc:docMk/>
          <pc:sldMk cId="2277072009" sldId="409"/>
        </pc:sldMkLst>
      </pc:sldChg>
      <pc:sldChg chg="del">
        <pc:chgData name="Dirk Wübben" userId="a27602df-5b54-480c-866c-64260ceb4949" providerId="ADAL" clId="{3D074511-CB79-4E37-B981-EA231825076E}" dt="2023-09-29T10:08:10.760" v="125" actId="47"/>
        <pc:sldMkLst>
          <pc:docMk/>
          <pc:sldMk cId="160608096" sldId="410"/>
        </pc:sldMkLst>
      </pc:sldChg>
      <pc:sldChg chg="add del">
        <pc:chgData name="Dirk Wübben" userId="a27602df-5b54-480c-866c-64260ceb4949" providerId="ADAL" clId="{3D074511-CB79-4E37-B981-EA231825076E}" dt="2023-09-29T10:07:45.186" v="120" actId="47"/>
        <pc:sldMkLst>
          <pc:docMk/>
          <pc:sldMk cId="1766123203" sldId="412"/>
        </pc:sldMkLst>
      </pc:sldChg>
      <pc:sldChg chg="del">
        <pc:chgData name="Dirk Wübben" userId="a27602df-5b54-480c-866c-64260ceb4949" providerId="ADAL" clId="{3D074511-CB79-4E37-B981-EA231825076E}" dt="2023-09-29T11:15:01.849" v="166" actId="47"/>
        <pc:sldMkLst>
          <pc:docMk/>
          <pc:sldMk cId="2013540328" sldId="415"/>
        </pc:sldMkLst>
      </pc:sldChg>
      <pc:sldChg chg="delSp modSp mod ord">
        <pc:chgData name="Dirk Wübben" userId="a27602df-5b54-480c-866c-64260ceb4949" providerId="ADAL" clId="{3D074511-CB79-4E37-B981-EA231825076E}" dt="2023-09-29T10:10:04.247" v="164" actId="14100"/>
        <pc:sldMkLst>
          <pc:docMk/>
          <pc:sldMk cId="1903714414" sldId="416"/>
        </pc:sldMkLst>
      </pc:sldChg>
      <pc:sldChg chg="del">
        <pc:chgData name="Dirk Wübben" userId="a27602df-5b54-480c-866c-64260ceb4949" providerId="ADAL" clId="{3D074511-CB79-4E37-B981-EA231825076E}" dt="2023-09-29T11:15:25.396" v="168" actId="47"/>
        <pc:sldMkLst>
          <pc:docMk/>
          <pc:sldMk cId="2825320251" sldId="2147472498"/>
        </pc:sldMkLst>
      </pc:sldChg>
      <pc:sldChg chg="del">
        <pc:chgData name="Dirk Wübben" userId="a27602df-5b54-480c-866c-64260ceb4949" providerId="ADAL" clId="{3D074511-CB79-4E37-B981-EA231825076E}" dt="2023-09-29T10:08:10.760" v="125" actId="47"/>
        <pc:sldMkLst>
          <pc:docMk/>
          <pc:sldMk cId="4003123245" sldId="2147472501"/>
        </pc:sldMkLst>
      </pc:sldChg>
      <pc:sldChg chg="modSp mod">
        <pc:chgData name="Dirk Wübben" userId="a27602df-5b54-480c-866c-64260ceb4949" providerId="ADAL" clId="{3D074511-CB79-4E37-B981-EA231825076E}" dt="2023-09-29T11:15:48.190" v="197" actId="20577"/>
        <pc:sldMkLst>
          <pc:docMk/>
          <pc:sldMk cId="4055870343" sldId="2147472502"/>
        </pc:sldMkLst>
      </pc:sldChg>
      <pc:sldChg chg="add del">
        <pc:chgData name="Dirk Wübben" userId="a27602df-5b54-480c-866c-64260ceb4949" providerId="ADAL" clId="{3D074511-CB79-4E37-B981-EA231825076E}" dt="2023-09-29T10:07:45.186" v="120" actId="47"/>
        <pc:sldMkLst>
          <pc:docMk/>
          <pc:sldMk cId="3170487856" sldId="2147472504"/>
        </pc:sldMkLst>
      </pc:sldChg>
      <pc:sldChg chg="del">
        <pc:chgData name="Dirk Wübben" userId="a27602df-5b54-480c-866c-64260ceb4949" providerId="ADAL" clId="{3D074511-CB79-4E37-B981-EA231825076E}" dt="2023-09-29T11:15:27.978" v="169" actId="47"/>
        <pc:sldMkLst>
          <pc:docMk/>
          <pc:sldMk cId="737727567" sldId="2147472505"/>
        </pc:sldMkLst>
      </pc:sldChg>
      <pc:sldChg chg="add del">
        <pc:chgData name="Dirk Wübben" userId="a27602df-5b54-480c-866c-64260ceb4949" providerId="ADAL" clId="{3D074511-CB79-4E37-B981-EA231825076E}" dt="2023-09-29T10:07:45.186" v="120" actId="47"/>
        <pc:sldMkLst>
          <pc:docMk/>
          <pc:sldMk cId="1819565692" sldId="2147472506"/>
        </pc:sldMkLst>
      </pc:sldChg>
      <pc:sldChg chg="del">
        <pc:chgData name="Dirk Wübben" userId="a27602df-5b54-480c-866c-64260ceb4949" providerId="ADAL" clId="{3D074511-CB79-4E37-B981-EA231825076E}" dt="2023-09-29T11:15:25.396" v="168" actId="47"/>
        <pc:sldMkLst>
          <pc:docMk/>
          <pc:sldMk cId="756076757" sldId="2147472507"/>
        </pc:sldMkLst>
      </pc:sldChg>
      <pc:sldChg chg="del">
        <pc:chgData name="Dirk Wübben" userId="a27602df-5b54-480c-866c-64260ceb4949" providerId="ADAL" clId="{3D074511-CB79-4E37-B981-EA231825076E}" dt="2023-09-29T11:15:25.396" v="168" actId="47"/>
        <pc:sldMkLst>
          <pc:docMk/>
          <pc:sldMk cId="1503147854" sldId="2147472508"/>
        </pc:sldMkLst>
      </pc:sldChg>
      <pc:sldChg chg="addSp delSp modSp new mod modClrScheme chgLayout">
        <pc:chgData name="Dirk Wübben" userId="a27602df-5b54-480c-866c-64260ceb4949" providerId="ADAL" clId="{3D074511-CB79-4E37-B981-EA231825076E}" dt="2023-09-29T10:07:40.828" v="119" actId="20577"/>
        <pc:sldMkLst>
          <pc:docMk/>
          <pc:sldMk cId="2621753809" sldId="2147472509"/>
        </pc:sldMkLst>
      </pc:sldChg>
      <pc:sldChg chg="new ord">
        <pc:chgData name="Dirk Wübben" userId="a27602df-5b54-480c-866c-64260ceb4949" providerId="ADAL" clId="{3D074511-CB79-4E37-B981-EA231825076E}" dt="2023-09-29T09:50:32.239" v="42"/>
        <pc:sldMkLst>
          <pc:docMk/>
          <pc:sldMk cId="104511861" sldId="2147472510"/>
        </pc:sldMkLst>
      </pc:sldChg>
      <pc:sldChg chg="modSp add mod">
        <pc:chgData name="Dirk Wübben" userId="a27602df-5b54-480c-866c-64260ceb4949" providerId="ADAL" clId="{3D074511-CB79-4E37-B981-EA231825076E}" dt="2023-09-29T10:08:00.555" v="124" actId="6549"/>
        <pc:sldMkLst>
          <pc:docMk/>
          <pc:sldMk cId="2780177838" sldId="2147472511"/>
        </pc:sldMkLst>
      </pc:sldChg>
      <pc:sldChg chg="add">
        <pc:chgData name="Dirk Wübben" userId="a27602df-5b54-480c-866c-64260ceb4949" providerId="ADAL" clId="{3D074511-CB79-4E37-B981-EA231825076E}" dt="2023-09-29T10:07:48.625" v="121"/>
        <pc:sldMkLst>
          <pc:docMk/>
          <pc:sldMk cId="4227724835" sldId="2147472512"/>
        </pc:sldMkLst>
      </pc:sldChg>
      <pc:sldChg chg="modSp add mod">
        <pc:chgData name="Dirk Wübben" userId="a27602df-5b54-480c-866c-64260ceb4949" providerId="ADAL" clId="{3D074511-CB79-4E37-B981-EA231825076E}" dt="2023-09-29T10:08:27.705" v="128" actId="6549"/>
        <pc:sldMkLst>
          <pc:docMk/>
          <pc:sldMk cId="3495942424" sldId="2147472513"/>
        </pc:sldMkLst>
      </pc:sldChg>
      <pc:sldChg chg="addSp delSp add del mod">
        <pc:chgData name="Dirk Wübben" userId="a27602df-5b54-480c-866c-64260ceb4949" providerId="ADAL" clId="{3D074511-CB79-4E37-B981-EA231825076E}" dt="2023-09-29T11:14:55.912" v="165" actId="47"/>
        <pc:sldMkLst>
          <pc:docMk/>
          <pc:sldMk cId="190230087" sldId="2147472514"/>
        </pc:sldMkLst>
      </pc:sldChg>
      <pc:sldChg chg="add">
        <pc:chgData name="Dirk Wübben" userId="a27602df-5b54-480c-866c-64260ceb4949" providerId="ADAL" clId="{3D074511-CB79-4E37-B981-EA231825076E}" dt="2023-09-29T10:08:40.918" v="131"/>
        <pc:sldMkLst>
          <pc:docMk/>
          <pc:sldMk cId="4273766805" sldId="2147472515"/>
        </pc:sldMkLst>
      </pc:sldChg>
      <pc:sldChg chg="add">
        <pc:chgData name="Dirk Wübben" userId="a27602df-5b54-480c-866c-64260ceb4949" providerId="ADAL" clId="{3D074511-CB79-4E37-B981-EA231825076E}" dt="2023-09-29T11:15:21.122" v="167"/>
        <pc:sldMkLst>
          <pc:docMk/>
          <pc:sldMk cId="600687088" sldId="2147472516"/>
        </pc:sldMkLst>
      </pc:sldChg>
      <pc:sldChg chg="new del">
        <pc:chgData name="Dirk Wübben" userId="a27602df-5b54-480c-866c-64260ceb4949" providerId="ADAL" clId="{3D074511-CB79-4E37-B981-EA231825076E}" dt="2023-09-29T10:09:09.041" v="137" actId="680"/>
        <pc:sldMkLst>
          <pc:docMk/>
          <pc:sldMk cId="3962087512" sldId="2147472516"/>
        </pc:sldMkLst>
      </pc:sldChg>
    </pc:docChg>
  </pc:docChgLst>
  <pc:docChgLst>
    <pc:chgData name="Breitbach, Markus" userId="S::m.breitbach_telekom.de#ext#@antunibremen.onmicrosoft.com::10c158ad-965e-4490-8b4a-81e4e8a03889" providerId="AD" clId="Web-{B885A55D-D5C7-728D-E3FE-C5966CF41055}"/>
    <pc:docChg chg="delSld modSld modSection">
      <pc:chgData name="Breitbach, Markus" userId="S::m.breitbach_telekom.de#ext#@antunibremen.onmicrosoft.com::10c158ad-965e-4490-8b4a-81e4e8a03889" providerId="AD" clId="Web-{B885A55D-D5C7-728D-E3FE-C5966CF41055}" dt="2025-03-25T13:40:53.087" v="35"/>
      <pc:docMkLst>
        <pc:docMk/>
      </pc:docMkLst>
      <pc:sldChg chg="mod modShow">
        <pc:chgData name="Breitbach, Markus" userId="S::m.breitbach_telekom.de#ext#@antunibremen.onmicrosoft.com::10c158ad-965e-4490-8b4a-81e4e8a03889" providerId="AD" clId="Web-{B885A55D-D5C7-728D-E3FE-C5966CF41055}" dt="2025-03-25T10:48:24.586" v="18"/>
        <pc:sldMkLst>
          <pc:docMk/>
          <pc:sldMk cId="3618174397" sldId="290"/>
        </pc:sldMkLst>
      </pc:sldChg>
      <pc:sldChg chg="modSp">
        <pc:chgData name="Breitbach, Markus" userId="S::m.breitbach_telekom.de#ext#@antunibremen.onmicrosoft.com::10c158ad-965e-4490-8b4a-81e4e8a03889" providerId="AD" clId="Web-{B885A55D-D5C7-728D-E3FE-C5966CF41055}" dt="2025-03-25T11:03:27.662" v="26" actId="1076"/>
        <pc:sldMkLst>
          <pc:docMk/>
          <pc:sldMk cId="1338731232" sldId="2147476964"/>
        </pc:sldMkLst>
      </pc:sldChg>
      <pc:sldChg chg="del mod modShow">
        <pc:chgData name="Breitbach, Markus" userId="S::m.breitbach_telekom.de#ext#@antunibremen.onmicrosoft.com::10c158ad-965e-4490-8b4a-81e4e8a03889" providerId="AD" clId="Web-{B885A55D-D5C7-728D-E3FE-C5966CF41055}" dt="2025-03-25T13:40:50.228" v="33"/>
        <pc:sldMkLst>
          <pc:docMk/>
          <pc:sldMk cId="1817739798" sldId="2147477030"/>
        </pc:sldMkLst>
      </pc:sldChg>
      <pc:sldChg chg="modSp">
        <pc:chgData name="Breitbach, Markus" userId="S::m.breitbach_telekom.de#ext#@antunibremen.onmicrosoft.com::10c158ad-965e-4490-8b4a-81e4e8a03889" providerId="AD" clId="Web-{B885A55D-D5C7-728D-E3FE-C5966CF41055}" dt="2025-03-25T11:27:28.584" v="29" actId="20577"/>
        <pc:sldMkLst>
          <pc:docMk/>
          <pc:sldMk cId="3161152169" sldId="2147477035"/>
        </pc:sldMkLst>
        <pc:spChg chg="mod">
          <ac:chgData name="Breitbach, Markus" userId="S::m.breitbach_telekom.de#ext#@antunibremen.onmicrosoft.com::10c158ad-965e-4490-8b4a-81e4e8a03889" providerId="AD" clId="Web-{B885A55D-D5C7-728D-E3FE-C5966CF41055}" dt="2025-03-25T11:27:28.584" v="29" actId="20577"/>
          <ac:spMkLst>
            <pc:docMk/>
            <pc:sldMk cId="3161152169" sldId="2147477035"/>
            <ac:spMk id="4" creationId="{A7AF831F-B423-4FF1-91C3-B1CCCA8C8EF8}"/>
          </ac:spMkLst>
        </pc:spChg>
      </pc:sldChg>
      <pc:sldChg chg="addSp modSp">
        <pc:chgData name="Breitbach, Markus" userId="S::m.breitbach_telekom.de#ext#@antunibremen.onmicrosoft.com::10c158ad-965e-4490-8b4a-81e4e8a03889" providerId="AD" clId="Web-{B885A55D-D5C7-728D-E3FE-C5966CF41055}" dt="2025-03-25T10:35:29.342" v="7" actId="1076"/>
        <pc:sldMkLst>
          <pc:docMk/>
          <pc:sldMk cId="61019520" sldId="2147477039"/>
        </pc:sldMkLst>
        <pc:spChg chg="add mod">
          <ac:chgData name="Breitbach, Markus" userId="S::m.breitbach_telekom.de#ext#@antunibremen.onmicrosoft.com::10c158ad-965e-4490-8b4a-81e4e8a03889" providerId="AD" clId="Web-{B885A55D-D5C7-728D-E3FE-C5966CF41055}" dt="2025-03-25T10:35:29.342" v="7" actId="1076"/>
          <ac:spMkLst>
            <pc:docMk/>
            <pc:sldMk cId="61019520" sldId="2147477039"/>
            <ac:spMk id="2" creationId="{7DB59F9A-1AE7-26AC-A287-28E1A96DF8ED}"/>
          </ac:spMkLst>
        </pc:spChg>
      </pc:sldChg>
      <pc:sldChg chg="modSp">
        <pc:chgData name="Breitbach, Markus" userId="S::m.breitbach_telekom.de#ext#@antunibremen.onmicrosoft.com::10c158ad-965e-4490-8b4a-81e4e8a03889" providerId="AD" clId="Web-{B885A55D-D5C7-728D-E3FE-C5966CF41055}" dt="2025-03-25T10:40:21.820" v="10" actId="1076"/>
        <pc:sldMkLst>
          <pc:docMk/>
          <pc:sldMk cId="746299310" sldId="2147477041"/>
        </pc:sldMkLst>
      </pc:sldChg>
      <pc:sldChg chg="del">
        <pc:chgData name="Breitbach, Markus" userId="S::m.breitbach_telekom.de#ext#@antunibremen.onmicrosoft.com::10c158ad-965e-4490-8b4a-81e4e8a03889" providerId="AD" clId="Web-{B885A55D-D5C7-728D-E3FE-C5966CF41055}" dt="2025-03-25T13:40:53.087" v="35"/>
        <pc:sldMkLst>
          <pc:docMk/>
          <pc:sldMk cId="3604156285" sldId="2147477042"/>
        </pc:sldMkLst>
      </pc:sldChg>
      <pc:sldChg chg="del mod modShow">
        <pc:chgData name="Breitbach, Markus" userId="S::m.breitbach_telekom.de#ext#@antunibremen.onmicrosoft.com::10c158ad-965e-4490-8b4a-81e4e8a03889" providerId="AD" clId="Web-{B885A55D-D5C7-728D-E3FE-C5966CF41055}" dt="2025-03-25T13:40:44.009" v="32"/>
        <pc:sldMkLst>
          <pc:docMk/>
          <pc:sldMk cId="3711949038" sldId="2147477043"/>
        </pc:sldMkLst>
      </pc:sldChg>
      <pc:sldChg chg="modSp">
        <pc:chgData name="Breitbach, Markus" userId="S::m.breitbach_telekom.de#ext#@antunibremen.onmicrosoft.com::10c158ad-965e-4490-8b4a-81e4e8a03889" providerId="AD" clId="Web-{B885A55D-D5C7-728D-E3FE-C5966CF41055}" dt="2025-03-25T10:51:33.655" v="20" actId="1076"/>
        <pc:sldMkLst>
          <pc:docMk/>
          <pc:sldMk cId="2207442008" sldId="2147477047"/>
        </pc:sldMkLst>
      </pc:sldChg>
      <pc:sldChg chg="addSp delSp modSp mod setBg">
        <pc:chgData name="Breitbach, Markus" userId="S::m.breitbach_telekom.de#ext#@antunibremen.onmicrosoft.com::10c158ad-965e-4490-8b4a-81e4e8a03889" providerId="AD" clId="Web-{B885A55D-D5C7-728D-E3FE-C5966CF41055}" dt="2025-03-25T10:44:14.609" v="17" actId="1076"/>
        <pc:sldMkLst>
          <pc:docMk/>
          <pc:sldMk cId="761125098" sldId="2147477048"/>
        </pc:sldMkLst>
      </pc:sldChg>
      <pc:sldChg chg="del mod modShow">
        <pc:chgData name="Breitbach, Markus" userId="S::m.breitbach_telekom.de#ext#@antunibremen.onmicrosoft.com::10c158ad-965e-4490-8b4a-81e4e8a03889" providerId="AD" clId="Web-{B885A55D-D5C7-728D-E3FE-C5966CF41055}" dt="2025-03-25T13:40:51.024" v="34"/>
        <pc:sldMkLst>
          <pc:docMk/>
          <pc:sldMk cId="2652341965" sldId="2147477063"/>
        </pc:sldMkLst>
      </pc:sldChg>
      <pc:sldChg chg="modSp">
        <pc:chgData name="Breitbach, Markus" userId="S::m.breitbach_telekom.de#ext#@antunibremen.onmicrosoft.com::10c158ad-965e-4490-8b4a-81e4e8a03889" providerId="AD" clId="Web-{B885A55D-D5C7-728D-E3FE-C5966CF41055}" dt="2025-03-25T11:42:06.206" v="31" actId="20577"/>
        <pc:sldMkLst>
          <pc:docMk/>
          <pc:sldMk cId="3565376226" sldId="2147477067"/>
        </pc:sldMkLst>
      </pc:sldChg>
    </pc:docChg>
  </pc:docChgLst>
  <pc:docChgLst>
    <pc:chgData name="Dennis Buchberger" userId="S::buchberger@ant.uni-bremen.de::cfe5e5e7-b999-4ed2-8d25-bbd6e3df32e4" providerId="AD" clId="Web-{2538A2EE-EB9F-D308-90F7-78C4D493664F}"/>
    <pc:docChg chg="modSld">
      <pc:chgData name="Dennis Buchberger" userId="S::buchberger@ant.uni-bremen.de::cfe5e5e7-b999-4ed2-8d25-bbd6e3df32e4" providerId="AD" clId="Web-{2538A2EE-EB9F-D308-90F7-78C4D493664F}" dt="2024-03-08T10:13:25.521" v="158" actId="20577"/>
      <pc:docMkLst>
        <pc:docMk/>
      </pc:docMkLst>
      <pc:sldChg chg="modSp">
        <pc:chgData name="Dennis Buchberger" userId="S::buchberger@ant.uni-bremen.de::cfe5e5e7-b999-4ed2-8d25-bbd6e3df32e4" providerId="AD" clId="Web-{2538A2EE-EB9F-D308-90F7-78C4D493664F}" dt="2024-03-08T10:01:24.119" v="2" actId="1076"/>
        <pc:sldMkLst>
          <pc:docMk/>
          <pc:sldMk cId="4196284054" sldId="2147472557"/>
        </pc:sldMkLst>
      </pc:sldChg>
      <pc:sldChg chg="modSp">
        <pc:chgData name="Dennis Buchberger" userId="S::buchberger@ant.uni-bremen.de::cfe5e5e7-b999-4ed2-8d25-bbd6e3df32e4" providerId="AD" clId="Web-{2538A2EE-EB9F-D308-90F7-78C4D493664F}" dt="2024-03-08T10:12:57.817" v="149" actId="20577"/>
        <pc:sldMkLst>
          <pc:docMk/>
          <pc:sldMk cId="1962824018" sldId="2147472559"/>
        </pc:sldMkLst>
      </pc:sldChg>
      <pc:sldChg chg="modSp">
        <pc:chgData name="Dennis Buchberger" userId="S::buchberger@ant.uni-bremen.de::cfe5e5e7-b999-4ed2-8d25-bbd6e3df32e4" providerId="AD" clId="Web-{2538A2EE-EB9F-D308-90F7-78C4D493664F}" dt="2024-03-08T10:13:25.521" v="158" actId="20577"/>
        <pc:sldMkLst>
          <pc:docMk/>
          <pc:sldMk cId="2703493096" sldId="2147472560"/>
        </pc:sldMkLst>
      </pc:sldChg>
    </pc:docChg>
  </pc:docChgLst>
  <pc:docChgLst>
    <pc:chgData name="Breitbach, Markus" userId="S::m.breitbach_telekom.de#ext#@antunibremen.onmicrosoft.com::10c158ad-965e-4490-8b4a-81e4e8a03889" providerId="AD" clId="Web-{B5F29243-87B9-9BA1-F9A2-3AC10ACA1800}"/>
    <pc:docChg chg="addSld modSld modSection">
      <pc:chgData name="Breitbach, Markus" userId="S::m.breitbach_telekom.de#ext#@antunibremen.onmicrosoft.com::10c158ad-965e-4490-8b4a-81e4e8a03889" providerId="AD" clId="Web-{B5F29243-87B9-9BA1-F9A2-3AC10ACA1800}" dt="2025-03-21T10:37:22.539" v="147"/>
      <pc:docMkLst>
        <pc:docMk/>
      </pc:docMkLst>
      <pc:sldChg chg="addSp delSp modSp modNotes">
        <pc:chgData name="Breitbach, Markus" userId="S::m.breitbach_telekom.de#ext#@antunibremen.onmicrosoft.com::10c158ad-965e-4490-8b4a-81e4e8a03889" providerId="AD" clId="Web-{B5F29243-87B9-9BA1-F9A2-3AC10ACA1800}" dt="2025-03-21T10:37:22.539" v="147"/>
        <pc:sldMkLst>
          <pc:docMk/>
          <pc:sldMk cId="473860687" sldId="286"/>
        </pc:sldMkLst>
        <pc:spChg chg="mod">
          <ac:chgData name="Breitbach, Markus" userId="S::m.breitbach_telekom.de#ext#@antunibremen.onmicrosoft.com::10c158ad-965e-4490-8b4a-81e4e8a03889" providerId="AD" clId="Web-{B5F29243-87B9-9BA1-F9A2-3AC10ACA1800}" dt="2025-03-21T10:36:40.585" v="126" actId="20577"/>
          <ac:spMkLst>
            <pc:docMk/>
            <pc:sldMk cId="473860687" sldId="286"/>
            <ac:spMk id="9" creationId="{2DE65785-D00C-4AC4-A9F5-105F42CCF6DA}"/>
          </ac:spMkLst>
        </pc:spChg>
        <pc:picChg chg="add mod ord modCrop">
          <ac:chgData name="Breitbach, Markus" userId="S::m.breitbach_telekom.de#ext#@antunibremen.onmicrosoft.com::10c158ad-965e-4490-8b4a-81e4e8a03889" providerId="AD" clId="Web-{B5F29243-87B9-9BA1-F9A2-3AC10ACA1800}" dt="2025-03-21T10:35:50.217" v="124"/>
          <ac:picMkLst>
            <pc:docMk/>
            <pc:sldMk cId="473860687" sldId="286"/>
            <ac:picMk id="8" creationId="{A17B2314-B0F3-CAAA-EAE8-6DB409E82127}"/>
          </ac:picMkLst>
        </pc:picChg>
      </pc:sldChg>
      <pc:sldChg chg="modSp mod modClrScheme chgLayout">
        <pc:chgData name="Breitbach, Markus" userId="S::m.breitbach_telekom.de#ext#@antunibremen.onmicrosoft.com::10c158ad-965e-4490-8b4a-81e4e8a03889" providerId="AD" clId="Web-{B5F29243-87B9-9BA1-F9A2-3AC10ACA1800}" dt="2025-03-20T15:39:15.883" v="8" actId="14100"/>
        <pc:sldMkLst>
          <pc:docMk/>
          <pc:sldMk cId="3334546825" sldId="2147476962"/>
        </pc:sldMkLst>
      </pc:sldChg>
      <pc:sldChg chg="add">
        <pc:chgData name="Breitbach, Markus" userId="S::m.breitbach_telekom.de#ext#@antunibremen.onmicrosoft.com::10c158ad-965e-4490-8b4a-81e4e8a03889" providerId="AD" clId="Web-{B5F29243-87B9-9BA1-F9A2-3AC10ACA1800}" dt="2025-03-20T14:50:57.377" v="0"/>
        <pc:sldMkLst>
          <pc:docMk/>
          <pc:sldMk cId="2724399991" sldId="2147476963"/>
        </pc:sldMkLst>
      </pc:sldChg>
      <pc:sldChg chg="addSp delSp modSp modNotes">
        <pc:chgData name="Breitbach, Markus" userId="S::m.breitbach_telekom.de#ext#@antunibremen.onmicrosoft.com::10c158ad-965e-4490-8b4a-81e4e8a03889" providerId="AD" clId="Web-{B5F29243-87B9-9BA1-F9A2-3AC10ACA1800}" dt="2025-03-21T10:30:12.659" v="119" actId="20577"/>
        <pc:sldMkLst>
          <pc:docMk/>
          <pc:sldMk cId="3146538416" sldId="2147477040"/>
        </pc:sldMkLst>
        <pc:spChg chg="mod">
          <ac:chgData name="Breitbach, Markus" userId="S::m.breitbach_telekom.de#ext#@antunibremen.onmicrosoft.com::10c158ad-965e-4490-8b4a-81e4e8a03889" providerId="AD" clId="Web-{B5F29243-87B9-9BA1-F9A2-3AC10ACA1800}" dt="2025-03-21T10:10:02.565" v="24" actId="20577"/>
          <ac:spMkLst>
            <pc:docMk/>
            <pc:sldMk cId="3146538416" sldId="2147477040"/>
            <ac:spMk id="3" creationId="{F40097EE-7631-4F51-979B-3E37C2628C7B}"/>
          </ac:spMkLst>
        </pc:spChg>
        <pc:spChg chg="mod">
          <ac:chgData name="Breitbach, Markus" userId="S::m.breitbach_telekom.de#ext#@antunibremen.onmicrosoft.com::10c158ad-965e-4490-8b4a-81e4e8a03889" providerId="AD" clId="Web-{B5F29243-87B9-9BA1-F9A2-3AC10ACA1800}" dt="2025-03-21T10:10:39.927" v="46" actId="20577"/>
          <ac:spMkLst>
            <pc:docMk/>
            <pc:sldMk cId="3146538416" sldId="2147477040"/>
            <ac:spMk id="5" creationId="{06184398-E501-429B-8F17-57999DF39B69}"/>
          </ac:spMkLst>
        </pc:spChg>
        <pc:spChg chg="mod">
          <ac:chgData name="Breitbach, Markus" userId="S::m.breitbach_telekom.de#ext#@antunibremen.onmicrosoft.com::10c158ad-965e-4490-8b4a-81e4e8a03889" providerId="AD" clId="Web-{B5F29243-87B9-9BA1-F9A2-3AC10ACA1800}" dt="2025-03-21T10:28:46.028" v="96" actId="20577"/>
          <ac:spMkLst>
            <pc:docMk/>
            <pc:sldMk cId="3146538416" sldId="2147477040"/>
            <ac:spMk id="7" creationId="{AE2992A3-0769-4612-8C91-95B6C892D578}"/>
          </ac:spMkLst>
        </pc:spChg>
        <pc:spChg chg="mod">
          <ac:chgData name="Breitbach, Markus" userId="S::m.breitbach_telekom.de#ext#@antunibremen.onmicrosoft.com::10c158ad-965e-4490-8b4a-81e4e8a03889" providerId="AD" clId="Web-{B5F29243-87B9-9BA1-F9A2-3AC10ACA1800}" dt="2025-03-21T10:30:12.659" v="119" actId="20577"/>
          <ac:spMkLst>
            <pc:docMk/>
            <pc:sldMk cId="3146538416" sldId="2147477040"/>
            <ac:spMk id="9" creationId="{A4E0F1AD-ADCA-4A49-A4B1-A9FE4D532910}"/>
          </ac:spMkLst>
        </pc:spChg>
        <pc:picChg chg="add mod ord">
          <ac:chgData name="Breitbach, Markus" userId="S::m.breitbach_telekom.de#ext#@antunibremen.onmicrosoft.com::10c158ad-965e-4490-8b4a-81e4e8a03889" providerId="AD" clId="Web-{B5F29243-87B9-9BA1-F9A2-3AC10ACA1800}" dt="2025-03-21T10:13:30.737" v="47"/>
          <ac:picMkLst>
            <pc:docMk/>
            <pc:sldMk cId="3146538416" sldId="2147477040"/>
            <ac:picMk id="12" creationId="{CF118A6A-7991-0821-841B-818BE1678538}"/>
          </ac:picMkLst>
        </pc:picChg>
        <pc:picChg chg="add mod ord">
          <ac:chgData name="Breitbach, Markus" userId="S::m.breitbach_telekom.de#ext#@antunibremen.onmicrosoft.com::10c158ad-965e-4490-8b4a-81e4e8a03889" providerId="AD" clId="Web-{B5F29243-87B9-9BA1-F9A2-3AC10ACA1800}" dt="2025-03-21T10:29:00.388" v="99" actId="14100"/>
          <ac:picMkLst>
            <pc:docMk/>
            <pc:sldMk cId="3146538416" sldId="2147477040"/>
            <ac:picMk id="15" creationId="{BF0DC8F0-88D3-6BA5-C2A8-B2065D2697AD}"/>
          </ac:picMkLst>
        </pc:picChg>
      </pc:sldChg>
      <pc:sldChg chg="addSp delSp modSp add replId">
        <pc:chgData name="Breitbach, Markus" userId="S::m.breitbach_telekom.de#ext#@antunibremen.onmicrosoft.com::10c158ad-965e-4490-8b4a-81e4e8a03889" providerId="AD" clId="Web-{B5F29243-87B9-9BA1-F9A2-3AC10ACA1800}" dt="2025-03-21T10:36:52.710" v="128"/>
        <pc:sldMkLst>
          <pc:docMk/>
          <pc:sldMk cId="3604156285" sldId="2147477042"/>
        </pc:sldMkLst>
      </pc:sldChg>
    </pc:docChg>
  </pc:docChgLst>
  <pc:docChgLst>
    <pc:chgData name="jan.buchholz@imst.de" userId="S::jan.buchholz_imst.de#ext#@antunibremen.onmicrosoft.com::32a6142b-abe6-465a-b35e-cd845930b28f" providerId="AD" clId="Web-{2E6107B7-4D30-D40A-D4BB-AD7104B9E0DA}"/>
    <pc:docChg chg="addSld delSld modSld sldOrd modSection">
      <pc:chgData name="jan.buchholz@imst.de" userId="S::jan.buchholz_imst.de#ext#@antunibremen.onmicrosoft.com::32a6142b-abe6-465a-b35e-cd845930b28f" providerId="AD" clId="Web-{2E6107B7-4D30-D40A-D4BB-AD7104B9E0DA}" dt="2023-10-17T14:53:42.696" v="223" actId="20577"/>
      <pc:docMkLst>
        <pc:docMk/>
      </pc:docMkLst>
      <pc:sldChg chg="del ord">
        <pc:chgData name="jan.buchholz@imst.de" userId="S::jan.buchholz_imst.de#ext#@antunibremen.onmicrosoft.com::32a6142b-abe6-465a-b35e-cd845930b28f" providerId="AD" clId="Web-{2E6107B7-4D30-D40A-D4BB-AD7104B9E0DA}" dt="2023-10-17T14:43:43.627" v="3"/>
        <pc:sldMkLst>
          <pc:docMk/>
          <pc:sldMk cId="2488507302" sldId="2147472517"/>
        </pc:sldMkLst>
      </pc:sldChg>
      <pc:sldChg chg="addSp modSp">
        <pc:chgData name="jan.buchholz@imst.de" userId="S::jan.buchholz_imst.de#ext#@antunibremen.onmicrosoft.com::32a6142b-abe6-465a-b35e-cd845930b28f" providerId="AD" clId="Web-{2E6107B7-4D30-D40A-D4BB-AD7104B9E0DA}" dt="2023-10-17T14:52:52.288" v="217" actId="20577"/>
        <pc:sldMkLst>
          <pc:docMk/>
          <pc:sldMk cId="727142129" sldId="2147472519"/>
        </pc:sldMkLst>
      </pc:sldChg>
      <pc:sldChg chg="addSp delSp modSp add ord replId">
        <pc:chgData name="jan.buchholz@imst.de" userId="S::jan.buchholz_imst.de#ext#@antunibremen.onmicrosoft.com::32a6142b-abe6-465a-b35e-cd845930b28f" providerId="AD" clId="Web-{2E6107B7-4D30-D40A-D4BB-AD7104B9E0DA}" dt="2023-10-17T14:53:30.180" v="220"/>
        <pc:sldMkLst>
          <pc:docMk/>
          <pc:sldMk cId="1655634797" sldId="2147472520"/>
        </pc:sldMkLst>
      </pc:sldChg>
      <pc:sldChg chg="addSp modSp add ord replId">
        <pc:chgData name="jan.buchholz@imst.de" userId="S::jan.buchholz_imst.de#ext#@antunibremen.onmicrosoft.com::32a6142b-abe6-465a-b35e-cd845930b28f" providerId="AD" clId="Web-{2E6107B7-4D30-D40A-D4BB-AD7104B9E0DA}" dt="2023-10-17T14:53:42.696" v="223" actId="20577"/>
        <pc:sldMkLst>
          <pc:docMk/>
          <pc:sldMk cId="1786956514" sldId="2147472521"/>
        </pc:sldMkLst>
      </pc:sldChg>
    </pc:docChg>
  </pc:docChgLst>
  <pc:docChgLst>
    <pc:chgData name="Jan Drewes" userId="S::janhenning.drewes_nxp.com#ext#@antunibremen.onmicrosoft.com::e11dbc40-13df-4427-a065-822664db6633" providerId="AD" clId="Web-{C9396811-D4BA-07CF-E12F-E7360ED605C9}"/>
    <pc:docChg chg="modSld">
      <pc:chgData name="Jan Drewes" userId="S::janhenning.drewes_nxp.com#ext#@antunibremen.onmicrosoft.com::e11dbc40-13df-4427-a065-822664db6633" providerId="AD" clId="Web-{C9396811-D4BA-07CF-E12F-E7360ED605C9}" dt="2024-03-08T12:41:28.615" v="92" actId="1076"/>
      <pc:docMkLst>
        <pc:docMk/>
      </pc:docMkLst>
      <pc:sldChg chg="modSp">
        <pc:chgData name="Jan Drewes" userId="S::janhenning.drewes_nxp.com#ext#@antunibremen.onmicrosoft.com::e11dbc40-13df-4427-a065-822664db6633" providerId="AD" clId="Web-{C9396811-D4BA-07CF-E12F-E7360ED605C9}" dt="2024-03-08T12:39:39.283" v="68" actId="20577"/>
        <pc:sldMkLst>
          <pc:docMk/>
          <pc:sldMk cId="2685880669" sldId="2147472551"/>
        </pc:sldMkLst>
      </pc:sldChg>
      <pc:sldChg chg="addSp delSp modSp">
        <pc:chgData name="Jan Drewes" userId="S::janhenning.drewes_nxp.com#ext#@antunibremen.onmicrosoft.com::e11dbc40-13df-4427-a065-822664db6633" providerId="AD" clId="Web-{C9396811-D4BA-07CF-E12F-E7360ED605C9}" dt="2024-03-08T12:41:28.615" v="92" actId="1076"/>
        <pc:sldMkLst>
          <pc:docMk/>
          <pc:sldMk cId="1597934679" sldId="2147472552"/>
        </pc:sldMkLst>
      </pc:sldChg>
    </pc:docChg>
  </pc:docChgLst>
  <pc:docChgLst>
    <pc:chgData name="herbst@otaris.de" userId="S::herbst_otaris.de#ext#@antunibremen.onmicrosoft.com::cda1c2c2-ea13-4aa8-a0c6-7af0ed80aac7" providerId="AD" clId="Web-{4C0F1462-E378-F8A4-B406-FC5BDD6E2828}"/>
    <pc:docChg chg="modSld">
      <pc:chgData name="herbst@otaris.de" userId="S::herbst_otaris.de#ext#@antunibremen.onmicrosoft.com::cda1c2c2-ea13-4aa8-a0c6-7af0ed80aac7" providerId="AD" clId="Web-{4C0F1462-E378-F8A4-B406-FC5BDD6E2828}" dt="2025-02-27T11:35:48.668" v="1" actId="20577"/>
      <pc:docMkLst>
        <pc:docMk/>
      </pc:docMkLst>
      <pc:sldChg chg="modSp">
        <pc:chgData name="herbst@otaris.de" userId="S::herbst_otaris.de#ext#@antunibremen.onmicrosoft.com::cda1c2c2-ea13-4aa8-a0c6-7af0ed80aac7" providerId="AD" clId="Web-{4C0F1462-E378-F8A4-B406-FC5BDD6E2828}" dt="2025-02-27T11:35:48.668" v="1" actId="20577"/>
        <pc:sldMkLst>
          <pc:docMk/>
          <pc:sldMk cId="1077208484" sldId="2147476942"/>
        </pc:sldMkLst>
      </pc:sldChg>
    </pc:docChg>
  </pc:docChgLst>
  <pc:docChgLst>
    <pc:chgData name="Hammouda Marwan" userId="S::hammouda@ant.uni-bremen.de::141c87ca-9386-4b1c-88e0-e9251bd241ba" providerId="AD" clId="Web-{F8080584-4D46-A88E-F8FA-24B83C74B1D7}"/>
    <pc:docChg chg="modSld">
      <pc:chgData name="Hammouda Marwan" userId="S::hammouda@ant.uni-bremen.de::141c87ca-9386-4b1c-88e0-e9251bd241ba" providerId="AD" clId="Web-{F8080584-4D46-A88E-F8FA-24B83C74B1D7}" dt="2025-02-28T10:15:28.048" v="4"/>
      <pc:docMkLst>
        <pc:docMk/>
      </pc:docMkLst>
      <pc:sldChg chg="delSp">
        <pc:chgData name="Hammouda Marwan" userId="S::hammouda@ant.uni-bremen.de::141c87ca-9386-4b1c-88e0-e9251bd241ba" providerId="AD" clId="Web-{F8080584-4D46-A88E-F8FA-24B83C74B1D7}" dt="2025-02-28T10:15:14.672" v="0"/>
        <pc:sldMkLst>
          <pc:docMk/>
          <pc:sldMk cId="4196284054" sldId="2147472557"/>
        </pc:sldMkLst>
      </pc:sldChg>
      <pc:sldChg chg="delSp">
        <pc:chgData name="Hammouda Marwan" userId="S::hammouda@ant.uni-bremen.de::141c87ca-9386-4b1c-88e0-e9251bd241ba" providerId="AD" clId="Web-{F8080584-4D46-A88E-F8FA-24B83C74B1D7}" dt="2025-02-28T10:15:20.001" v="1"/>
        <pc:sldMkLst>
          <pc:docMk/>
          <pc:sldMk cId="2006419099" sldId="2147476962"/>
        </pc:sldMkLst>
      </pc:sldChg>
      <pc:sldChg chg="delSp modSp">
        <pc:chgData name="Hammouda Marwan" userId="S::hammouda@ant.uni-bremen.de::141c87ca-9386-4b1c-88e0-e9251bd241ba" providerId="AD" clId="Web-{F8080584-4D46-A88E-F8FA-24B83C74B1D7}" dt="2025-02-28T10:15:24.282" v="3"/>
        <pc:sldMkLst>
          <pc:docMk/>
          <pc:sldMk cId="3377633737" sldId="2147476963"/>
        </pc:sldMkLst>
      </pc:sldChg>
      <pc:sldChg chg="delSp">
        <pc:chgData name="Hammouda Marwan" userId="S::hammouda@ant.uni-bremen.de::141c87ca-9386-4b1c-88e0-e9251bd241ba" providerId="AD" clId="Web-{F8080584-4D46-A88E-F8FA-24B83C74B1D7}" dt="2025-02-28T10:15:28.048" v="4"/>
        <pc:sldMkLst>
          <pc:docMk/>
          <pc:sldMk cId="2771563822" sldId="2147476964"/>
        </pc:sldMkLst>
      </pc:sldChg>
    </pc:docChg>
  </pc:docChgLst>
  <pc:docChgLst>
    <pc:chgData name="Dennis Buchberger" userId="S::buchberger@ant.uni-bremen.de::cfe5e5e7-b999-4ed2-8d25-bbd6e3df32e4" providerId="AD" clId="Web-{DF671559-FAA9-EB44-038B-03A54F380476}"/>
    <pc:docChg chg="addSld modSld sldOrd modSection">
      <pc:chgData name="Dennis Buchberger" userId="S::buchberger@ant.uni-bremen.de::cfe5e5e7-b999-4ed2-8d25-bbd6e3df32e4" providerId="AD" clId="Web-{DF671559-FAA9-EB44-038B-03A54F380476}" dt="2024-10-16T13:23:53.008" v="407" actId="1076"/>
      <pc:docMkLst>
        <pc:docMk/>
      </pc:docMkLst>
      <pc:sldChg chg="addSp delSp modSp ord">
        <pc:chgData name="Dennis Buchberger" userId="S::buchberger@ant.uni-bremen.de::cfe5e5e7-b999-4ed2-8d25-bbd6e3df32e4" providerId="AD" clId="Web-{DF671559-FAA9-EB44-038B-03A54F380476}" dt="2024-10-16T13:23:53.008" v="407" actId="1076"/>
        <pc:sldMkLst>
          <pc:docMk/>
          <pc:sldMk cId="1830304761" sldId="2147472562"/>
        </pc:sldMkLst>
      </pc:sldChg>
      <pc:sldChg chg="addSp modSp ord">
        <pc:chgData name="Dennis Buchberger" userId="S::buchberger@ant.uni-bremen.de::cfe5e5e7-b999-4ed2-8d25-bbd6e3df32e4" providerId="AD" clId="Web-{DF671559-FAA9-EB44-038B-03A54F380476}" dt="2024-10-16T13:06:25.807" v="209" actId="20577"/>
        <pc:sldMkLst>
          <pc:docMk/>
          <pc:sldMk cId="1194833940" sldId="2147476878"/>
        </pc:sldMkLst>
      </pc:sldChg>
      <pc:sldChg chg="addSp delSp modSp add ord replId">
        <pc:chgData name="Dennis Buchberger" userId="S::buchberger@ant.uni-bremen.de::cfe5e5e7-b999-4ed2-8d25-bbd6e3df32e4" providerId="AD" clId="Web-{DF671559-FAA9-EB44-038B-03A54F380476}" dt="2024-10-16T13:07:06.717" v="285" actId="20577"/>
        <pc:sldMkLst>
          <pc:docMk/>
          <pc:sldMk cId="1965443747" sldId="2147476879"/>
        </pc:sldMkLst>
      </pc:sldChg>
      <pc:sldChg chg="addSp modSp new">
        <pc:chgData name="Dennis Buchberger" userId="S::buchberger@ant.uni-bremen.de::cfe5e5e7-b999-4ed2-8d25-bbd6e3df32e4" providerId="AD" clId="Web-{DF671559-FAA9-EB44-038B-03A54F380476}" dt="2024-10-16T13:20:17.898" v="397" actId="20577"/>
        <pc:sldMkLst>
          <pc:docMk/>
          <pc:sldMk cId="113998610" sldId="2147476880"/>
        </pc:sldMkLst>
      </pc:sldChg>
    </pc:docChg>
  </pc:docChgLst>
  <pc:docChgLst>
    <pc:chgData name="Hammouda Marwan" userId="S::hammouda@ant.uni-bremen.de::141c87ca-9386-4b1c-88e0-e9251bd241ba" providerId="AD" clId="Web-{416B3474-C8AC-FBAF-6917-C9ACE7935A81}"/>
    <pc:docChg chg="addSld modSld modSection">
      <pc:chgData name="Hammouda Marwan" userId="S::hammouda@ant.uni-bremen.de::141c87ca-9386-4b1c-88e0-e9251bd241ba" providerId="AD" clId="Web-{416B3474-C8AC-FBAF-6917-C9ACE7935A81}" dt="2025-02-28T09:00:06.241" v="471"/>
      <pc:docMkLst>
        <pc:docMk/>
      </pc:docMkLst>
      <pc:sldChg chg="modSp">
        <pc:chgData name="Hammouda Marwan" userId="S::hammouda@ant.uni-bremen.de::141c87ca-9386-4b1c-88e0-e9251bd241ba" providerId="AD" clId="Web-{416B3474-C8AC-FBAF-6917-C9ACE7935A81}" dt="2025-02-28T07:08:42.438" v="23" actId="20577"/>
        <pc:sldMkLst>
          <pc:docMk/>
          <pc:sldMk cId="2771563822" sldId="2147476964"/>
        </pc:sldMkLst>
      </pc:sldChg>
      <pc:sldChg chg="modSp">
        <pc:chgData name="Hammouda Marwan" userId="S::hammouda@ant.uni-bremen.de::141c87ca-9386-4b1c-88e0-e9251bd241ba" providerId="AD" clId="Web-{416B3474-C8AC-FBAF-6917-C9ACE7935A81}" dt="2025-02-28T08:41:46.091" v="127" actId="14100"/>
        <pc:sldMkLst>
          <pc:docMk/>
          <pc:sldMk cId="3470027343" sldId="2147476968"/>
        </pc:sldMkLst>
      </pc:sldChg>
      <pc:sldChg chg="modSp">
        <pc:chgData name="Hammouda Marwan" userId="S::hammouda@ant.uni-bremen.de::141c87ca-9386-4b1c-88e0-e9251bd241ba" providerId="AD" clId="Web-{416B3474-C8AC-FBAF-6917-C9ACE7935A81}" dt="2025-02-28T08:41:58.560" v="129" actId="14100"/>
        <pc:sldMkLst>
          <pc:docMk/>
          <pc:sldMk cId="3721334223" sldId="2147476969"/>
        </pc:sldMkLst>
      </pc:sldChg>
      <pc:sldChg chg="addSp modSp">
        <pc:chgData name="Hammouda Marwan" userId="S::hammouda@ant.uni-bremen.de::141c87ca-9386-4b1c-88e0-e9251bd241ba" providerId="AD" clId="Web-{416B3474-C8AC-FBAF-6917-C9ACE7935A81}" dt="2025-02-28T08:56:59.695" v="459" actId="20577"/>
        <pc:sldMkLst>
          <pc:docMk/>
          <pc:sldMk cId="3370915096" sldId="2147476970"/>
        </pc:sldMkLst>
      </pc:sldChg>
      <pc:sldChg chg="delSp modSp add replId">
        <pc:chgData name="Hammouda Marwan" userId="S::hammouda@ant.uni-bremen.de::141c87ca-9386-4b1c-88e0-e9251bd241ba" providerId="AD" clId="Web-{416B3474-C8AC-FBAF-6917-C9ACE7935A81}" dt="2025-02-28T09:00:06.241" v="471"/>
        <pc:sldMkLst>
          <pc:docMk/>
          <pc:sldMk cId="1350914574" sldId="2147476971"/>
        </pc:sldMkLst>
      </pc:sldChg>
    </pc:docChg>
  </pc:docChgLst>
  <pc:docChgLst>
    <pc:chgData name="daurembekova@eit.uni-kl.de" userId="S::daurembekova_eit.uni-kl.de#ext#@antunibremen.onmicrosoft.com::1550135a-cb22-4283-bb7f-d226a501e7e9" providerId="AD" clId="Web-{DFC07C1C-DAC5-C3D5-23CA-D95FEBAAEFF3}"/>
    <pc:docChg chg="modSld">
      <pc:chgData name="daurembekova@eit.uni-kl.de" userId="S::daurembekova_eit.uni-kl.de#ext#@antunibremen.onmicrosoft.com::1550135a-cb22-4283-bb7f-d226a501e7e9" providerId="AD" clId="Web-{DFC07C1C-DAC5-C3D5-23CA-D95FEBAAEFF3}" dt="2025-02-28T09:17:12.771" v="4"/>
      <pc:docMkLst>
        <pc:docMk/>
      </pc:docMkLst>
      <pc:sldChg chg="delSp modSp">
        <pc:chgData name="daurembekova@eit.uni-kl.de" userId="S::daurembekova_eit.uni-kl.de#ext#@antunibremen.onmicrosoft.com::1550135a-cb22-4283-bb7f-d226a501e7e9" providerId="AD" clId="Web-{DFC07C1C-DAC5-C3D5-23CA-D95FEBAAEFF3}" dt="2025-02-28T09:17:12.771" v="4"/>
        <pc:sldMkLst>
          <pc:docMk/>
          <pc:sldMk cId="3362133976" sldId="2147476959"/>
        </pc:sldMkLst>
      </pc:sldChg>
    </pc:docChg>
  </pc:docChgLst>
  <pc:docChgLst>
    <pc:chgData name="Dennis Buchberger" userId="S::buchberger@ant.uni-bremen.de::cfe5e5e7-b999-4ed2-8d25-bbd6e3df32e4" providerId="AD" clId="Web-{CA15ECA6-159C-F29B-3CCE-32E2F89F7B43}"/>
    <pc:docChg chg="addSld modSld sldOrd modSection">
      <pc:chgData name="Dennis Buchberger" userId="S::buchberger@ant.uni-bremen.de::cfe5e5e7-b999-4ed2-8d25-bbd6e3df32e4" providerId="AD" clId="Web-{CA15ECA6-159C-F29B-3CCE-32E2F89F7B43}" dt="2024-10-22T15:54:31.444" v="137" actId="20577"/>
      <pc:docMkLst>
        <pc:docMk/>
      </pc:docMkLst>
      <pc:sldChg chg="ord">
        <pc:chgData name="Dennis Buchberger" userId="S::buchberger@ant.uni-bremen.de::cfe5e5e7-b999-4ed2-8d25-bbd6e3df32e4" providerId="AD" clId="Web-{CA15ECA6-159C-F29B-3CCE-32E2F89F7B43}" dt="2024-10-22T15:54:19.678" v="133"/>
        <pc:sldMkLst>
          <pc:docMk/>
          <pc:sldMk cId="113998610" sldId="2147476880"/>
        </pc:sldMkLst>
      </pc:sldChg>
      <pc:sldChg chg="modSp">
        <pc:chgData name="Dennis Buchberger" userId="S::buchberger@ant.uni-bremen.de::cfe5e5e7-b999-4ed2-8d25-bbd6e3df32e4" providerId="AD" clId="Web-{CA15ECA6-159C-F29B-3CCE-32E2F89F7B43}" dt="2024-10-22T15:54:31.444" v="137" actId="20577"/>
        <pc:sldMkLst>
          <pc:docMk/>
          <pc:sldMk cId="1553401679" sldId="2147476912"/>
        </pc:sldMkLst>
      </pc:sldChg>
      <pc:sldChg chg="modSp new ord">
        <pc:chgData name="Dennis Buchberger" userId="S::buchberger@ant.uni-bremen.de::cfe5e5e7-b999-4ed2-8d25-bbd6e3df32e4" providerId="AD" clId="Web-{CA15ECA6-159C-F29B-3CCE-32E2F89F7B43}" dt="2024-10-22T15:52:28.160" v="132"/>
        <pc:sldMkLst>
          <pc:docMk/>
          <pc:sldMk cId="745752956" sldId="2147476915"/>
        </pc:sldMkLst>
      </pc:sldChg>
    </pc:docChg>
  </pc:docChgLst>
  <pc:docChgLst>
    <pc:chgData name="Dennis Buchberger" userId="S::buchberger@ant.uni-bremen.de::cfe5e5e7-b999-4ed2-8d25-bbd6e3df32e4" providerId="AD" clId="Web-{F62A51EF-D8DA-8EF9-F421-113A85BF6BB9}"/>
    <pc:docChg chg="modSld">
      <pc:chgData name="Dennis Buchberger" userId="S::buchberger@ant.uni-bremen.de::cfe5e5e7-b999-4ed2-8d25-bbd6e3df32e4" providerId="AD" clId="Web-{F62A51EF-D8DA-8EF9-F421-113A85BF6BB9}" dt="2025-02-28T10:28:03.554" v="36"/>
      <pc:docMkLst>
        <pc:docMk/>
      </pc:docMkLst>
      <pc:sldChg chg="delSp modSp">
        <pc:chgData name="Dennis Buchberger" userId="S::buchberger@ant.uni-bremen.de::cfe5e5e7-b999-4ed2-8d25-bbd6e3df32e4" providerId="AD" clId="Web-{F62A51EF-D8DA-8EF9-F421-113A85BF6BB9}" dt="2025-02-28T10:23:51.523" v="18" actId="1076"/>
        <pc:sldMkLst>
          <pc:docMk/>
          <pc:sldMk cId="4196284054" sldId="2147472557"/>
        </pc:sldMkLst>
      </pc:sldChg>
      <pc:sldChg chg="addSp modSp">
        <pc:chgData name="Dennis Buchberger" userId="S::buchberger@ant.uni-bremen.de::cfe5e5e7-b999-4ed2-8d25-bbd6e3df32e4" providerId="AD" clId="Web-{F62A51EF-D8DA-8EF9-F421-113A85BF6BB9}" dt="2025-02-28T10:28:03.554" v="36"/>
        <pc:sldMkLst>
          <pc:docMk/>
          <pc:sldMk cId="3721334223" sldId="2147476969"/>
        </pc:sldMkLst>
      </pc:sldChg>
    </pc:docChg>
  </pc:docChgLst>
  <pc:docChgLst>
    <pc:chgData name="shama.noreen@rptu.de" userId="S::shama.noreen_rptu.de#ext#@antunibremen.onmicrosoft.com::723f12dc-439d-467c-b689-ae2f5074cd4f" providerId="AD" clId="Web-{4175799C-A828-1B6A-B656-6E7493126393}"/>
    <pc:docChg chg="modSld sldOrd">
      <pc:chgData name="shama.noreen@rptu.de" userId="S::shama.noreen_rptu.de#ext#@antunibremen.onmicrosoft.com::723f12dc-439d-467c-b689-ae2f5074cd4f" providerId="AD" clId="Web-{4175799C-A828-1B6A-B656-6E7493126393}" dt="2024-10-17T11:09:18.042" v="8"/>
      <pc:docMkLst>
        <pc:docMk/>
      </pc:docMkLst>
      <pc:sldChg chg="addSp modSp">
        <pc:chgData name="shama.noreen@rptu.de" userId="S::shama.noreen_rptu.de#ext#@antunibremen.onmicrosoft.com::723f12dc-439d-467c-b689-ae2f5074cd4f" providerId="AD" clId="Web-{4175799C-A828-1B6A-B656-6E7493126393}" dt="2024-10-17T11:05:04.157" v="7" actId="14100"/>
        <pc:sldMkLst>
          <pc:docMk/>
          <pc:sldMk cId="1149164908" sldId="2147476864"/>
        </pc:sldMkLst>
      </pc:sldChg>
      <pc:sldChg chg="ord">
        <pc:chgData name="shama.noreen@rptu.de" userId="S::shama.noreen_rptu.de#ext#@antunibremen.onmicrosoft.com::723f12dc-439d-467c-b689-ae2f5074cd4f" providerId="AD" clId="Web-{4175799C-A828-1B6A-B656-6E7493126393}" dt="2024-10-17T11:09:18.042" v="8"/>
        <pc:sldMkLst>
          <pc:docMk/>
          <pc:sldMk cId="3094521085" sldId="2147476871"/>
        </pc:sldMkLst>
      </pc:sldChg>
    </pc:docChg>
  </pc:docChgLst>
  <pc:docChgLst>
    <pc:chgData name="Schwaderer, Peter" userId="S::peter.schwaderer_airbus.com#ext#@antunibremen.onmicrosoft.com::5778221e-7c32-4e8a-8846-22a455d873db" providerId="AD" clId="Web-{9E3739F0-2B66-D082-2F3E-B6DE7F73753D}"/>
    <pc:docChg chg="modSld">
      <pc:chgData name="Schwaderer, Peter" userId="S::peter.schwaderer_airbus.com#ext#@antunibremen.onmicrosoft.com::5778221e-7c32-4e8a-8846-22a455d873db" providerId="AD" clId="Web-{9E3739F0-2B66-D082-2F3E-B6DE7F73753D}" dt="2025-03-26T15:31:08.871" v="11"/>
      <pc:docMkLst>
        <pc:docMk/>
      </pc:docMkLst>
      <pc:sldChg chg="addSp delSp modSp">
        <pc:chgData name="Schwaderer, Peter" userId="S::peter.schwaderer_airbus.com#ext#@antunibremen.onmicrosoft.com::5778221e-7c32-4e8a-8846-22a455d873db" providerId="AD" clId="Web-{9E3739F0-2B66-D082-2F3E-B6DE7F73753D}" dt="2025-03-26T15:27:24.210" v="8"/>
        <pc:sldMkLst>
          <pc:docMk/>
          <pc:sldMk cId="2869957903" sldId="2147477050"/>
        </pc:sldMkLst>
      </pc:sldChg>
      <pc:sldChg chg="modSp addAnim delAnim modAnim">
        <pc:chgData name="Schwaderer, Peter" userId="S::peter.schwaderer_airbus.com#ext#@antunibremen.onmicrosoft.com::5778221e-7c32-4e8a-8846-22a455d873db" providerId="AD" clId="Web-{9E3739F0-2B66-D082-2F3E-B6DE7F73753D}" dt="2025-03-26T15:31:08.871" v="11"/>
        <pc:sldMkLst>
          <pc:docMk/>
          <pc:sldMk cId="1516448176" sldId="2147477052"/>
        </pc:sldMkLst>
        <pc:cxnChg chg="mod">
          <ac:chgData name="Schwaderer, Peter" userId="S::peter.schwaderer_airbus.com#ext#@antunibremen.onmicrosoft.com::5778221e-7c32-4e8a-8846-22a455d873db" providerId="AD" clId="Web-{9E3739F0-2B66-D082-2F3E-B6DE7F73753D}" dt="2025-03-26T15:21:10.999" v="0"/>
          <ac:cxnSpMkLst>
            <pc:docMk/>
            <pc:sldMk cId="1516448176" sldId="2147477052"/>
            <ac:cxnSpMk id="37" creationId="{A7414322-4784-E3D8-69C5-1D6E9FD7E22B}"/>
          </ac:cxnSpMkLst>
        </pc:cxnChg>
      </pc:sldChg>
      <pc:sldChg chg="modSp">
        <pc:chgData name="Schwaderer, Peter" userId="S::peter.schwaderer_airbus.com#ext#@antunibremen.onmicrosoft.com::5778221e-7c32-4e8a-8846-22a455d873db" providerId="AD" clId="Web-{9E3739F0-2B66-D082-2F3E-B6DE7F73753D}" dt="2025-03-26T15:21:19.702" v="1"/>
        <pc:sldMkLst>
          <pc:docMk/>
          <pc:sldMk cId="3749321561" sldId="2147477054"/>
        </pc:sldMkLst>
        <pc:cxnChg chg="mod">
          <ac:chgData name="Schwaderer, Peter" userId="S::peter.schwaderer_airbus.com#ext#@antunibremen.onmicrosoft.com::5778221e-7c32-4e8a-8846-22a455d873db" providerId="AD" clId="Web-{9E3739F0-2B66-D082-2F3E-B6DE7F73753D}" dt="2025-03-26T15:21:19.702" v="1"/>
          <ac:cxnSpMkLst>
            <pc:docMk/>
            <pc:sldMk cId="3749321561" sldId="2147477054"/>
            <ac:cxnSpMk id="27" creationId="{A48F9F7C-C85A-EFA0-9D2D-33A06B8D4910}"/>
          </ac:cxnSpMkLst>
        </pc:cxnChg>
      </pc:sldChg>
      <pc:sldChg chg="modSp">
        <pc:chgData name="Schwaderer, Peter" userId="S::peter.schwaderer_airbus.com#ext#@antunibremen.onmicrosoft.com::5778221e-7c32-4e8a-8846-22a455d873db" providerId="AD" clId="Web-{9E3739F0-2B66-D082-2F3E-B6DE7F73753D}" dt="2025-03-26T15:21:29.453" v="2"/>
        <pc:sldMkLst>
          <pc:docMk/>
          <pc:sldMk cId="3013585730" sldId="2147477055"/>
        </pc:sldMkLst>
        <pc:cxnChg chg="mod">
          <ac:chgData name="Schwaderer, Peter" userId="S::peter.schwaderer_airbus.com#ext#@antunibremen.onmicrosoft.com::5778221e-7c32-4e8a-8846-22a455d873db" providerId="AD" clId="Web-{9E3739F0-2B66-D082-2F3E-B6DE7F73753D}" dt="2025-03-26T15:21:29.453" v="2"/>
          <ac:cxnSpMkLst>
            <pc:docMk/>
            <pc:sldMk cId="3013585730" sldId="2147477055"/>
            <ac:cxnSpMk id="57" creationId="{B63A0FC2-5AF6-BC35-AB5C-382A4AD9A715}"/>
          </ac:cxnSpMkLst>
        </pc:cxnChg>
      </pc:sldChg>
      <pc:sldChg chg="modSp">
        <pc:chgData name="Schwaderer, Peter" userId="S::peter.schwaderer_airbus.com#ext#@antunibremen.onmicrosoft.com::5778221e-7c32-4e8a-8846-22a455d873db" providerId="AD" clId="Web-{9E3739F0-2B66-D082-2F3E-B6DE7F73753D}" dt="2025-03-26T15:21:37.296" v="3"/>
        <pc:sldMkLst>
          <pc:docMk/>
          <pc:sldMk cId="1590415788" sldId="2147477056"/>
        </pc:sldMkLst>
        <pc:cxnChg chg="mod">
          <ac:chgData name="Schwaderer, Peter" userId="S::peter.schwaderer_airbus.com#ext#@antunibremen.onmicrosoft.com::5778221e-7c32-4e8a-8846-22a455d873db" providerId="AD" clId="Web-{9E3739F0-2B66-D082-2F3E-B6DE7F73753D}" dt="2025-03-26T15:21:37.296" v="3"/>
          <ac:cxnSpMkLst>
            <pc:docMk/>
            <pc:sldMk cId="1590415788" sldId="2147477056"/>
            <ac:cxnSpMk id="57" creationId="{5AB55FE5-367C-223C-7D12-7FB1E48298BC}"/>
          </ac:cxnSpMkLst>
        </pc:cxnChg>
      </pc:sldChg>
    </pc:docChg>
  </pc:docChgLst>
  <pc:docChgLst>
    <pc:chgData name="Breitbach, Markus" userId="S::m.breitbach_telekom.de#ext#@antunibremen.onmicrosoft.com::10c158ad-965e-4490-8b4a-81e4e8a03889" providerId="AD" clId="Web-{4A287061-6ABA-28AB-4716-62C5F4086B55}"/>
    <pc:docChg chg="addSld delSld modSld sldOrd modSection">
      <pc:chgData name="Breitbach, Markus" userId="S::m.breitbach_telekom.de#ext#@antunibremen.onmicrosoft.com::10c158ad-965e-4490-8b4a-81e4e8a03889" providerId="AD" clId="Web-{4A287061-6ABA-28AB-4716-62C5F4086B55}" dt="2025-03-21T13:46:22.380" v="239" actId="1076"/>
      <pc:docMkLst>
        <pc:docMk/>
      </pc:docMkLst>
      <pc:sldChg chg="modSp">
        <pc:chgData name="Breitbach, Markus" userId="S::m.breitbach_telekom.de#ext#@antunibremen.onmicrosoft.com::10c158ad-965e-4490-8b4a-81e4e8a03889" providerId="AD" clId="Web-{4A287061-6ABA-28AB-4716-62C5F4086B55}" dt="2025-03-21T13:33:58.619" v="208" actId="20577"/>
        <pc:sldMkLst>
          <pc:docMk/>
          <pc:sldMk cId="3618174397" sldId="290"/>
        </pc:sldMkLst>
      </pc:sldChg>
      <pc:sldChg chg="del">
        <pc:chgData name="Breitbach, Markus" userId="S::m.breitbach_telekom.de#ext#@antunibremen.onmicrosoft.com::10c158ad-965e-4490-8b4a-81e4e8a03889" providerId="AD" clId="Web-{4A287061-6ABA-28AB-4716-62C5F4086B55}" dt="2025-03-21T10:45:40.553" v="8"/>
        <pc:sldMkLst>
          <pc:docMk/>
          <pc:sldMk cId="4061239879" sldId="2147476885"/>
        </pc:sldMkLst>
      </pc:sldChg>
      <pc:sldChg chg="modSp">
        <pc:chgData name="Breitbach, Markus" userId="S::m.breitbach_telekom.de#ext#@antunibremen.onmicrosoft.com::10c158ad-965e-4490-8b4a-81e4e8a03889" providerId="AD" clId="Web-{4A287061-6ABA-28AB-4716-62C5F4086B55}" dt="2025-03-21T13:46:22.380" v="239" actId="1076"/>
        <pc:sldMkLst>
          <pc:docMk/>
          <pc:sldMk cId="3146538416" sldId="2147477040"/>
        </pc:sldMkLst>
        <pc:spChg chg="mod">
          <ac:chgData name="Breitbach, Markus" userId="S::m.breitbach_telekom.de#ext#@antunibremen.onmicrosoft.com::10c158ad-965e-4490-8b4a-81e4e8a03889" providerId="AD" clId="Web-{4A287061-6ABA-28AB-4716-62C5F4086B55}" dt="2025-03-21T13:44:06.203" v="224" actId="20577"/>
          <ac:spMkLst>
            <pc:docMk/>
            <pc:sldMk cId="3146538416" sldId="2147477040"/>
            <ac:spMk id="5" creationId="{06184398-E501-429B-8F17-57999DF39B69}"/>
          </ac:spMkLst>
        </pc:spChg>
        <pc:spChg chg="mod">
          <ac:chgData name="Breitbach, Markus" userId="S::m.breitbach_telekom.de#ext#@antunibremen.onmicrosoft.com::10c158ad-965e-4490-8b4a-81e4e8a03889" providerId="AD" clId="Web-{4A287061-6ABA-28AB-4716-62C5F4086B55}" dt="2025-03-21T13:44:29.688" v="232" actId="20577"/>
          <ac:spMkLst>
            <pc:docMk/>
            <pc:sldMk cId="3146538416" sldId="2147477040"/>
            <ac:spMk id="7" creationId="{AE2992A3-0769-4612-8C91-95B6C892D578}"/>
          </ac:spMkLst>
        </pc:spChg>
        <pc:spChg chg="mod">
          <ac:chgData name="Breitbach, Markus" userId="S::m.breitbach_telekom.de#ext#@antunibremen.onmicrosoft.com::10c158ad-965e-4490-8b4a-81e4e8a03889" providerId="AD" clId="Web-{4A287061-6ABA-28AB-4716-62C5F4086B55}" dt="2025-03-21T13:44:37.751" v="234" actId="20577"/>
          <ac:spMkLst>
            <pc:docMk/>
            <pc:sldMk cId="3146538416" sldId="2147477040"/>
            <ac:spMk id="9" creationId="{A4E0F1AD-ADCA-4A49-A4B1-A9FE4D532910}"/>
          </ac:spMkLst>
        </pc:spChg>
        <pc:picChg chg="mod">
          <ac:chgData name="Breitbach, Markus" userId="S::m.breitbach_telekom.de#ext#@antunibremen.onmicrosoft.com::10c158ad-965e-4490-8b4a-81e4e8a03889" providerId="AD" clId="Web-{4A287061-6ABA-28AB-4716-62C5F4086B55}" dt="2025-03-21T13:45:17.706" v="237" actId="1076"/>
          <ac:picMkLst>
            <pc:docMk/>
            <pc:sldMk cId="3146538416" sldId="2147477040"/>
            <ac:picMk id="12" creationId="{CF118A6A-7991-0821-841B-818BE1678538}"/>
          </ac:picMkLst>
        </pc:picChg>
        <pc:picChg chg="mod">
          <ac:chgData name="Breitbach, Markus" userId="S::m.breitbach_telekom.de#ext#@antunibremen.onmicrosoft.com::10c158ad-965e-4490-8b4a-81e4e8a03889" providerId="AD" clId="Web-{4A287061-6ABA-28AB-4716-62C5F4086B55}" dt="2025-03-21T13:46:22.380" v="239" actId="1076"/>
          <ac:picMkLst>
            <pc:docMk/>
            <pc:sldMk cId="3146538416" sldId="2147477040"/>
            <ac:picMk id="15" creationId="{BF0DC8F0-88D3-6BA5-C2A8-B2065D2697AD}"/>
          </ac:picMkLst>
        </pc:picChg>
      </pc:sldChg>
      <pc:sldChg chg="modSp">
        <pc:chgData name="Breitbach, Markus" userId="S::m.breitbach_telekom.de#ext#@antunibremen.onmicrosoft.com::10c158ad-965e-4490-8b4a-81e4e8a03889" providerId="AD" clId="Web-{4A287061-6ABA-28AB-4716-62C5F4086B55}" dt="2025-03-21T13:30:14.470" v="172" actId="20577"/>
        <pc:sldMkLst>
          <pc:docMk/>
          <pc:sldMk cId="746299310" sldId="2147477041"/>
        </pc:sldMkLst>
      </pc:sldChg>
      <pc:sldChg chg="mod modShow">
        <pc:chgData name="Breitbach, Markus" userId="S::m.breitbach_telekom.de#ext#@antunibremen.onmicrosoft.com::10c158ad-965e-4490-8b4a-81e4e8a03889" providerId="AD" clId="Web-{4A287061-6ABA-28AB-4716-62C5F4086B55}" dt="2025-03-21T10:46:45.165" v="10"/>
        <pc:sldMkLst>
          <pc:docMk/>
          <pc:sldMk cId="3604156285" sldId="2147477042"/>
        </pc:sldMkLst>
      </pc:sldChg>
      <pc:sldChg chg="modSp add ord replId">
        <pc:chgData name="Breitbach, Markus" userId="S::m.breitbach_telekom.de#ext#@antunibremen.onmicrosoft.com::10c158ad-965e-4490-8b4a-81e4e8a03889" providerId="AD" clId="Web-{4A287061-6ABA-28AB-4716-62C5F4086B55}" dt="2025-03-21T10:45:51.413" v="9"/>
        <pc:sldMkLst>
          <pc:docMk/>
          <pc:sldMk cId="3711949038" sldId="2147477043"/>
        </pc:sldMkLst>
      </pc:sldChg>
    </pc:docChg>
  </pc:docChgLst>
  <pc:docChgLst>
    <pc:chgData name="timon.petermann@telematik-zentrum.de" userId="S::timon.petermann_telematik-zentrum.de#ext#@antunibremen.onmicrosoft.com::09e0c723-61db-4925-a819-cd79f1389da8" providerId="AD" clId="Web-{313E50CA-1EFB-FE24-06D6-9888BC6BF3B6}"/>
    <pc:docChg chg="delSld modSld modSection">
      <pc:chgData name="timon.petermann@telematik-zentrum.de" userId="S::timon.petermann_telematik-zentrum.de#ext#@antunibremen.onmicrosoft.com::09e0c723-61db-4925-a819-cd79f1389da8" providerId="AD" clId="Web-{313E50CA-1EFB-FE24-06D6-9888BC6BF3B6}" dt="2025-03-03T11:57:18.408" v="1"/>
      <pc:docMkLst>
        <pc:docMk/>
      </pc:docMkLst>
      <pc:sldChg chg="delSp">
        <pc:chgData name="timon.petermann@telematik-zentrum.de" userId="S::timon.petermann_telematik-zentrum.de#ext#@antunibremen.onmicrosoft.com::09e0c723-61db-4925-a819-cd79f1389da8" providerId="AD" clId="Web-{313E50CA-1EFB-FE24-06D6-9888BC6BF3B6}" dt="2025-03-03T11:57:18.408" v="1"/>
        <pc:sldMkLst>
          <pc:docMk/>
          <pc:sldMk cId="165004909" sldId="2147476987"/>
        </pc:sldMkLst>
      </pc:sldChg>
      <pc:sldChg chg="del">
        <pc:chgData name="timon.petermann@telematik-zentrum.de" userId="S::timon.petermann_telematik-zentrum.de#ext#@antunibremen.onmicrosoft.com::09e0c723-61db-4925-a819-cd79f1389da8" providerId="AD" clId="Web-{313E50CA-1EFB-FE24-06D6-9888BC6BF3B6}" dt="2025-03-03T11:56:53.657" v="0"/>
        <pc:sldMkLst>
          <pc:docMk/>
          <pc:sldMk cId="1180116239" sldId="2147476988"/>
        </pc:sldMkLst>
      </pc:sldChg>
    </pc:docChg>
  </pc:docChgLst>
  <pc:docChgLst>
    <pc:chgData name="Hammouda Marwan" userId="S::hammouda@ant.uni-bremen.de::141c87ca-9386-4b1c-88e0-e9251bd241ba" providerId="AD" clId="Web-{F66B9BB1-E74F-4FF5-7D47-D19693BED125}"/>
    <pc:docChg chg="addSld modSld modSection">
      <pc:chgData name="Hammouda Marwan" userId="S::hammouda@ant.uni-bremen.de::141c87ca-9386-4b1c-88e0-e9251bd241ba" providerId="AD" clId="Web-{F66B9BB1-E74F-4FF5-7D47-D19693BED125}" dt="2024-10-23T09:54:32.820" v="234" actId="20577"/>
      <pc:docMkLst>
        <pc:docMk/>
      </pc:docMkLst>
      <pc:sldChg chg="modSp">
        <pc:chgData name="Hammouda Marwan" userId="S::hammouda@ant.uni-bremen.de::141c87ca-9386-4b1c-88e0-e9251bd241ba" providerId="AD" clId="Web-{F66B9BB1-E74F-4FF5-7D47-D19693BED125}" dt="2024-10-23T09:54:32.820" v="234" actId="20577"/>
        <pc:sldMkLst>
          <pc:docMk/>
          <pc:sldMk cId="1830304761" sldId="2147472562"/>
        </pc:sldMkLst>
      </pc:sldChg>
      <pc:sldChg chg="add replId">
        <pc:chgData name="Hammouda Marwan" userId="S::hammouda@ant.uni-bremen.de::141c87ca-9386-4b1c-88e0-e9251bd241ba" providerId="AD" clId="Web-{F66B9BB1-E74F-4FF5-7D47-D19693BED125}" dt="2024-10-23T09:43:35.475" v="0"/>
        <pc:sldMkLst>
          <pc:docMk/>
          <pc:sldMk cId="365676027" sldId="2147476920"/>
        </pc:sldMkLst>
      </pc:sldChg>
    </pc:docChg>
  </pc:docChgLst>
  <pc:docChgLst>
    <pc:chgData name="Jan Drewes" userId="S::janhenning.drewes_nxp.com#ext#@antunibremen.onmicrosoft.com::e11dbc40-13df-4427-a065-822664db6633" providerId="AD" clId="Web-{4012AD80-8992-B55D-6DFE-0A516D8DA759}"/>
    <pc:docChg chg="modSld">
      <pc:chgData name="Jan Drewes" userId="S::janhenning.drewes_nxp.com#ext#@antunibremen.onmicrosoft.com::e11dbc40-13df-4427-a065-822664db6633" providerId="AD" clId="Web-{4012AD80-8992-B55D-6DFE-0A516D8DA759}" dt="2024-03-01T08:18:29.047" v="264" actId="20577"/>
      <pc:docMkLst>
        <pc:docMk/>
      </pc:docMkLst>
      <pc:sldChg chg="modSp">
        <pc:chgData name="Jan Drewes" userId="S::janhenning.drewes_nxp.com#ext#@antunibremen.onmicrosoft.com::e11dbc40-13df-4427-a065-822664db6633" providerId="AD" clId="Web-{4012AD80-8992-B55D-6DFE-0A516D8DA759}" dt="2024-03-01T08:18:29.047" v="264" actId="20577"/>
        <pc:sldMkLst>
          <pc:docMk/>
          <pc:sldMk cId="3744710436" sldId="2147472544"/>
        </pc:sldMkLst>
      </pc:sldChg>
    </pc:docChg>
  </pc:docChgLst>
  <pc:docChgLst>
    <pc:chgData name="Jan Drewes" userId="S::janhenning.drewes_nxp.com#ext#@antunibremen.onmicrosoft.com::e11dbc40-13df-4427-a065-822664db6633" providerId="AD" clId="Web-{40357C57-22AB-14E0-B567-67E4E385CD9B}"/>
    <pc:docChg chg="modSld">
      <pc:chgData name="Jan Drewes" userId="S::janhenning.drewes_nxp.com#ext#@antunibremen.onmicrosoft.com::e11dbc40-13df-4427-a065-822664db6633" providerId="AD" clId="Web-{40357C57-22AB-14E0-B567-67E4E385CD9B}" dt="2024-03-04T07:02:48.197" v="161" actId="1076"/>
      <pc:docMkLst>
        <pc:docMk/>
      </pc:docMkLst>
      <pc:sldChg chg="modSp">
        <pc:chgData name="Jan Drewes" userId="S::janhenning.drewes_nxp.com#ext#@antunibremen.onmicrosoft.com::e11dbc40-13df-4427-a065-822664db6633" providerId="AD" clId="Web-{40357C57-22AB-14E0-B567-67E4E385CD9B}" dt="2024-03-04T06:54:40.002" v="10" actId="20577"/>
        <pc:sldMkLst>
          <pc:docMk/>
          <pc:sldMk cId="3744710436" sldId="2147472544"/>
        </pc:sldMkLst>
      </pc:sldChg>
      <pc:sldChg chg="addSp delSp modSp">
        <pc:chgData name="Jan Drewes" userId="S::janhenning.drewes_nxp.com#ext#@antunibremen.onmicrosoft.com::e11dbc40-13df-4427-a065-822664db6633" providerId="AD" clId="Web-{40357C57-22AB-14E0-B567-67E4E385CD9B}" dt="2024-03-04T07:02:48.197" v="161" actId="1076"/>
        <pc:sldMkLst>
          <pc:docMk/>
          <pc:sldMk cId="2685880669" sldId="2147472551"/>
        </pc:sldMkLst>
      </pc:sldChg>
    </pc:docChg>
  </pc:docChgLst>
  <pc:docChgLst>
    <pc:chgData name="jan.buchholz@imst.de" userId="S::jan.buchholz_imst.de#ext#@antunibremen.onmicrosoft.com::32a6142b-abe6-465a-b35e-cd845930b28f" providerId="AD" clId="Web-{98F005C9-4B0F-A8C7-5593-E00FAA642325}"/>
    <pc:docChg chg="addSld delSld modSld modSection">
      <pc:chgData name="jan.buchholz@imst.de" userId="S::jan.buchholz_imst.de#ext#@antunibremen.onmicrosoft.com::32a6142b-abe6-465a-b35e-cd845930b28f" providerId="AD" clId="Web-{98F005C9-4B0F-A8C7-5593-E00FAA642325}" dt="2023-10-10T13:15:48.911" v="337" actId="14100"/>
      <pc:docMkLst>
        <pc:docMk/>
      </pc:docMkLst>
      <pc:sldChg chg="modSp">
        <pc:chgData name="jan.buchholz@imst.de" userId="S::jan.buchholz_imst.de#ext#@antunibremen.onmicrosoft.com::32a6142b-abe6-465a-b35e-cd845930b28f" providerId="AD" clId="Web-{98F005C9-4B0F-A8C7-5593-E00FAA642325}" dt="2023-10-10T13:15:48.911" v="337" actId="14100"/>
        <pc:sldMkLst>
          <pc:docMk/>
          <pc:sldMk cId="104511861" sldId="2147472510"/>
        </pc:sldMkLst>
      </pc:sldChg>
      <pc:sldChg chg="addSp delSp modSp add mod replId setBg">
        <pc:chgData name="jan.buchholz@imst.de" userId="S::jan.buchholz_imst.de#ext#@antunibremen.onmicrosoft.com::32a6142b-abe6-465a-b35e-cd845930b28f" providerId="AD" clId="Web-{98F005C9-4B0F-A8C7-5593-E00FAA642325}" dt="2023-10-10T13:15:23.363" v="333" actId="20577"/>
        <pc:sldMkLst>
          <pc:docMk/>
          <pc:sldMk cId="2488507302" sldId="2147472517"/>
        </pc:sldMkLst>
      </pc:sldChg>
      <pc:sldChg chg="modSp add del replId">
        <pc:chgData name="jan.buchholz@imst.de" userId="S::jan.buchholz_imst.de#ext#@antunibremen.onmicrosoft.com::32a6142b-abe6-465a-b35e-cd845930b28f" providerId="AD" clId="Web-{98F005C9-4B0F-A8C7-5593-E00FAA642325}" dt="2023-10-10T13:13:24.531" v="313"/>
        <pc:sldMkLst>
          <pc:docMk/>
          <pc:sldMk cId="4107298697" sldId="2147472518"/>
        </pc:sldMkLst>
      </pc:sldChg>
      <pc:sldChg chg="addSp delSp modSp add replId">
        <pc:chgData name="jan.buchholz@imst.de" userId="S::jan.buchholz_imst.de#ext#@antunibremen.onmicrosoft.com::32a6142b-abe6-465a-b35e-cd845930b28f" providerId="AD" clId="Web-{98F005C9-4B0F-A8C7-5593-E00FAA642325}" dt="2023-10-10T13:14:47.847" v="332" actId="14100"/>
        <pc:sldMkLst>
          <pc:docMk/>
          <pc:sldMk cId="727142129" sldId="2147472519"/>
        </pc:sldMkLst>
      </pc:sldChg>
    </pc:docChg>
  </pc:docChgLst>
  <pc:docChgLst>
    <pc:chgData name="Breitbach, Markus" userId="3a53c396-6358-48c2-abee-5fcc35806ccb" providerId="ADAL" clId="{FCAD1F2D-3BE0-47C9-801C-0722B5F01EBF}"/>
    <pc:docChg chg="undo redo custSel addSld delSld modSld">
      <pc:chgData name="Breitbach, Markus" userId="3a53c396-6358-48c2-abee-5fcc35806ccb" providerId="ADAL" clId="{FCAD1F2D-3BE0-47C9-801C-0722B5F01EBF}" dt="2023-04-24T10:59:19.739" v="1950" actId="403"/>
      <pc:docMkLst>
        <pc:docMk/>
      </pc:docMkLst>
      <pc:sldChg chg="addSp delSp modSp del mod">
        <pc:chgData name="Breitbach, Markus" userId="3a53c396-6358-48c2-abee-5fcc35806ccb" providerId="ADAL" clId="{FCAD1F2D-3BE0-47C9-801C-0722B5F01EBF}" dt="2023-04-24T10:59:12.400" v="1949" actId="47"/>
        <pc:sldMkLst>
          <pc:docMk/>
          <pc:sldMk cId="0" sldId="257"/>
        </pc:sldMkLst>
      </pc:sldChg>
      <pc:sldChg chg="modSp mod">
        <pc:chgData name="Breitbach, Markus" userId="3a53c396-6358-48c2-abee-5fcc35806ccb" providerId="ADAL" clId="{FCAD1F2D-3BE0-47C9-801C-0722B5F01EBF}" dt="2023-04-24T10:07:05.046" v="17" actId="20577"/>
        <pc:sldMkLst>
          <pc:docMk/>
          <pc:sldMk cId="0" sldId="258"/>
        </pc:sldMkLst>
      </pc:sldChg>
      <pc:sldChg chg="new del">
        <pc:chgData name="Breitbach, Markus" userId="3a53c396-6358-48c2-abee-5fcc35806ccb" providerId="ADAL" clId="{FCAD1F2D-3BE0-47C9-801C-0722B5F01EBF}" dt="2023-04-24T10:17:22.709" v="33" actId="47"/>
        <pc:sldMkLst>
          <pc:docMk/>
          <pc:sldMk cId="1944003627" sldId="259"/>
        </pc:sldMkLst>
      </pc:sldChg>
      <pc:sldChg chg="addSp delSp modSp add del mod modClrScheme chgLayout">
        <pc:chgData name="Breitbach, Markus" userId="3a53c396-6358-48c2-abee-5fcc35806ccb" providerId="ADAL" clId="{FCAD1F2D-3BE0-47C9-801C-0722B5F01EBF}" dt="2023-04-24T10:59:19.739" v="1950" actId="403"/>
        <pc:sldMkLst>
          <pc:docMk/>
          <pc:sldMk cId="135090832" sldId="2147472497"/>
        </pc:sldMkLst>
      </pc:sldChg>
    </pc:docChg>
  </pc:docChgLst>
  <pc:docChgLst>
    <pc:chgData name="Breitbach, Markus" userId="S::m.breitbach_telekom.de#ext#@antunibremen.onmicrosoft.com::10c158ad-965e-4490-8b4a-81e4e8a03889" providerId="AD" clId="Web-{2F3ED220-94A0-2F17-8733-238AA7AFF3FF}"/>
    <pc:docChg chg="modSld">
      <pc:chgData name="Breitbach, Markus" userId="S::m.breitbach_telekom.de#ext#@antunibremen.onmicrosoft.com::10c158ad-965e-4490-8b4a-81e4e8a03889" providerId="AD" clId="Web-{2F3ED220-94A0-2F17-8733-238AA7AFF3FF}" dt="2025-03-28T11:48:14.953" v="86"/>
      <pc:docMkLst>
        <pc:docMk/>
      </pc:docMkLst>
      <pc:sldChg chg="addSp delSp modSp">
        <pc:chgData name="Breitbach, Markus" userId="S::m.breitbach_telekom.de#ext#@antunibremen.onmicrosoft.com::10c158ad-965e-4490-8b4a-81e4e8a03889" providerId="AD" clId="Web-{2F3ED220-94A0-2F17-8733-238AA7AFF3FF}" dt="2025-03-28T11:38:16.994" v="9"/>
        <pc:sldMkLst>
          <pc:docMk/>
          <pc:sldMk cId="473860687" sldId="286"/>
        </pc:sldMkLst>
      </pc:sldChg>
      <pc:sldChg chg="addSp delSp modSp">
        <pc:chgData name="Breitbach, Markus" userId="S::m.breitbach_telekom.de#ext#@antunibremen.onmicrosoft.com::10c158ad-965e-4490-8b4a-81e4e8a03889" providerId="AD" clId="Web-{2F3ED220-94A0-2F17-8733-238AA7AFF3FF}" dt="2025-03-28T11:40:57.531" v="27" actId="1076"/>
        <pc:sldMkLst>
          <pc:docMk/>
          <pc:sldMk cId="1641422220" sldId="288"/>
        </pc:sldMkLst>
      </pc:sldChg>
      <pc:sldChg chg="delSp">
        <pc:chgData name="Breitbach, Markus" userId="S::m.breitbach_telekom.de#ext#@antunibremen.onmicrosoft.com::10c158ad-965e-4490-8b4a-81e4e8a03889" providerId="AD" clId="Web-{2F3ED220-94A0-2F17-8733-238AA7AFF3FF}" dt="2025-03-28T11:48:08.328" v="85"/>
        <pc:sldMkLst>
          <pc:docMk/>
          <pc:sldMk cId="3162997244" sldId="2147375812"/>
        </pc:sldMkLst>
      </pc:sldChg>
      <pc:sldChg chg="delSp">
        <pc:chgData name="Breitbach, Markus" userId="S::m.breitbach_telekom.de#ext#@antunibremen.onmicrosoft.com::10c158ad-965e-4490-8b4a-81e4e8a03889" providerId="AD" clId="Web-{2F3ED220-94A0-2F17-8733-238AA7AFF3FF}" dt="2025-03-28T11:47:57.203" v="83"/>
        <pc:sldMkLst>
          <pc:docMk/>
          <pc:sldMk cId="3161152169" sldId="2147477035"/>
        </pc:sldMkLst>
      </pc:sldChg>
      <pc:sldChg chg="addSp delSp modSp">
        <pc:chgData name="Breitbach, Markus" userId="S::m.breitbach_telekom.de#ext#@antunibremen.onmicrosoft.com::10c158ad-965e-4490-8b4a-81e4e8a03889" providerId="AD" clId="Web-{2F3ED220-94A0-2F17-8733-238AA7AFF3FF}" dt="2025-03-28T11:39:54.310" v="20" actId="1076"/>
        <pc:sldMkLst>
          <pc:docMk/>
          <pc:sldMk cId="3146538416" sldId="2147477040"/>
        </pc:sldMkLst>
      </pc:sldChg>
      <pc:sldChg chg="addSp delSp modSp">
        <pc:chgData name="Breitbach, Markus" userId="S::m.breitbach_telekom.de#ext#@antunibremen.onmicrosoft.com::10c158ad-965e-4490-8b4a-81e4e8a03889" providerId="AD" clId="Web-{2F3ED220-94A0-2F17-8733-238AA7AFF3FF}" dt="2025-03-28T11:46:56.732" v="75"/>
        <pc:sldMkLst>
          <pc:docMk/>
          <pc:sldMk cId="1092017827" sldId="2147477046"/>
        </pc:sldMkLst>
      </pc:sldChg>
      <pc:sldChg chg="addSp delSp modSp">
        <pc:chgData name="Breitbach, Markus" userId="S::m.breitbach_telekom.de#ext#@antunibremen.onmicrosoft.com::10c158ad-965e-4490-8b4a-81e4e8a03889" providerId="AD" clId="Web-{2F3ED220-94A0-2F17-8733-238AA7AFF3FF}" dt="2025-03-28T11:42:31.113" v="32" actId="1076"/>
        <pc:sldMkLst>
          <pc:docMk/>
          <pc:sldMk cId="484452169" sldId="2147477049"/>
        </pc:sldMkLst>
      </pc:sldChg>
      <pc:sldChg chg="delSp">
        <pc:chgData name="Breitbach, Markus" userId="S::m.breitbach_telekom.de#ext#@antunibremen.onmicrosoft.com::10c158ad-965e-4490-8b4a-81e4e8a03889" providerId="AD" clId="Web-{2F3ED220-94A0-2F17-8733-238AA7AFF3FF}" dt="2025-03-28T11:47:17.295" v="76"/>
        <pc:sldMkLst>
          <pc:docMk/>
          <pc:sldMk cId="2869957903" sldId="2147477050"/>
        </pc:sldMkLst>
      </pc:sldChg>
      <pc:sldChg chg="delSp">
        <pc:chgData name="Breitbach, Markus" userId="S::m.breitbach_telekom.de#ext#@antunibremen.onmicrosoft.com::10c158ad-965e-4490-8b4a-81e4e8a03889" providerId="AD" clId="Web-{2F3ED220-94A0-2F17-8733-238AA7AFF3FF}" dt="2025-03-28T11:47:22.561" v="77"/>
        <pc:sldMkLst>
          <pc:docMk/>
          <pc:sldMk cId="1516448176" sldId="2147477052"/>
        </pc:sldMkLst>
      </pc:sldChg>
      <pc:sldChg chg="delSp">
        <pc:chgData name="Breitbach, Markus" userId="S::m.breitbach_telekom.de#ext#@antunibremen.onmicrosoft.com::10c158ad-965e-4490-8b4a-81e4e8a03889" providerId="AD" clId="Web-{2F3ED220-94A0-2F17-8733-238AA7AFF3FF}" dt="2025-03-28T11:47:27.858" v="78"/>
        <pc:sldMkLst>
          <pc:docMk/>
          <pc:sldMk cId="3749321561" sldId="2147477054"/>
        </pc:sldMkLst>
      </pc:sldChg>
      <pc:sldChg chg="delSp">
        <pc:chgData name="Breitbach, Markus" userId="S::m.breitbach_telekom.de#ext#@antunibremen.onmicrosoft.com::10c158ad-965e-4490-8b4a-81e4e8a03889" providerId="AD" clId="Web-{2F3ED220-94A0-2F17-8733-238AA7AFF3FF}" dt="2025-03-28T11:47:35.389" v="79"/>
        <pc:sldMkLst>
          <pc:docMk/>
          <pc:sldMk cId="3013585730" sldId="2147477055"/>
        </pc:sldMkLst>
      </pc:sldChg>
      <pc:sldChg chg="delSp">
        <pc:chgData name="Breitbach, Markus" userId="S::m.breitbach_telekom.de#ext#@antunibremen.onmicrosoft.com::10c158ad-965e-4490-8b4a-81e4e8a03889" providerId="AD" clId="Web-{2F3ED220-94A0-2F17-8733-238AA7AFF3FF}" dt="2025-03-28T11:47:39.874" v="80"/>
        <pc:sldMkLst>
          <pc:docMk/>
          <pc:sldMk cId="1590415788" sldId="2147477056"/>
        </pc:sldMkLst>
      </pc:sldChg>
      <pc:sldChg chg="delSp">
        <pc:chgData name="Breitbach, Markus" userId="S::m.breitbach_telekom.de#ext#@antunibremen.onmicrosoft.com::10c158ad-965e-4490-8b4a-81e4e8a03889" providerId="AD" clId="Web-{2F3ED220-94A0-2F17-8733-238AA7AFF3FF}" dt="2025-03-28T11:48:03.656" v="84"/>
        <pc:sldMkLst>
          <pc:docMk/>
          <pc:sldMk cId="4268970151" sldId="2147477064"/>
        </pc:sldMkLst>
      </pc:sldChg>
      <pc:sldChg chg="addSp delSp modSp">
        <pc:chgData name="Breitbach, Markus" userId="S::m.breitbach_telekom.de#ext#@antunibremen.onmicrosoft.com::10c158ad-965e-4490-8b4a-81e4e8a03889" providerId="AD" clId="Web-{2F3ED220-94A0-2F17-8733-238AA7AFF3FF}" dt="2025-03-28T11:46:07.277" v="68"/>
        <pc:sldMkLst>
          <pc:docMk/>
          <pc:sldMk cId="2673052505" sldId="2147477071"/>
        </pc:sldMkLst>
        <pc:picChg chg="add mod ord">
          <ac:chgData name="Breitbach, Markus" userId="S::m.breitbach_telekom.de#ext#@antunibremen.onmicrosoft.com::10c158ad-965e-4490-8b4a-81e4e8a03889" providerId="AD" clId="Web-{2F3ED220-94A0-2F17-8733-238AA7AFF3FF}" dt="2025-03-28T11:45:07.135" v="52"/>
          <ac:picMkLst>
            <pc:docMk/>
            <pc:sldMk cId="2673052505" sldId="2147477071"/>
            <ac:picMk id="22" creationId="{B15019FF-6743-AC9C-36FD-076F6E371BF3}"/>
          </ac:picMkLst>
        </pc:picChg>
        <pc:picChg chg="add mod ord">
          <ac:chgData name="Breitbach, Markus" userId="S::m.breitbach_telekom.de#ext#@antunibremen.onmicrosoft.com::10c158ad-965e-4490-8b4a-81e4e8a03889" providerId="AD" clId="Web-{2F3ED220-94A0-2F17-8733-238AA7AFF3FF}" dt="2025-03-28T11:46:07.277" v="68"/>
          <ac:picMkLst>
            <pc:docMk/>
            <pc:sldMk cId="2673052505" sldId="2147477071"/>
            <ac:picMk id="23" creationId="{14F957D9-3D49-742F-8246-C26C2711BC1B}"/>
          </ac:picMkLst>
        </pc:picChg>
        <pc:picChg chg="mod">
          <ac:chgData name="Breitbach, Markus" userId="S::m.breitbach_telekom.de#ext#@antunibremen.onmicrosoft.com::10c158ad-965e-4490-8b4a-81e4e8a03889" providerId="AD" clId="Web-{2F3ED220-94A0-2F17-8733-238AA7AFF3FF}" dt="2025-03-28T11:45:48.104" v="64" actId="1076"/>
          <ac:picMkLst>
            <pc:docMk/>
            <pc:sldMk cId="2673052505" sldId="2147477071"/>
            <ac:picMk id="39" creationId="{CD4D448C-02BF-1EDC-7BDC-30417078BAAF}"/>
          </ac:picMkLst>
        </pc:picChg>
      </pc:sldChg>
      <pc:sldChg chg="delSp">
        <pc:chgData name="Breitbach, Markus" userId="S::m.breitbach_telekom.de#ext#@antunibremen.onmicrosoft.com::10c158ad-965e-4490-8b4a-81e4e8a03889" providerId="AD" clId="Web-{2F3ED220-94A0-2F17-8733-238AA7AFF3FF}" dt="2025-03-28T11:47:43.593" v="81"/>
        <pc:sldMkLst>
          <pc:docMk/>
          <pc:sldMk cId="1308736631" sldId="2147477073"/>
        </pc:sldMkLst>
      </pc:sldChg>
      <pc:sldChg chg="delSp">
        <pc:chgData name="Breitbach, Markus" userId="S::m.breitbach_telekom.de#ext#@antunibremen.onmicrosoft.com::10c158ad-965e-4490-8b4a-81e4e8a03889" providerId="AD" clId="Web-{2F3ED220-94A0-2F17-8733-238AA7AFF3FF}" dt="2025-03-28T11:48:14.953" v="86"/>
        <pc:sldMkLst>
          <pc:docMk/>
          <pc:sldMk cId="1288718153" sldId="2147477076"/>
        </pc:sldMkLst>
      </pc:sldChg>
      <pc:sldChg chg="delSp">
        <pc:chgData name="Breitbach, Markus" userId="S::m.breitbach_telekom.de#ext#@antunibremen.onmicrosoft.com::10c158ad-965e-4490-8b4a-81e4e8a03889" providerId="AD" clId="Web-{2F3ED220-94A0-2F17-8733-238AA7AFF3FF}" dt="2025-03-28T11:47:50.640" v="82"/>
        <pc:sldMkLst>
          <pc:docMk/>
          <pc:sldMk cId="3757193397" sldId="2147477077"/>
        </pc:sldMkLst>
      </pc:sldChg>
    </pc:docChg>
  </pc:docChgLst>
  <pc:docChgLst>
    <pc:chgData name="svilen.dimitrov@dlr.de" userId="S::svilen.dimitrov_dlr.de#ext#@antunibremen.onmicrosoft.com::70e1e00a-de51-4410-b2b9-8f68d14c83dd" providerId="AD" clId="Web-{53232287-01C2-1A49-636D-E904399C82F4}"/>
    <pc:docChg chg="addSld modSld modSection">
      <pc:chgData name="svilen.dimitrov@dlr.de" userId="S::svilen.dimitrov_dlr.de#ext#@antunibremen.onmicrosoft.com::70e1e00a-de51-4410-b2b9-8f68d14c83dd" providerId="AD" clId="Web-{53232287-01C2-1A49-636D-E904399C82F4}" dt="2024-03-06T12:30:05.089" v="33"/>
      <pc:docMkLst>
        <pc:docMk/>
      </pc:docMkLst>
      <pc:sldChg chg="addSp delSp modSp add replId">
        <pc:chgData name="svilen.dimitrov@dlr.de" userId="S::svilen.dimitrov_dlr.de#ext#@antunibremen.onmicrosoft.com::70e1e00a-de51-4410-b2b9-8f68d14c83dd" providerId="AD" clId="Web-{53232287-01C2-1A49-636D-E904399C82F4}" dt="2024-03-06T12:30:05.089" v="33"/>
        <pc:sldMkLst>
          <pc:docMk/>
          <pc:sldMk cId="2259278948" sldId="2147472553"/>
        </pc:sldMkLst>
      </pc:sldChg>
    </pc:docChg>
  </pc:docChgLst>
  <pc:docChgLst>
    <pc:chgData name="tucholke@otaris.de" userId="S::tucholke_otaris.de#ext#@antunibremen.onmicrosoft.com::f04afa31-1cb7-4c7d-9afd-9a40185260a2" providerId="AD" clId="Web-{7CAAEED0-E7E0-2B1D-1DAC-689B990A6663}"/>
    <pc:docChg chg="modSld">
      <pc:chgData name="tucholke@otaris.de" userId="S::tucholke_otaris.de#ext#@antunibremen.onmicrosoft.com::f04afa31-1cb7-4c7d-9afd-9a40185260a2" providerId="AD" clId="Web-{7CAAEED0-E7E0-2B1D-1DAC-689B990A6663}" dt="2024-03-08T08:22:06.809" v="114" actId="20577"/>
      <pc:docMkLst>
        <pc:docMk/>
      </pc:docMkLst>
      <pc:sldChg chg="addSp delSp modSp">
        <pc:chgData name="tucholke@otaris.de" userId="S::tucholke_otaris.de#ext#@antunibremen.onmicrosoft.com::f04afa31-1cb7-4c7d-9afd-9a40185260a2" providerId="AD" clId="Web-{7CAAEED0-E7E0-2B1D-1DAC-689B990A6663}" dt="2024-03-08T08:22:06.809" v="114" actId="20577"/>
        <pc:sldMkLst>
          <pc:docMk/>
          <pc:sldMk cId="1597934679" sldId="2147472552"/>
        </pc:sldMkLst>
      </pc:sldChg>
    </pc:docChg>
  </pc:docChgLst>
  <pc:docChgLst>
    <pc:chgData name="nmaletic" userId="S::maletic_ihp-microelectronics.com#ext#@antunibremen.onmicrosoft.com::a742ef92-2841-476e-9c61-e33e188e6e86" providerId="AD" clId="Web-{10E6F258-14F6-AA16-A51D-73C90DDA2D59}"/>
    <pc:docChg chg="addSld modSld modSection">
      <pc:chgData name="nmaletic" userId="S::maletic_ihp-microelectronics.com#ext#@antunibremen.onmicrosoft.com::a742ef92-2841-476e-9c61-e33e188e6e86" providerId="AD" clId="Web-{10E6F258-14F6-AA16-A51D-73C90DDA2D59}" dt="2025-03-03T21:26:59.073" v="203"/>
      <pc:docMkLst>
        <pc:docMk/>
      </pc:docMkLst>
      <pc:sldChg chg="addSp delSp modSp">
        <pc:chgData name="nmaletic" userId="S::maletic_ihp-microelectronics.com#ext#@antunibremen.onmicrosoft.com::a742ef92-2841-476e-9c61-e33e188e6e86" providerId="AD" clId="Web-{10E6F258-14F6-AA16-A51D-73C90DDA2D59}" dt="2025-03-03T21:26:59.073" v="203"/>
        <pc:sldMkLst>
          <pc:docMk/>
          <pc:sldMk cId="249829350" sldId="2147476980"/>
        </pc:sldMkLst>
      </pc:sldChg>
      <pc:sldChg chg="addSp delSp modSp">
        <pc:chgData name="nmaletic" userId="S::maletic_ihp-microelectronics.com#ext#@antunibremen.onmicrosoft.com::a742ef92-2841-476e-9c61-e33e188e6e86" providerId="AD" clId="Web-{10E6F258-14F6-AA16-A51D-73C90DDA2D59}" dt="2025-03-03T21:22:22.896" v="197" actId="1076"/>
        <pc:sldMkLst>
          <pc:docMk/>
          <pc:sldMk cId="1427111811" sldId="2147476993"/>
        </pc:sldMkLst>
      </pc:sldChg>
      <pc:sldChg chg="addSp delSp modSp add replId">
        <pc:chgData name="nmaletic" userId="S::maletic_ihp-microelectronics.com#ext#@antunibremen.onmicrosoft.com::a742ef92-2841-476e-9c61-e33e188e6e86" providerId="AD" clId="Web-{10E6F258-14F6-AA16-A51D-73C90DDA2D59}" dt="2025-03-03T21:21:16.532" v="175" actId="1076"/>
        <pc:sldMkLst>
          <pc:docMk/>
          <pc:sldMk cId="1408280310" sldId="2147476998"/>
        </pc:sldMkLst>
      </pc:sldChg>
    </pc:docChg>
  </pc:docChgLst>
  <pc:docChgLst>
    <pc:chgData name="Dennis Buchberger" userId="S::buchberger@ant.uni-bremen.de::cfe5e5e7-b999-4ed2-8d25-bbd6e3df32e4" providerId="AD" clId="Web-{456AC7FC-F241-B669-C357-C4949D091C03}"/>
    <pc:docChg chg="addSld delSld modSld modSection">
      <pc:chgData name="Dennis Buchberger" userId="S::buchberger@ant.uni-bremen.de::cfe5e5e7-b999-4ed2-8d25-bbd6e3df32e4" providerId="AD" clId="Web-{456AC7FC-F241-B669-C357-C4949D091C03}" dt="2025-02-24T13:32:48.882" v="124"/>
      <pc:docMkLst>
        <pc:docMk/>
      </pc:docMkLst>
      <pc:sldChg chg="addSp modSp new addAnim">
        <pc:chgData name="Dennis Buchberger" userId="S::buchberger@ant.uni-bremen.de::cfe5e5e7-b999-4ed2-8d25-bbd6e3df32e4" providerId="AD" clId="Web-{456AC7FC-F241-B669-C357-C4949D091C03}" dt="2025-02-24T13:32:48.882" v="124"/>
        <pc:sldMkLst>
          <pc:docMk/>
          <pc:sldMk cId="217777118" sldId="2147476930"/>
        </pc:sldMkLst>
      </pc:sldChg>
      <pc:sldChg chg="new del">
        <pc:chgData name="Dennis Buchberger" userId="S::buchberger@ant.uni-bremen.de::cfe5e5e7-b999-4ed2-8d25-bbd6e3df32e4" providerId="AD" clId="Web-{456AC7FC-F241-B669-C357-C4949D091C03}" dt="2025-02-24T13:24:11.283" v="106"/>
        <pc:sldMkLst>
          <pc:docMk/>
          <pc:sldMk cId="3913199235" sldId="2147476931"/>
        </pc:sldMkLst>
      </pc:sldChg>
    </pc:docChg>
  </pc:docChgLst>
  <pc:docChgLst>
    <pc:chgData name="Jan Drewes" userId="S::janhenning.drewes_nxp.com#ext#@antunibremen.onmicrosoft.com::e11dbc40-13df-4427-a065-822664db6633" providerId="AD" clId="Web-{406AEEAB-2E29-81A7-840F-65B618CAD38D}"/>
    <pc:docChg chg="addSld modSld modSection">
      <pc:chgData name="Jan Drewes" userId="S::janhenning.drewes_nxp.com#ext#@antunibremen.onmicrosoft.com::e11dbc40-13df-4427-a065-822664db6633" providerId="AD" clId="Web-{406AEEAB-2E29-81A7-840F-65B618CAD38D}" dt="2024-03-05T15:30:01.143" v="126" actId="20577"/>
      <pc:docMkLst>
        <pc:docMk/>
      </pc:docMkLst>
      <pc:sldChg chg="addSp modSp">
        <pc:chgData name="Jan Drewes" userId="S::janhenning.drewes_nxp.com#ext#@antunibremen.onmicrosoft.com::e11dbc40-13df-4427-a065-822664db6633" providerId="AD" clId="Web-{406AEEAB-2E29-81A7-840F-65B618CAD38D}" dt="2024-03-05T15:30:01.143" v="126" actId="20577"/>
        <pc:sldMkLst>
          <pc:docMk/>
          <pc:sldMk cId="2685880669" sldId="2147472551"/>
        </pc:sldMkLst>
      </pc:sldChg>
      <pc:sldChg chg="delSp modSp add replId">
        <pc:chgData name="Jan Drewes" userId="S::janhenning.drewes_nxp.com#ext#@antunibremen.onmicrosoft.com::e11dbc40-13df-4427-a065-822664db6633" providerId="AD" clId="Web-{406AEEAB-2E29-81A7-840F-65B618CAD38D}" dt="2024-03-05T15:24:44.070" v="71" actId="1076"/>
        <pc:sldMkLst>
          <pc:docMk/>
          <pc:sldMk cId="1597934679" sldId="2147472552"/>
        </pc:sldMkLst>
      </pc:sldChg>
    </pc:docChg>
  </pc:docChgLst>
  <pc:docChgLst>
    <pc:chgData name="Dirk Wübben" userId="a27602df-5b54-480c-866c-64260ceb4949" providerId="ADAL" clId="{1B034532-FBEF-4D25-9408-6C746CA4EAFB}"/>
    <pc:docChg chg="undo custSel addSld delSld modSld sldOrd modMainMaster addSection modSection">
      <pc:chgData name="Dirk Wübben" userId="a27602df-5b54-480c-866c-64260ceb4949" providerId="ADAL" clId="{1B034532-FBEF-4D25-9408-6C746CA4EAFB}" dt="2023-04-27T12:46:21.556" v="562" actId="6549"/>
      <pc:docMkLst>
        <pc:docMk/>
      </pc:docMkLst>
      <pc:sldChg chg="modSp add mod ord modClrScheme chgLayout">
        <pc:chgData name="Dirk Wübben" userId="a27602df-5b54-480c-866c-64260ceb4949" providerId="ADAL" clId="{1B034532-FBEF-4D25-9408-6C746CA4EAFB}" dt="2023-04-25T15:04:33.339" v="165" actId="5793"/>
        <pc:sldMkLst>
          <pc:docMk/>
          <pc:sldMk cId="160608096" sldId="410"/>
        </pc:sldMkLst>
      </pc:sldChg>
      <pc:sldChg chg="addSp delSp modSp add mod ord modClrScheme chgLayout">
        <pc:chgData name="Dirk Wübben" userId="a27602df-5b54-480c-866c-64260ceb4949" providerId="ADAL" clId="{1B034532-FBEF-4D25-9408-6C746CA4EAFB}" dt="2023-04-27T06:10:34.584" v="211" actId="1036"/>
        <pc:sldMkLst>
          <pc:docMk/>
          <pc:sldMk cId="1766123203" sldId="412"/>
        </pc:sldMkLst>
      </pc:sldChg>
      <pc:sldChg chg="modSp add mod ord modClrScheme chgLayout">
        <pc:chgData name="Dirk Wübben" userId="a27602df-5b54-480c-866c-64260ceb4949" providerId="ADAL" clId="{1B034532-FBEF-4D25-9408-6C746CA4EAFB}" dt="2023-04-25T15:04:38.671" v="171" actId="5793"/>
        <pc:sldMkLst>
          <pc:docMk/>
          <pc:sldMk cId="2013540328" sldId="415"/>
        </pc:sldMkLst>
      </pc:sldChg>
      <pc:sldChg chg="addSp delSp modSp add mod ord modClrScheme chgLayout">
        <pc:chgData name="Dirk Wübben" userId="a27602df-5b54-480c-866c-64260ceb4949" providerId="ADAL" clId="{1B034532-FBEF-4D25-9408-6C746CA4EAFB}" dt="2023-04-25T15:03:57.063" v="149"/>
        <pc:sldMkLst>
          <pc:docMk/>
          <pc:sldMk cId="1903714414" sldId="416"/>
        </pc:sldMkLst>
      </pc:sldChg>
      <pc:sldChg chg="add del">
        <pc:chgData name="Dirk Wübben" userId="a27602df-5b54-480c-866c-64260ceb4949" providerId="ADAL" clId="{1B034532-FBEF-4D25-9408-6C746CA4EAFB}" dt="2023-04-27T06:11:09.824" v="235" actId="47"/>
        <pc:sldMkLst>
          <pc:docMk/>
          <pc:sldMk cId="970303676" sldId="425"/>
        </pc:sldMkLst>
      </pc:sldChg>
      <pc:sldChg chg="add del">
        <pc:chgData name="Dirk Wübben" userId="a27602df-5b54-480c-866c-64260ceb4949" providerId="ADAL" clId="{1B034532-FBEF-4D25-9408-6C746CA4EAFB}" dt="2023-04-27T06:11:10.896" v="236" actId="47"/>
        <pc:sldMkLst>
          <pc:docMk/>
          <pc:sldMk cId="2719580022" sldId="426"/>
        </pc:sldMkLst>
      </pc:sldChg>
      <pc:sldChg chg="modSp mod chgLayout">
        <pc:chgData name="Dirk Wübben" userId="a27602df-5b54-480c-866c-64260ceb4949" providerId="ADAL" clId="{1B034532-FBEF-4D25-9408-6C746CA4EAFB}" dt="2023-04-25T14:59:15.594" v="31" actId="700"/>
        <pc:sldMkLst>
          <pc:docMk/>
          <pc:sldMk cId="2825320251" sldId="2147472498"/>
        </pc:sldMkLst>
      </pc:sldChg>
      <pc:sldChg chg="modSp del mod chgLayout">
        <pc:chgData name="Dirk Wübben" userId="a27602df-5b54-480c-866c-64260ceb4949" providerId="ADAL" clId="{1B034532-FBEF-4D25-9408-6C746CA4EAFB}" dt="2023-04-27T11:52:13.223" v="317" actId="47"/>
        <pc:sldMkLst>
          <pc:docMk/>
          <pc:sldMk cId="3199516498" sldId="2147472499"/>
        </pc:sldMkLst>
      </pc:sldChg>
      <pc:sldChg chg="addSp delSp modSp new mod ord modClrScheme chgLayout">
        <pc:chgData name="Dirk Wübben" userId="a27602df-5b54-480c-866c-64260ceb4949" providerId="ADAL" clId="{1B034532-FBEF-4D25-9408-6C746CA4EAFB}" dt="2023-04-25T15:03:57.063" v="149"/>
        <pc:sldMkLst>
          <pc:docMk/>
          <pc:sldMk cId="1090833609" sldId="2147472500"/>
        </pc:sldMkLst>
      </pc:sldChg>
      <pc:sldChg chg="addSp delSp modSp add mod ord">
        <pc:chgData name="Dirk Wübben" userId="a27602df-5b54-480c-866c-64260ceb4949" providerId="ADAL" clId="{1B034532-FBEF-4D25-9408-6C746CA4EAFB}" dt="2023-04-27T06:22:26.659" v="284" actId="14"/>
        <pc:sldMkLst>
          <pc:docMk/>
          <pc:sldMk cId="4003123245" sldId="2147472501"/>
        </pc:sldMkLst>
      </pc:sldChg>
      <pc:sldChg chg="addSp delSp modSp new mod modClrScheme chgLayout">
        <pc:chgData name="Dirk Wübben" userId="a27602df-5b54-480c-866c-64260ceb4949" providerId="ADAL" clId="{1B034532-FBEF-4D25-9408-6C746CA4EAFB}" dt="2023-04-25T15:03:37.222" v="138" actId="700"/>
        <pc:sldMkLst>
          <pc:docMk/>
          <pc:sldMk cId="4055870343" sldId="2147472502"/>
        </pc:sldMkLst>
      </pc:sldChg>
      <pc:sldChg chg="addSp modSp new del mod">
        <pc:chgData name="Dirk Wübben" userId="a27602df-5b54-480c-866c-64260ceb4949" providerId="ADAL" clId="{1B034532-FBEF-4D25-9408-6C746CA4EAFB}" dt="2023-04-27T06:20:21.263" v="269" actId="47"/>
        <pc:sldMkLst>
          <pc:docMk/>
          <pc:sldMk cId="3724655970" sldId="2147472503"/>
        </pc:sldMkLst>
      </pc:sldChg>
      <pc:sldChg chg="addSp modSp add mod">
        <pc:chgData name="Dirk Wübben" userId="a27602df-5b54-480c-866c-64260ceb4949" providerId="ADAL" clId="{1B034532-FBEF-4D25-9408-6C746CA4EAFB}" dt="2023-04-27T06:11:01.704" v="234" actId="20577"/>
        <pc:sldMkLst>
          <pc:docMk/>
          <pc:sldMk cId="3170487856" sldId="2147472504"/>
        </pc:sldMkLst>
      </pc:sldChg>
      <pc:sldChg chg="modSp new mod">
        <pc:chgData name="Dirk Wübben" userId="a27602df-5b54-480c-866c-64260ceb4949" providerId="ADAL" clId="{1B034532-FBEF-4D25-9408-6C746CA4EAFB}" dt="2023-04-27T12:46:21.556" v="562" actId="6549"/>
        <pc:sldMkLst>
          <pc:docMk/>
          <pc:sldMk cId="737727567" sldId="2147472505"/>
        </pc:sldMkLst>
      </pc:sldChg>
      <pc:sldChg chg="addSp delSp modSp add mod">
        <pc:chgData name="Dirk Wübben" userId="a27602df-5b54-480c-866c-64260ceb4949" providerId="ADAL" clId="{1B034532-FBEF-4D25-9408-6C746CA4EAFB}" dt="2023-04-27T06:20:19.594" v="268" actId="20577"/>
        <pc:sldMkLst>
          <pc:docMk/>
          <pc:sldMk cId="1819565692" sldId="2147472506"/>
        </pc:sldMkLst>
      </pc:sldChg>
      <pc:sldChg chg="modSp new mod">
        <pc:chgData name="Dirk Wübben" userId="a27602df-5b54-480c-866c-64260ceb4949" providerId="ADAL" clId="{1B034532-FBEF-4D25-9408-6C746CA4EAFB}" dt="2023-04-27T11:51:55.011" v="316" actId="20577"/>
        <pc:sldMkLst>
          <pc:docMk/>
          <pc:sldMk cId="756076757" sldId="2147472507"/>
        </pc:sldMkLst>
      </pc:sldChg>
      <pc:sldMasterChg chg="modSp mod">
        <pc:chgData name="Dirk Wübben" userId="a27602df-5b54-480c-866c-64260ceb4949" providerId="ADAL" clId="{1B034532-FBEF-4D25-9408-6C746CA4EAFB}" dt="2023-04-25T14:58:15.139" v="26" actId="14100"/>
        <pc:sldMasterMkLst>
          <pc:docMk/>
          <pc:sldMasterMk cId="4278311976" sldId="2147483672"/>
        </pc:sldMasterMkLst>
      </pc:sldMasterChg>
      <pc:sldMasterChg chg="modSp mod delSldLayout modSldLayout">
        <pc:chgData name="Dirk Wübben" userId="a27602df-5b54-480c-866c-64260ceb4949" providerId="ADAL" clId="{1B034532-FBEF-4D25-9408-6C746CA4EAFB}" dt="2023-04-27T06:11:10.896" v="236" actId="47"/>
        <pc:sldMasterMkLst>
          <pc:docMk/>
          <pc:sldMasterMk cId="611449510" sldId="2147483686"/>
        </pc:sldMasterMkLst>
        <pc:sldLayoutChg chg="del">
          <pc:chgData name="Dirk Wübben" userId="a27602df-5b54-480c-866c-64260ceb4949" providerId="ADAL" clId="{1B034532-FBEF-4D25-9408-6C746CA4EAFB}" dt="2023-04-27T06:11:10.896" v="236" actId="47"/>
          <pc:sldLayoutMkLst>
            <pc:docMk/>
            <pc:sldMasterMk cId="611449510" sldId="2147483686"/>
            <pc:sldLayoutMk cId="421846562" sldId="2147483699"/>
          </pc:sldLayoutMkLst>
        </pc:sldLayoutChg>
        <pc:sldLayoutChg chg="del">
          <pc:chgData name="Dirk Wübben" userId="a27602df-5b54-480c-866c-64260ceb4949" providerId="ADAL" clId="{1B034532-FBEF-4D25-9408-6C746CA4EAFB}" dt="2023-04-25T14:59:47.344" v="34" actId="2696"/>
          <pc:sldLayoutMkLst>
            <pc:docMk/>
            <pc:sldMasterMk cId="611449510" sldId="2147483686"/>
            <pc:sldLayoutMk cId="3099113038" sldId="2147483699"/>
          </pc:sldLayoutMkLst>
        </pc:sldLayoutChg>
        <pc:sldLayoutChg chg="modSp">
          <pc:chgData name="Dirk Wübben" userId="a27602df-5b54-480c-866c-64260ceb4949" providerId="ADAL" clId="{1B034532-FBEF-4D25-9408-6C746CA4EAFB}" dt="2023-04-25T14:56:12.312" v="15" actId="404"/>
          <pc:sldLayoutMkLst>
            <pc:docMk/>
            <pc:sldMasterMk cId="611449510" sldId="2147483686"/>
            <pc:sldLayoutMk cId="4125255095" sldId="2147483699"/>
          </pc:sldLayoutMkLst>
        </pc:sldLayoutChg>
      </pc:sldMasterChg>
    </pc:docChg>
  </pc:docChgLst>
  <pc:docChgLst>
    <pc:chgData name="Dirk Wübben" userId="a27602df-5b54-480c-866c-64260ceb4949" providerId="ADAL" clId="{1A70FB73-3454-44B7-8A5B-478D3D42A534}"/>
    <pc:docChg chg="undo redo custSel addSld delSld modSld modSection">
      <pc:chgData name="Dirk Wübben" userId="a27602df-5b54-480c-866c-64260ceb4949" providerId="ADAL" clId="{1A70FB73-3454-44B7-8A5B-478D3D42A534}" dt="2023-10-20T09:44:08.769" v="428" actId="47"/>
      <pc:docMkLst>
        <pc:docMk/>
      </pc:docMkLst>
      <pc:sldChg chg="add del">
        <pc:chgData name="Dirk Wübben" userId="a27602df-5b54-480c-866c-64260ceb4949" providerId="ADAL" clId="{1A70FB73-3454-44B7-8A5B-478D3D42A534}" dt="2023-10-20T09:44:08.769" v="428" actId="47"/>
        <pc:sldMkLst>
          <pc:docMk/>
          <pc:sldMk cId="0" sldId="260"/>
        </pc:sldMkLst>
      </pc:sldChg>
      <pc:sldChg chg="add">
        <pc:chgData name="Dirk Wübben" userId="a27602df-5b54-480c-866c-64260ceb4949" providerId="ADAL" clId="{1A70FB73-3454-44B7-8A5B-478D3D42A534}" dt="2023-10-20T09:43:56.665" v="427"/>
        <pc:sldMkLst>
          <pc:docMk/>
          <pc:sldMk cId="1591560020" sldId="372"/>
        </pc:sldMkLst>
      </pc:sldChg>
      <pc:sldChg chg="add">
        <pc:chgData name="Dirk Wübben" userId="a27602df-5b54-480c-866c-64260ceb4949" providerId="ADAL" clId="{1A70FB73-3454-44B7-8A5B-478D3D42A534}" dt="2023-10-20T09:43:56.665" v="427"/>
        <pc:sldMkLst>
          <pc:docMk/>
          <pc:sldMk cId="4077502389" sldId="374"/>
        </pc:sldMkLst>
      </pc:sldChg>
      <pc:sldChg chg="add">
        <pc:chgData name="Dirk Wübben" userId="a27602df-5b54-480c-866c-64260ceb4949" providerId="ADAL" clId="{1A70FB73-3454-44B7-8A5B-478D3D42A534}" dt="2023-10-20T09:43:56.665" v="427"/>
        <pc:sldMkLst>
          <pc:docMk/>
          <pc:sldMk cId="149259647" sldId="375"/>
        </pc:sldMkLst>
      </pc:sldChg>
      <pc:sldChg chg="add">
        <pc:chgData name="Dirk Wübben" userId="a27602df-5b54-480c-866c-64260ceb4949" providerId="ADAL" clId="{1A70FB73-3454-44B7-8A5B-478D3D42A534}" dt="2023-10-20T09:43:56.665" v="427"/>
        <pc:sldMkLst>
          <pc:docMk/>
          <pc:sldMk cId="1247261493" sldId="381"/>
        </pc:sldMkLst>
      </pc:sldChg>
      <pc:sldChg chg="add">
        <pc:chgData name="Dirk Wübben" userId="a27602df-5b54-480c-866c-64260ceb4949" providerId="ADAL" clId="{1A70FB73-3454-44B7-8A5B-478D3D42A534}" dt="2023-10-20T09:43:56.665" v="427"/>
        <pc:sldMkLst>
          <pc:docMk/>
          <pc:sldMk cId="2788898102" sldId="382"/>
        </pc:sldMkLst>
      </pc:sldChg>
      <pc:sldChg chg="add">
        <pc:chgData name="Dirk Wübben" userId="a27602df-5b54-480c-866c-64260ceb4949" providerId="ADAL" clId="{1A70FB73-3454-44B7-8A5B-478D3D42A534}" dt="2023-10-20T09:43:56.665" v="427"/>
        <pc:sldMkLst>
          <pc:docMk/>
          <pc:sldMk cId="3255594395" sldId="396"/>
        </pc:sldMkLst>
      </pc:sldChg>
      <pc:sldChg chg="addSp delSp modSp mod">
        <pc:chgData name="Dirk Wübben" userId="a27602df-5b54-480c-866c-64260ceb4949" providerId="ADAL" clId="{1A70FB73-3454-44B7-8A5B-478D3D42A534}" dt="2023-10-18T12:33:10.014" v="107" actId="1076"/>
        <pc:sldMkLst>
          <pc:docMk/>
          <pc:sldMk cId="2277072009" sldId="409"/>
        </pc:sldMkLst>
      </pc:sldChg>
      <pc:sldChg chg="modSp mod">
        <pc:chgData name="Dirk Wübben" userId="a27602df-5b54-480c-866c-64260ceb4949" providerId="ADAL" clId="{1A70FB73-3454-44B7-8A5B-478D3D42A534}" dt="2023-10-18T12:24:29.776" v="48" actId="14100"/>
        <pc:sldMkLst>
          <pc:docMk/>
          <pc:sldMk cId="1903714414" sldId="416"/>
        </pc:sldMkLst>
      </pc:sldChg>
      <pc:sldChg chg="modSp add mod">
        <pc:chgData name="Dirk Wübben" userId="a27602df-5b54-480c-866c-64260ceb4949" providerId="ADAL" clId="{1A70FB73-3454-44B7-8A5B-478D3D42A534}" dt="2023-10-20T05:37:58.660" v="152"/>
        <pc:sldMkLst>
          <pc:docMk/>
          <pc:sldMk cId="2825320251" sldId="2147472498"/>
        </pc:sldMkLst>
      </pc:sldChg>
      <pc:sldChg chg="del">
        <pc:chgData name="Dirk Wübben" userId="a27602df-5b54-480c-866c-64260ceb4949" providerId="ADAL" clId="{1A70FB73-3454-44B7-8A5B-478D3D42A534}" dt="2023-10-20T09:44:08.769" v="428" actId="47"/>
        <pc:sldMkLst>
          <pc:docMk/>
          <pc:sldMk cId="4227724835" sldId="2147472512"/>
        </pc:sldMkLst>
      </pc:sldChg>
      <pc:sldChg chg="addSp modSp mod modClrScheme chgLayout">
        <pc:chgData name="Dirk Wübben" userId="a27602df-5b54-480c-866c-64260ceb4949" providerId="ADAL" clId="{1A70FB73-3454-44B7-8A5B-478D3D42A534}" dt="2023-10-20T09:35:48.804" v="426" actId="6549"/>
        <pc:sldMkLst>
          <pc:docMk/>
          <pc:sldMk cId="600687088" sldId="2147472516"/>
        </pc:sldMkLst>
      </pc:sldChg>
      <pc:sldChg chg="add">
        <pc:chgData name="Dirk Wübben" userId="a27602df-5b54-480c-866c-64260ceb4949" providerId="ADAL" clId="{1A70FB73-3454-44B7-8A5B-478D3D42A534}" dt="2023-10-19T07:15:49.253" v="109"/>
        <pc:sldMkLst>
          <pc:docMk/>
          <pc:sldMk cId="3653328023" sldId="2147472529"/>
        </pc:sldMkLst>
      </pc:sldChg>
      <pc:sldChg chg="modSp add mod">
        <pc:chgData name="Dirk Wübben" userId="a27602df-5b54-480c-866c-64260ceb4949" providerId="ADAL" clId="{1A70FB73-3454-44B7-8A5B-478D3D42A534}" dt="2023-10-20T06:55:27.747" v="197" actId="20577"/>
        <pc:sldMkLst>
          <pc:docMk/>
          <pc:sldMk cId="466912897" sldId="2147472533"/>
        </pc:sldMkLst>
      </pc:sldChg>
      <pc:sldChg chg="add">
        <pc:chgData name="Dirk Wübben" userId="a27602df-5b54-480c-866c-64260ceb4949" providerId="ADAL" clId="{1A70FB73-3454-44B7-8A5B-478D3D42A534}" dt="2023-10-19T07:21:15.442" v="142"/>
        <pc:sldMkLst>
          <pc:docMk/>
          <pc:sldMk cId="2300040949" sldId="2147472534"/>
        </pc:sldMkLst>
      </pc:sldChg>
      <pc:sldChg chg="add del">
        <pc:chgData name="Dirk Wübben" userId="a27602df-5b54-480c-866c-64260ceb4949" providerId="ADAL" clId="{1A70FB73-3454-44B7-8A5B-478D3D42A534}" dt="2023-10-19T07:18:13.942" v="141" actId="47"/>
        <pc:sldMkLst>
          <pc:docMk/>
          <pc:sldMk cId="237492012" sldId="2147472535"/>
        </pc:sldMkLst>
      </pc:sldChg>
      <pc:sldChg chg="addSp modSp new del mod">
        <pc:chgData name="Dirk Wübben" userId="a27602df-5b54-480c-866c-64260ceb4949" providerId="ADAL" clId="{1A70FB73-3454-44B7-8A5B-478D3D42A534}" dt="2023-10-18T12:27:01.409" v="96" actId="47"/>
        <pc:sldMkLst>
          <pc:docMk/>
          <pc:sldMk cId="2060500429" sldId="2147472536"/>
        </pc:sldMkLst>
      </pc:sldChg>
    </pc:docChg>
  </pc:docChgLst>
  <pc:docChgLst>
    <pc:chgData name="Dirk Wübben" userId="S::wuebben@ant.uni-bremen.de::a27602df-5b54-480c-866c-64260ceb4949" providerId="AD" clId="Web-{73994A20-83DE-DAC8-F5BE-7F1B11E9C578}"/>
    <pc:docChg chg="addSld delSld modSld">
      <pc:chgData name="Dirk Wübben" userId="S::wuebben@ant.uni-bremen.de::a27602df-5b54-480c-866c-64260ceb4949" providerId="AD" clId="Web-{73994A20-83DE-DAC8-F5BE-7F1B11E9C578}" dt="2023-04-24T13:50:25.618" v="6"/>
      <pc:docMkLst>
        <pc:docMk/>
      </pc:docMkLst>
      <pc:sldChg chg="modSp">
        <pc:chgData name="Dirk Wübben" userId="S::wuebben@ant.uni-bremen.de::a27602df-5b54-480c-866c-64260ceb4949" providerId="AD" clId="Web-{73994A20-83DE-DAC8-F5BE-7F1B11E9C578}" dt="2023-04-24T13:50:14.993" v="2" actId="20577"/>
        <pc:sldMkLst>
          <pc:docMk/>
          <pc:sldMk cId="0" sldId="258"/>
        </pc:sldMkLst>
      </pc:sldChg>
      <pc:sldChg chg="addSp modSp del">
        <pc:chgData name="Dirk Wübben" userId="S::wuebben@ant.uni-bremen.de::a27602df-5b54-480c-866c-64260ceb4949" providerId="AD" clId="Web-{73994A20-83DE-DAC8-F5BE-7F1B11E9C578}" dt="2023-04-24T13:50:25.618" v="6"/>
        <pc:sldMkLst>
          <pc:docMk/>
          <pc:sldMk cId="135090832" sldId="2147472497"/>
        </pc:sldMkLst>
      </pc:sldChg>
      <pc:sldChg chg="new">
        <pc:chgData name="Dirk Wübben" userId="S::wuebben@ant.uni-bremen.de::a27602df-5b54-480c-866c-64260ceb4949" providerId="AD" clId="Web-{73994A20-83DE-DAC8-F5BE-7F1B11E9C578}" dt="2023-04-24T13:50:22.821" v="5"/>
        <pc:sldMkLst>
          <pc:docMk/>
          <pc:sldMk cId="2825320251" sldId="2147472498"/>
        </pc:sldMkLst>
      </pc:sldChg>
    </pc:docChg>
  </pc:docChgLst>
  <pc:docChgLst>
    <pc:chgData name="Johannes Demel" userId="S::demel@ant.uni-bremen.de::aeb5a5a0-aa24-4948-b3bb-243bfd1d98fe" providerId="AD" clId="Web-{C77FF527-3E17-3226-6912-C315F5DD6FE9}"/>
    <pc:docChg chg="addSld delSld modSld">
      <pc:chgData name="Johannes Demel" userId="S::demel@ant.uni-bremen.de::aeb5a5a0-aa24-4948-b3bb-243bfd1d98fe" providerId="AD" clId="Web-{C77FF527-3E17-3226-6912-C315F5DD6FE9}" dt="2023-04-24T14:47:39.538" v="245"/>
      <pc:docMkLst>
        <pc:docMk/>
      </pc:docMkLst>
      <pc:sldChg chg="addSp delSp modSp">
        <pc:chgData name="Johannes Demel" userId="S::demel@ant.uni-bremen.de::aeb5a5a0-aa24-4948-b3bb-243bfd1d98fe" providerId="AD" clId="Web-{C77FF527-3E17-3226-6912-C315F5DD6FE9}" dt="2023-04-24T14:47:14.177" v="244" actId="1076"/>
        <pc:sldMkLst>
          <pc:docMk/>
          <pc:sldMk cId="2825320251" sldId="2147472498"/>
        </pc:sldMkLst>
      </pc:sldChg>
      <pc:sldChg chg="modSp new del">
        <pc:chgData name="Johannes Demel" userId="S::demel@ant.uni-bremen.de::aeb5a5a0-aa24-4948-b3bb-243bfd1d98fe" providerId="AD" clId="Web-{C77FF527-3E17-3226-6912-C315F5DD6FE9}" dt="2023-04-24T14:47:39.538" v="245"/>
        <pc:sldMkLst>
          <pc:docMk/>
          <pc:sldMk cId="651371991" sldId="2147472499"/>
        </pc:sldMkLst>
      </pc:sldChg>
    </pc:docChg>
  </pc:docChgLst>
  <pc:docChgLst>
    <pc:chgData name="Reiner Stuhlfauth" userId="S::reiner.stuhlfauth_rohde-schwarz.com#ext#@antunibremen.onmicrosoft.com::b5ce808b-811b-4338-bec2-c43e4565a4f5" providerId="AD" clId="Web-{1982B288-95C8-1AC3-5639-7FDFD9255C18}"/>
    <pc:docChg chg="addSld delSld modSld sldOrd addMainMaster modSection">
      <pc:chgData name="Reiner Stuhlfauth" userId="S::reiner.stuhlfauth_rohde-schwarz.com#ext#@antunibremen.onmicrosoft.com::b5ce808b-811b-4338-bec2-c43e4565a4f5" providerId="AD" clId="Web-{1982B288-95C8-1AC3-5639-7FDFD9255C18}" dt="2025-03-04T14:46:42.607" v="229"/>
      <pc:docMkLst>
        <pc:docMk/>
      </pc:docMkLst>
      <pc:sldChg chg="delSp modSp add ord">
        <pc:chgData name="Reiner Stuhlfauth" userId="S::reiner.stuhlfauth_rohde-schwarz.com#ext#@antunibremen.onmicrosoft.com::b5ce808b-811b-4338-bec2-c43e4565a4f5" providerId="AD" clId="Web-{1982B288-95C8-1AC3-5639-7FDFD9255C18}" dt="2025-03-04T14:46:42.607" v="229"/>
        <pc:sldMkLst>
          <pc:docMk/>
          <pc:sldMk cId="1866808408" sldId="2147477000"/>
        </pc:sldMkLst>
      </pc:sldChg>
      <pc:sldChg chg="delSp add">
        <pc:chgData name="Reiner Stuhlfauth" userId="S::reiner.stuhlfauth_rohde-schwarz.com#ext#@antunibremen.onmicrosoft.com::b5ce808b-811b-4338-bec2-c43e4565a4f5" providerId="AD" clId="Web-{1982B288-95C8-1AC3-5639-7FDFD9255C18}" dt="2025-03-04T14:04:52.600" v="9"/>
        <pc:sldMkLst>
          <pc:docMk/>
          <pc:sldMk cId="2336060805" sldId="2147477001"/>
        </pc:sldMkLst>
      </pc:sldChg>
      <pc:sldChg chg="addSp delSp modSp add">
        <pc:chgData name="Reiner Stuhlfauth" userId="S::reiner.stuhlfauth_rohde-schwarz.com#ext#@antunibremen.onmicrosoft.com::b5ce808b-811b-4338-bec2-c43e4565a4f5" providerId="AD" clId="Web-{1982B288-95C8-1AC3-5639-7FDFD9255C18}" dt="2025-03-04T14:44:55.083" v="227"/>
        <pc:sldMkLst>
          <pc:docMk/>
          <pc:sldMk cId="59811078" sldId="2147477002"/>
        </pc:sldMkLst>
      </pc:sldChg>
      <pc:sldChg chg="delSp modSp add del">
        <pc:chgData name="Reiner Stuhlfauth" userId="S::reiner.stuhlfauth_rohde-schwarz.com#ext#@antunibremen.onmicrosoft.com::b5ce808b-811b-4338-bec2-c43e4565a4f5" providerId="AD" clId="Web-{1982B288-95C8-1AC3-5639-7FDFD9255C18}" dt="2025-03-04T14:14:07.374" v="56"/>
        <pc:sldMkLst>
          <pc:docMk/>
          <pc:sldMk cId="2354313391" sldId="2147477003"/>
        </pc:sldMkLst>
      </pc:sldChg>
      <pc:sldChg chg="add del">
        <pc:chgData name="Reiner Stuhlfauth" userId="S::reiner.stuhlfauth_rohde-schwarz.com#ext#@antunibremen.onmicrosoft.com::b5ce808b-811b-4338-bec2-c43e4565a4f5" providerId="AD" clId="Web-{1982B288-95C8-1AC3-5639-7FDFD9255C18}" dt="2025-03-04T14:20:08.931" v="92"/>
        <pc:sldMkLst>
          <pc:docMk/>
          <pc:sldMk cId="573044906" sldId="2147477004"/>
        </pc:sldMkLst>
      </pc:sldChg>
      <pc:sldChg chg="add del">
        <pc:chgData name="Reiner Stuhlfauth" userId="S::reiner.stuhlfauth_rohde-schwarz.com#ext#@antunibremen.onmicrosoft.com::b5ce808b-811b-4338-bec2-c43e4565a4f5" providerId="AD" clId="Web-{1982B288-95C8-1AC3-5639-7FDFD9255C18}" dt="2025-03-04T14:20:11.556" v="93"/>
        <pc:sldMkLst>
          <pc:docMk/>
          <pc:sldMk cId="1263155991" sldId="2147477005"/>
        </pc:sldMkLst>
      </pc:sldChg>
      <pc:sldChg chg="add del">
        <pc:chgData name="Reiner Stuhlfauth" userId="S::reiner.stuhlfauth_rohde-schwarz.com#ext#@antunibremen.onmicrosoft.com::b5ce808b-811b-4338-bec2-c43e4565a4f5" providerId="AD" clId="Web-{1982B288-95C8-1AC3-5639-7FDFD9255C18}" dt="2025-03-04T14:20:15.134" v="94"/>
        <pc:sldMkLst>
          <pc:docMk/>
          <pc:sldMk cId="302604629" sldId="2147477006"/>
        </pc:sldMkLst>
      </pc:sldChg>
      <pc:sldChg chg="add del">
        <pc:chgData name="Reiner Stuhlfauth" userId="S::reiner.stuhlfauth_rohde-schwarz.com#ext#@antunibremen.onmicrosoft.com::b5ce808b-811b-4338-bec2-c43e4565a4f5" providerId="AD" clId="Web-{1982B288-95C8-1AC3-5639-7FDFD9255C18}" dt="2025-03-04T14:20:16.306" v="95"/>
        <pc:sldMkLst>
          <pc:docMk/>
          <pc:sldMk cId="1244752959" sldId="2147477007"/>
        </pc:sldMkLst>
      </pc:sldChg>
      <pc:sldChg chg="add del">
        <pc:chgData name="Reiner Stuhlfauth" userId="S::reiner.stuhlfauth_rohde-schwarz.com#ext#@antunibremen.onmicrosoft.com::b5ce808b-811b-4338-bec2-c43e4565a4f5" providerId="AD" clId="Web-{1982B288-95C8-1AC3-5639-7FDFD9255C18}" dt="2025-03-04T14:20:17.869" v="96"/>
        <pc:sldMkLst>
          <pc:docMk/>
          <pc:sldMk cId="450507752" sldId="2147477008"/>
        </pc:sldMkLst>
      </pc:sldChg>
      <pc:sldChg chg="delSp modSp add mod modClrScheme chgLayout">
        <pc:chgData name="Reiner Stuhlfauth" userId="S::reiner.stuhlfauth_rohde-schwarz.com#ext#@antunibremen.onmicrosoft.com::b5ce808b-811b-4338-bec2-c43e4565a4f5" providerId="AD" clId="Web-{1982B288-95C8-1AC3-5639-7FDFD9255C18}" dt="2025-03-04T14:16:47.041" v="68"/>
        <pc:sldMkLst>
          <pc:docMk/>
          <pc:sldMk cId="2527005023" sldId="2147477009"/>
        </pc:sldMkLst>
      </pc:sldChg>
      <pc:sldChg chg="delSp modSp add mod modClrScheme chgLayout">
        <pc:chgData name="Reiner Stuhlfauth" userId="S::reiner.stuhlfauth_rohde-schwarz.com#ext#@antunibremen.onmicrosoft.com::b5ce808b-811b-4338-bec2-c43e4565a4f5" providerId="AD" clId="Web-{1982B288-95C8-1AC3-5639-7FDFD9255C18}" dt="2025-03-04T14:17:08.434" v="70"/>
        <pc:sldMkLst>
          <pc:docMk/>
          <pc:sldMk cId="884866988" sldId="2147477010"/>
        </pc:sldMkLst>
      </pc:sldChg>
      <pc:sldChg chg="delSp modSp add mod modClrScheme chgLayout">
        <pc:chgData name="Reiner Stuhlfauth" userId="S::reiner.stuhlfauth_rohde-schwarz.com#ext#@antunibremen.onmicrosoft.com::b5ce808b-811b-4338-bec2-c43e4565a4f5" providerId="AD" clId="Web-{1982B288-95C8-1AC3-5639-7FDFD9255C18}" dt="2025-03-04T14:18:44.753" v="83"/>
        <pc:sldMkLst>
          <pc:docMk/>
          <pc:sldMk cId="40389287" sldId="2147477011"/>
        </pc:sldMkLst>
      </pc:sldChg>
      <pc:sldChg chg="delSp modSp add mod modClrScheme chgLayout">
        <pc:chgData name="Reiner Stuhlfauth" userId="S::reiner.stuhlfauth_rohde-schwarz.com#ext#@antunibremen.onmicrosoft.com::b5ce808b-811b-4338-bec2-c43e4565a4f5" providerId="AD" clId="Web-{1982B288-95C8-1AC3-5639-7FDFD9255C18}" dt="2025-03-04T14:19:44.632" v="89"/>
        <pc:sldMkLst>
          <pc:docMk/>
          <pc:sldMk cId="1499435670" sldId="2147477012"/>
        </pc:sldMkLst>
      </pc:sldChg>
      <pc:sldChg chg="delSp modSp add mod modClrScheme chgLayout">
        <pc:chgData name="Reiner Stuhlfauth" userId="S::reiner.stuhlfauth_rohde-schwarz.com#ext#@antunibremen.onmicrosoft.com::b5ce808b-811b-4338-bec2-c43e4565a4f5" providerId="AD" clId="Web-{1982B288-95C8-1AC3-5639-7FDFD9255C18}" dt="2025-03-04T14:22:00.704" v="106" actId="1076"/>
        <pc:sldMkLst>
          <pc:docMk/>
          <pc:sldMk cId="1772872158" sldId="2147477013"/>
        </pc:sldMkLst>
      </pc:sldChg>
      <pc:sldChg chg="delSp modSp add">
        <pc:chgData name="Reiner Stuhlfauth" userId="S::reiner.stuhlfauth_rohde-schwarz.com#ext#@antunibremen.onmicrosoft.com::b5ce808b-811b-4338-bec2-c43e4565a4f5" providerId="AD" clId="Web-{1982B288-95C8-1AC3-5639-7FDFD9255C18}" dt="2025-03-04T14:21:36.812" v="105" actId="14100"/>
        <pc:sldMkLst>
          <pc:docMk/>
          <pc:sldMk cId="3438802940" sldId="2147477014"/>
        </pc:sldMkLst>
      </pc:sldChg>
      <pc:sldChg chg="addSp modSp add mod modClrScheme chgLayout">
        <pc:chgData name="Reiner Stuhlfauth" userId="S::reiner.stuhlfauth_rohde-schwarz.com#ext#@antunibremen.onmicrosoft.com::b5ce808b-811b-4338-bec2-c43e4565a4f5" providerId="AD" clId="Web-{1982B288-95C8-1AC3-5639-7FDFD9255C18}" dt="2025-03-04T14:43:08.841" v="225" actId="20577"/>
        <pc:sldMkLst>
          <pc:docMk/>
          <pc:sldMk cId="4062828998" sldId="2147477015"/>
        </pc:sldMkLst>
      </pc:sldChg>
      <pc:sldChg chg="add">
        <pc:chgData name="Reiner Stuhlfauth" userId="S::reiner.stuhlfauth_rohde-schwarz.com#ext#@antunibremen.onmicrosoft.com::b5ce808b-811b-4338-bec2-c43e4565a4f5" providerId="AD" clId="Web-{1982B288-95C8-1AC3-5639-7FDFD9255C18}" dt="2025-03-04T14:43:51.172" v="226"/>
        <pc:sldMkLst>
          <pc:docMk/>
          <pc:sldMk cId="763565366" sldId="2147477016"/>
        </pc:sldMkLst>
      </pc:sldChg>
      <pc:sldMasterChg chg="addSldLayout">
        <pc:chgData name="Reiner Stuhlfauth" userId="S::reiner.stuhlfauth_rohde-schwarz.com#ext#@antunibremen.onmicrosoft.com::b5ce808b-811b-4338-bec2-c43e4565a4f5" providerId="AD" clId="Web-{1982B288-95C8-1AC3-5639-7FDFD9255C18}" dt="2025-03-04T14:40:12.923" v="107"/>
        <pc:sldMasterMkLst>
          <pc:docMk/>
          <pc:sldMasterMk cId="611449510" sldId="2147483686"/>
        </pc:sldMasterMkLst>
        <pc:sldLayoutChg chg="add">
          <pc:chgData name="Reiner Stuhlfauth" userId="S::reiner.stuhlfauth_rohde-schwarz.com#ext#@antunibremen.onmicrosoft.com::b5ce808b-811b-4338-bec2-c43e4565a4f5" providerId="AD" clId="Web-{1982B288-95C8-1AC3-5639-7FDFD9255C18}" dt="2025-03-04T14:40:12.923" v="107"/>
          <pc:sldLayoutMkLst>
            <pc:docMk/>
            <pc:sldMasterMk cId="611449510" sldId="2147483686"/>
            <pc:sldLayoutMk cId="983434521" sldId="2147483703"/>
          </pc:sldLayoutMkLst>
        </pc:sldLayoutChg>
      </pc:sldMasterChg>
      <pc:sldMasterChg chg="add addSldLayout">
        <pc:chgData name="Reiner Stuhlfauth" userId="S::reiner.stuhlfauth_rohde-schwarz.com#ext#@antunibremen.onmicrosoft.com::b5ce808b-811b-4338-bec2-c43e4565a4f5" providerId="AD" clId="Web-{1982B288-95C8-1AC3-5639-7FDFD9255C18}" dt="2025-03-04T14:13:28.418" v="53"/>
        <pc:sldMasterMkLst>
          <pc:docMk/>
          <pc:sldMasterMk cId="1574006184" sldId="2147483723"/>
        </pc:sldMasterMkLst>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2175871649" sldId="2147483724"/>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4005501502" sldId="2147483725"/>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2879230695" sldId="2147483726"/>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3534971398" sldId="2147483727"/>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1560117913" sldId="2147483728"/>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2348990681" sldId="2147483729"/>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2947277438" sldId="2147483730"/>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1880653044" sldId="2147483731"/>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2383057182" sldId="2147483732"/>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2837426269" sldId="2147483733"/>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609228917" sldId="2147483734"/>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1467325669" sldId="2147483735"/>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2128938451" sldId="2147483736"/>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2880442337" sldId="2147483737"/>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2484995314" sldId="2147483738"/>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1371875038" sldId="2147483739"/>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702705872" sldId="2147483740"/>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475220269" sldId="2147483741"/>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903518807" sldId="2147483742"/>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929358077" sldId="2147483743"/>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31796694" sldId="2147483744"/>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1740401407" sldId="2147483745"/>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3966876535" sldId="2147483746"/>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1313196906" sldId="2147483747"/>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847166981" sldId="2147483748"/>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898968544" sldId="2147483749"/>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1816599303" sldId="2147483750"/>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1653811589" sldId="2147483751"/>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518899899" sldId="2147483752"/>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801903054" sldId="2147483753"/>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601156228" sldId="2147483754"/>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509959928" sldId="2147483755"/>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3792619065" sldId="2147483757"/>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1538889301" sldId="2147483758"/>
          </pc:sldLayoutMkLst>
        </pc:sldLayoutChg>
        <pc:sldLayoutChg chg="add">
          <pc:chgData name="Reiner Stuhlfauth" userId="S::reiner.stuhlfauth_rohde-schwarz.com#ext#@antunibremen.onmicrosoft.com::b5ce808b-811b-4338-bec2-c43e4565a4f5" providerId="AD" clId="Web-{1982B288-95C8-1AC3-5639-7FDFD9255C18}" dt="2025-03-04T14:13:28.418" v="53"/>
          <pc:sldLayoutMkLst>
            <pc:docMk/>
            <pc:sldMasterMk cId="1574006184" sldId="2147483723"/>
            <pc:sldLayoutMk cId="1890296825" sldId="2147483759"/>
          </pc:sldLayoutMkLst>
        </pc:sldLayoutChg>
      </pc:sldMasterChg>
    </pc:docChg>
  </pc:docChgLst>
  <pc:docChgLst>
    <pc:chgData name="Hammouda Marwan" userId="S::hammouda@ant.uni-bremen.de::141c87ca-9386-4b1c-88e0-e9251bd241ba" providerId="AD" clId="Web-{A0203805-7F97-1523-F81D-F3C013FCB187}"/>
    <pc:docChg chg="modSld">
      <pc:chgData name="Hammouda Marwan" userId="S::hammouda@ant.uni-bremen.de::141c87ca-9386-4b1c-88e0-e9251bd241ba" providerId="AD" clId="Web-{A0203805-7F97-1523-F81D-F3C013FCB187}" dt="2025-03-03T08:46:13.332" v="71" actId="20577"/>
      <pc:docMkLst>
        <pc:docMk/>
      </pc:docMkLst>
      <pc:sldChg chg="modSp">
        <pc:chgData name="Hammouda Marwan" userId="S::hammouda@ant.uni-bremen.de::141c87ca-9386-4b1c-88e0-e9251bd241ba" providerId="AD" clId="Web-{A0203805-7F97-1523-F81D-F3C013FCB187}" dt="2025-03-03T08:46:13.332" v="71" actId="20577"/>
        <pc:sldMkLst>
          <pc:docMk/>
          <pc:sldMk cId="4196284054" sldId="2147472557"/>
        </pc:sldMkLst>
      </pc:sldChg>
      <pc:sldChg chg="modSp">
        <pc:chgData name="Hammouda Marwan" userId="S::hammouda@ant.uni-bremen.de::141c87ca-9386-4b1c-88e0-e9251bd241ba" providerId="AD" clId="Web-{A0203805-7F97-1523-F81D-F3C013FCB187}" dt="2025-03-03T08:27:23.229" v="65"/>
        <pc:sldMkLst>
          <pc:docMk/>
          <pc:sldMk cId="1139371620" sldId="2147476935"/>
        </pc:sldMkLst>
      </pc:sldChg>
      <pc:sldChg chg="modSp">
        <pc:chgData name="Hammouda Marwan" userId="S::hammouda@ant.uni-bremen.de::141c87ca-9386-4b1c-88e0-e9251bd241ba" providerId="AD" clId="Web-{A0203805-7F97-1523-F81D-F3C013FCB187}" dt="2025-03-03T08:27:15.588" v="59" actId="20577"/>
        <pc:sldMkLst>
          <pc:docMk/>
          <pc:sldMk cId="3377633737" sldId="2147476963"/>
        </pc:sldMkLst>
      </pc:sldChg>
      <pc:sldChg chg="modSp">
        <pc:chgData name="Hammouda Marwan" userId="S::hammouda@ant.uni-bremen.de::141c87ca-9386-4b1c-88e0-e9251bd241ba" providerId="AD" clId="Web-{A0203805-7F97-1523-F81D-F3C013FCB187}" dt="2025-03-03T07:52:27.942" v="43" actId="1076"/>
        <pc:sldMkLst>
          <pc:docMk/>
          <pc:sldMk cId="3370915096" sldId="2147476970"/>
        </pc:sldMkLst>
      </pc:sldChg>
    </pc:docChg>
  </pc:docChgLst>
  <pc:docChgLst>
    <pc:chgData name="lamken@otaris.de" userId="S::lamken_otaris.de#ext#@antunibremen.onmicrosoft.com::d14b8e4f-16b5-4b07-afb3-49a903eac9ec" providerId="AD" clId="Web-{661B254C-F4E5-A310-3059-32C2414F00B9}"/>
    <pc:docChg chg="modSld sldOrd">
      <pc:chgData name="lamken@otaris.de" userId="S::lamken_otaris.de#ext#@antunibremen.onmicrosoft.com::d14b8e4f-16b5-4b07-afb3-49a903eac9ec" providerId="AD" clId="Web-{661B254C-F4E5-A310-3059-32C2414F00B9}" dt="2025-03-03T09:36:52.788" v="121" actId="20577"/>
      <pc:docMkLst>
        <pc:docMk/>
      </pc:docMkLst>
      <pc:sldChg chg="modSp">
        <pc:chgData name="lamken@otaris.de" userId="S::lamken_otaris.de#ext#@antunibremen.onmicrosoft.com::d14b8e4f-16b5-4b07-afb3-49a903eac9ec" providerId="AD" clId="Web-{661B254C-F4E5-A310-3059-32C2414F00B9}" dt="2025-03-03T09:36:52.788" v="121" actId="20577"/>
        <pc:sldMkLst>
          <pc:docMk/>
          <pc:sldMk cId="3618206413" sldId="2147472571"/>
        </pc:sldMkLst>
      </pc:sldChg>
      <pc:sldChg chg="modSp">
        <pc:chgData name="lamken@otaris.de" userId="S::lamken_otaris.de#ext#@antunibremen.onmicrosoft.com::d14b8e4f-16b5-4b07-afb3-49a903eac9ec" providerId="AD" clId="Web-{661B254C-F4E5-A310-3059-32C2414F00B9}" dt="2025-03-03T09:35:58.990" v="108" actId="20577"/>
        <pc:sldMkLst>
          <pc:docMk/>
          <pc:sldMk cId="3877753360" sldId="2147472573"/>
        </pc:sldMkLst>
      </pc:sldChg>
      <pc:sldChg chg="ord">
        <pc:chgData name="lamken@otaris.de" userId="S::lamken_otaris.de#ext#@antunibremen.onmicrosoft.com::d14b8e4f-16b5-4b07-afb3-49a903eac9ec" providerId="AD" clId="Web-{661B254C-F4E5-A310-3059-32C2414F00B9}" dt="2025-03-03T09:26:49.626" v="0"/>
        <pc:sldMkLst>
          <pc:docMk/>
          <pc:sldMk cId="2771563822" sldId="2147476964"/>
        </pc:sldMkLst>
      </pc:sldChg>
    </pc:docChg>
  </pc:docChgLst>
  <pc:docChgLst>
    <pc:chgData name="Hammouda Marwan" userId="S::hammouda@ant.uni-bremen.de::141c87ca-9386-4b1c-88e0-e9251bd241ba" providerId="AD" clId="Web-{61D72EDE-412B-BE6B-3EE6-5AEF7F3F664D}"/>
    <pc:docChg chg="modSld">
      <pc:chgData name="Hammouda Marwan" userId="S::hammouda@ant.uni-bremen.de::141c87ca-9386-4b1c-88e0-e9251bd241ba" providerId="AD" clId="Web-{61D72EDE-412B-BE6B-3EE6-5AEF7F3F664D}" dt="2025-03-28T11:34:49.791" v="302" actId="20577"/>
      <pc:docMkLst>
        <pc:docMk/>
      </pc:docMkLst>
      <pc:sldChg chg="addSp delSp modSp">
        <pc:chgData name="Hammouda Marwan" userId="S::hammouda@ant.uni-bremen.de::141c87ca-9386-4b1c-88e0-e9251bd241ba" providerId="AD" clId="Web-{61D72EDE-412B-BE6B-3EE6-5AEF7F3F664D}" dt="2025-03-28T11:34:49.791" v="302" actId="20577"/>
        <pc:sldMkLst>
          <pc:docMk/>
          <pc:sldMk cId="2599621944" sldId="2147477075"/>
        </pc:sldMkLst>
        <pc:spChg chg="mod">
          <ac:chgData name="Hammouda Marwan" userId="S::hammouda@ant.uni-bremen.de::141c87ca-9386-4b1c-88e0-e9251bd241ba" providerId="AD" clId="Web-{61D72EDE-412B-BE6B-3EE6-5AEF7F3F664D}" dt="2025-03-28T11:24:30.502" v="114" actId="1076"/>
          <ac:spMkLst>
            <pc:docMk/>
            <pc:sldMk cId="2599621944" sldId="2147477075"/>
            <ac:spMk id="2" creationId="{38F80290-CFCA-43EB-AB1D-738E632A410C}"/>
          </ac:spMkLst>
        </pc:spChg>
        <pc:spChg chg="add del mod">
          <ac:chgData name="Hammouda Marwan" userId="S::hammouda@ant.uni-bremen.de::141c87ca-9386-4b1c-88e0-e9251bd241ba" providerId="AD" clId="Web-{61D72EDE-412B-BE6B-3EE6-5AEF7F3F664D}" dt="2025-03-28T11:27:13.289" v="144" actId="1076"/>
          <ac:spMkLst>
            <pc:docMk/>
            <pc:sldMk cId="2599621944" sldId="2147477075"/>
            <ac:spMk id="3" creationId="{AC599F71-A8FD-409D-BA5F-8847061908C1}"/>
          </ac:spMkLst>
        </pc:spChg>
        <pc:spChg chg="mod">
          <ac:chgData name="Hammouda Marwan" userId="S::hammouda@ant.uni-bremen.de::141c87ca-9386-4b1c-88e0-e9251bd241ba" providerId="AD" clId="Web-{61D72EDE-412B-BE6B-3EE6-5AEF7F3F664D}" dt="2025-03-28T11:30:30.047" v="184" actId="1076"/>
          <ac:spMkLst>
            <pc:docMk/>
            <pc:sldMk cId="2599621944" sldId="2147477075"/>
            <ac:spMk id="4" creationId="{9428B25E-7E79-4D6D-9E3B-09EF8BD6B9F2}"/>
          </ac:spMkLst>
        </pc:spChg>
        <pc:spChg chg="mod">
          <ac:chgData name="Hammouda Marwan" userId="S::hammouda@ant.uni-bremen.de::141c87ca-9386-4b1c-88e0-e9251bd241ba" providerId="AD" clId="Web-{61D72EDE-412B-BE6B-3EE6-5AEF7F3F664D}" dt="2025-03-28T11:28:16.323" v="155" actId="1076"/>
          <ac:spMkLst>
            <pc:docMk/>
            <pc:sldMk cId="2599621944" sldId="2147477075"/>
            <ac:spMk id="10" creationId="{98B66DDC-A4B9-4AC9-A3A3-2D817E0A6674}"/>
          </ac:spMkLst>
        </pc:spChg>
        <pc:spChg chg="mod">
          <ac:chgData name="Hammouda Marwan" userId="S::hammouda@ant.uni-bremen.de::141c87ca-9386-4b1c-88e0-e9251bd241ba" providerId="AD" clId="Web-{61D72EDE-412B-BE6B-3EE6-5AEF7F3F664D}" dt="2025-03-28T11:30:30.062" v="185" actId="1076"/>
          <ac:spMkLst>
            <pc:docMk/>
            <pc:sldMk cId="2599621944" sldId="2147477075"/>
            <ac:spMk id="12" creationId="{52FF4736-9B0D-408E-AAB0-26D51EA57E05}"/>
          </ac:spMkLst>
        </pc:spChg>
        <pc:spChg chg="mod">
          <ac:chgData name="Hammouda Marwan" userId="S::hammouda@ant.uni-bremen.de::141c87ca-9386-4b1c-88e0-e9251bd241ba" providerId="AD" clId="Web-{61D72EDE-412B-BE6B-3EE6-5AEF7F3F664D}" dt="2025-03-28T11:30:30.062" v="186" actId="1076"/>
          <ac:spMkLst>
            <pc:docMk/>
            <pc:sldMk cId="2599621944" sldId="2147477075"/>
            <ac:spMk id="13" creationId="{743B1652-2310-4DB3-A000-E721FA160CA8}"/>
          </ac:spMkLst>
        </pc:spChg>
        <pc:spChg chg="mod">
          <ac:chgData name="Hammouda Marwan" userId="S::hammouda@ant.uni-bremen.de::141c87ca-9386-4b1c-88e0-e9251bd241ba" providerId="AD" clId="Web-{61D72EDE-412B-BE6B-3EE6-5AEF7F3F664D}" dt="2025-03-28T11:30:30.078" v="188" actId="1076"/>
          <ac:spMkLst>
            <pc:docMk/>
            <pc:sldMk cId="2599621944" sldId="2147477075"/>
            <ac:spMk id="16" creationId="{28AC140A-4FC6-49B8-A60A-0891D2CE51F7}"/>
          </ac:spMkLst>
        </pc:spChg>
        <pc:spChg chg="mod">
          <ac:chgData name="Hammouda Marwan" userId="S::hammouda@ant.uni-bremen.de::141c87ca-9386-4b1c-88e0-e9251bd241ba" providerId="AD" clId="Web-{61D72EDE-412B-BE6B-3EE6-5AEF7F3F664D}" dt="2025-03-28T11:30:30.094" v="189" actId="1076"/>
          <ac:spMkLst>
            <pc:docMk/>
            <pc:sldMk cId="2599621944" sldId="2147477075"/>
            <ac:spMk id="17" creationId="{EE613CD6-6BC1-4A01-9237-736D7ED6A7E2}"/>
          </ac:spMkLst>
        </pc:spChg>
        <pc:spChg chg="mod">
          <ac:chgData name="Hammouda Marwan" userId="S::hammouda@ant.uni-bremen.de::141c87ca-9386-4b1c-88e0-e9251bd241ba" providerId="AD" clId="Web-{61D72EDE-412B-BE6B-3EE6-5AEF7F3F664D}" dt="2025-03-28T11:30:30.109" v="190" actId="1076"/>
          <ac:spMkLst>
            <pc:docMk/>
            <pc:sldMk cId="2599621944" sldId="2147477075"/>
            <ac:spMk id="18" creationId="{40CC9DF5-2138-461D-9CB4-C6DE39333350}"/>
          </ac:spMkLst>
        </pc:spChg>
        <pc:spChg chg="mod">
          <ac:chgData name="Hammouda Marwan" userId="S::hammouda@ant.uni-bremen.de::141c87ca-9386-4b1c-88e0-e9251bd241ba" providerId="AD" clId="Web-{61D72EDE-412B-BE6B-3EE6-5AEF7F3F664D}" dt="2025-03-28T11:29:11.012" v="183" actId="1076"/>
          <ac:spMkLst>
            <pc:docMk/>
            <pc:sldMk cId="2599621944" sldId="2147477075"/>
            <ac:spMk id="19" creationId="{50E92167-E58C-454D-93E8-2262DFFBE6C3}"/>
          </ac:spMkLst>
        </pc:spChg>
        <pc:spChg chg="add mod">
          <ac:chgData name="Hammouda Marwan" userId="S::hammouda@ant.uni-bremen.de::141c87ca-9386-4b1c-88e0-e9251bd241ba" providerId="AD" clId="Web-{61D72EDE-412B-BE6B-3EE6-5AEF7F3F664D}" dt="2025-03-28T11:27:19.852" v="146" actId="1076"/>
          <ac:spMkLst>
            <pc:docMk/>
            <pc:sldMk cId="2599621944" sldId="2147477075"/>
            <ac:spMk id="34" creationId="{9A27BAA8-25AD-7E30-AF94-5692B73AE997}"/>
          </ac:spMkLst>
        </pc:spChg>
        <pc:spChg chg="add mod">
          <ac:chgData name="Hammouda Marwan" userId="S::hammouda@ant.uni-bremen.de::141c87ca-9386-4b1c-88e0-e9251bd241ba" providerId="AD" clId="Web-{61D72EDE-412B-BE6B-3EE6-5AEF7F3F664D}" dt="2025-03-28T11:27:40.821" v="150" actId="1076"/>
          <ac:spMkLst>
            <pc:docMk/>
            <pc:sldMk cId="2599621944" sldId="2147477075"/>
            <ac:spMk id="35" creationId="{996878AE-0EE5-6282-1C5E-EF47F1D4CD63}"/>
          </ac:spMkLst>
        </pc:spChg>
        <pc:spChg chg="add mod">
          <ac:chgData name="Hammouda Marwan" userId="S::hammouda@ant.uni-bremen.de::141c87ca-9386-4b1c-88e0-e9251bd241ba" providerId="AD" clId="Web-{61D72EDE-412B-BE6B-3EE6-5AEF7F3F664D}" dt="2025-03-28T11:27:52.025" v="152" actId="1076"/>
          <ac:spMkLst>
            <pc:docMk/>
            <pc:sldMk cId="2599621944" sldId="2147477075"/>
            <ac:spMk id="36" creationId="{A41859CF-6806-E9DC-494E-E29DF6543F5F}"/>
          </ac:spMkLst>
        </pc:spChg>
        <pc:picChg chg="mod">
          <ac:chgData name="Hammouda Marwan" userId="S::hammouda@ant.uni-bremen.de::141c87ca-9386-4b1c-88e0-e9251bd241ba" providerId="AD" clId="Web-{61D72EDE-412B-BE6B-3EE6-5AEF7F3F664D}" dt="2025-03-28T11:28:12.073" v="154" actId="1076"/>
          <ac:picMkLst>
            <pc:docMk/>
            <pc:sldMk cId="2599621944" sldId="2147477075"/>
            <ac:picMk id="6" creationId="{5CF42BF4-FA91-4B28-8571-42C643D57FA7}"/>
          </ac:picMkLst>
        </pc:picChg>
        <pc:picChg chg="add mod">
          <ac:chgData name="Hammouda Marwan" userId="S::hammouda@ant.uni-bremen.de::141c87ca-9386-4b1c-88e0-e9251bd241ba" providerId="AD" clId="Web-{61D72EDE-412B-BE6B-3EE6-5AEF7F3F664D}" dt="2025-03-28T11:27:16.649" v="145" actId="1076"/>
          <ac:picMkLst>
            <pc:docMk/>
            <pc:sldMk cId="2599621944" sldId="2147477075"/>
            <ac:picMk id="33" creationId="{87742679-00EA-73A9-1D8C-DD0057E75721}"/>
          </ac:picMkLst>
        </pc:picChg>
        <pc:cxnChg chg="mod">
          <ac:chgData name="Hammouda Marwan" userId="S::hammouda@ant.uni-bremen.de::141c87ca-9386-4b1c-88e0-e9251bd241ba" providerId="AD" clId="Web-{61D72EDE-412B-BE6B-3EE6-5AEF7F3F664D}" dt="2025-03-28T11:30:30.078" v="187" actId="1076"/>
          <ac:cxnSpMkLst>
            <pc:docMk/>
            <pc:sldMk cId="2599621944" sldId="2147477075"/>
            <ac:cxnSpMk id="15" creationId="{3AE381AC-7FBC-45E1-8443-DDCDE522A6D3}"/>
          </ac:cxnSpMkLst>
        </pc:cxnChg>
      </pc:sldChg>
    </pc:docChg>
  </pc:docChgLst>
  <pc:docChgLst>
    <pc:chgData name="daurembekova@eit.uni-kl.de" userId="S::daurembekova_eit.uni-kl.de#ext#@antunibremen.onmicrosoft.com::1550135a-cb22-4283-bb7f-d226a501e7e9" providerId="AD" clId="Web-{AD011A5B-785B-EF76-F8CF-48E42BA2B15D}"/>
    <pc:docChg chg="addSld delSld modSld sldOrd modSection">
      <pc:chgData name="daurembekova@eit.uni-kl.de" userId="S::daurembekova_eit.uni-kl.de#ext#@antunibremen.onmicrosoft.com::1550135a-cb22-4283-bb7f-d226a501e7e9" providerId="AD" clId="Web-{AD011A5B-785B-EF76-F8CF-48E42BA2B15D}" dt="2025-02-26T14:49:22.873" v="547"/>
      <pc:docMkLst>
        <pc:docMk/>
      </pc:docMkLst>
      <pc:sldChg chg="addSp delSp modSp new del">
        <pc:chgData name="daurembekova@eit.uni-kl.de" userId="S::daurembekova_eit.uni-kl.de#ext#@antunibremen.onmicrosoft.com::1550135a-cb22-4283-bb7f-d226a501e7e9" providerId="AD" clId="Web-{AD011A5B-785B-EF76-F8CF-48E42BA2B15D}" dt="2025-02-26T13:54:15.412" v="11"/>
        <pc:sldMkLst>
          <pc:docMk/>
          <pc:sldMk cId="1097375915" sldId="2147476957"/>
        </pc:sldMkLst>
      </pc:sldChg>
      <pc:sldChg chg="addSp delSp modSp add replId">
        <pc:chgData name="daurembekova@eit.uni-kl.de" userId="S::daurembekova_eit.uni-kl.de#ext#@antunibremen.onmicrosoft.com::1550135a-cb22-4283-bb7f-d226a501e7e9" providerId="AD" clId="Web-{AD011A5B-785B-EF76-F8CF-48E42BA2B15D}" dt="2025-02-26T14:49:22.873" v="547"/>
        <pc:sldMkLst>
          <pc:docMk/>
          <pc:sldMk cId="2512753512" sldId="2147476958"/>
        </pc:sldMkLst>
      </pc:sldChg>
      <pc:sldChg chg="addSp delSp modSp add replId">
        <pc:chgData name="daurembekova@eit.uni-kl.de" userId="S::daurembekova_eit.uni-kl.de#ext#@antunibremen.onmicrosoft.com::1550135a-cb22-4283-bb7f-d226a501e7e9" providerId="AD" clId="Web-{AD011A5B-785B-EF76-F8CF-48E42BA2B15D}" dt="2025-02-26T14:32:29.399" v="537" actId="1076"/>
        <pc:sldMkLst>
          <pc:docMk/>
          <pc:sldMk cId="3362133976" sldId="2147476959"/>
        </pc:sldMkLst>
      </pc:sldChg>
      <pc:sldChg chg="addSp delSp modSp add replId">
        <pc:chgData name="daurembekova@eit.uni-kl.de" userId="S::daurembekova_eit.uni-kl.de#ext#@antunibremen.onmicrosoft.com::1550135a-cb22-4283-bb7f-d226a501e7e9" providerId="AD" clId="Web-{AD011A5B-785B-EF76-F8CF-48E42BA2B15D}" dt="2025-02-26T14:32:50.134" v="544" actId="1076"/>
        <pc:sldMkLst>
          <pc:docMk/>
          <pc:sldMk cId="2275402349" sldId="2147476960"/>
        </pc:sldMkLst>
      </pc:sldChg>
      <pc:sldChg chg="addSp delSp modSp add ord replId">
        <pc:chgData name="daurembekova@eit.uni-kl.de" userId="S::daurembekova_eit.uni-kl.de#ext#@antunibremen.onmicrosoft.com::1550135a-cb22-4283-bb7f-d226a501e7e9" providerId="AD" clId="Web-{AD011A5B-785B-EF76-F8CF-48E42BA2B15D}" dt="2025-02-26T14:32:10.274" v="532" actId="1076"/>
        <pc:sldMkLst>
          <pc:docMk/>
          <pc:sldMk cId="3225395690" sldId="2147476961"/>
        </pc:sldMkLst>
      </pc:sldChg>
    </pc:docChg>
  </pc:docChgLst>
  <pc:docChgLst>
    <pc:chgData name="herbst@otaris.de" userId="S::herbst_otaris.de#ext#@antunibremen.onmicrosoft.com::cda1c2c2-ea13-4aa8-a0c6-7af0ed80aac7" providerId="AD" clId="Web-{64FDC85A-B6AF-B930-2DB5-3B782F37FA4C}"/>
    <pc:docChg chg="addSld delSld modSld modSection">
      <pc:chgData name="herbst@otaris.de" userId="S::herbst_otaris.de#ext#@antunibremen.onmicrosoft.com::cda1c2c2-ea13-4aa8-a0c6-7af0ed80aac7" providerId="AD" clId="Web-{64FDC85A-B6AF-B930-2DB5-3B782F37FA4C}" dt="2025-03-04T08:21:05.369" v="197" actId="20577"/>
      <pc:docMkLst>
        <pc:docMk/>
      </pc:docMkLst>
      <pc:sldChg chg="addSp add del">
        <pc:chgData name="herbst@otaris.de" userId="S::herbst_otaris.de#ext#@antunibremen.onmicrosoft.com::cda1c2c2-ea13-4aa8-a0c6-7af0ed80aac7" providerId="AD" clId="Web-{64FDC85A-B6AF-B930-2DB5-3B782F37FA4C}" dt="2025-03-04T08:19:39.945" v="181"/>
        <pc:sldMkLst>
          <pc:docMk/>
          <pc:sldMk cId="100331075" sldId="2147472569"/>
        </pc:sldMkLst>
      </pc:sldChg>
      <pc:sldChg chg="addSp add del">
        <pc:chgData name="herbst@otaris.de" userId="S::herbst_otaris.de#ext#@antunibremen.onmicrosoft.com::cda1c2c2-ea13-4aa8-a0c6-7af0ed80aac7" providerId="AD" clId="Web-{64FDC85A-B6AF-B930-2DB5-3B782F37FA4C}" dt="2025-03-04T08:19:43.867" v="182"/>
        <pc:sldMkLst>
          <pc:docMk/>
          <pc:sldMk cId="3757828033" sldId="2147472570"/>
        </pc:sldMkLst>
      </pc:sldChg>
      <pc:sldChg chg="addSp modSp add del">
        <pc:chgData name="herbst@otaris.de" userId="S::herbst_otaris.de#ext#@antunibremen.onmicrosoft.com::cda1c2c2-ea13-4aa8-a0c6-7af0ed80aac7" providerId="AD" clId="Web-{64FDC85A-B6AF-B930-2DB5-3B782F37FA4C}" dt="2025-03-04T08:19:52.102" v="184" actId="1076"/>
        <pc:sldMkLst>
          <pc:docMk/>
          <pc:sldMk cId="3618206413" sldId="2147472571"/>
        </pc:sldMkLst>
      </pc:sldChg>
      <pc:sldChg chg="addSp modSp add del">
        <pc:chgData name="herbst@otaris.de" userId="S::herbst_otaris.de#ext#@antunibremen.onmicrosoft.com::cda1c2c2-ea13-4aa8-a0c6-7af0ed80aac7" providerId="AD" clId="Web-{64FDC85A-B6AF-B930-2DB5-3B782F37FA4C}" dt="2025-03-04T08:19:25.413" v="177" actId="1076"/>
        <pc:sldMkLst>
          <pc:docMk/>
          <pc:sldMk cId="3877753360" sldId="2147472573"/>
        </pc:sldMkLst>
      </pc:sldChg>
      <pc:sldChg chg="addSp modSp add del">
        <pc:chgData name="herbst@otaris.de" userId="S::herbst_otaris.de#ext#@antunibremen.onmicrosoft.com::cda1c2c2-ea13-4aa8-a0c6-7af0ed80aac7" providerId="AD" clId="Web-{64FDC85A-B6AF-B930-2DB5-3B782F37FA4C}" dt="2025-03-04T08:19:36.961" v="180" actId="14100"/>
        <pc:sldMkLst>
          <pc:docMk/>
          <pc:sldMk cId="200456584" sldId="2147472574"/>
        </pc:sldMkLst>
      </pc:sldChg>
      <pc:sldChg chg="add del">
        <pc:chgData name="herbst@otaris.de" userId="S::herbst_otaris.de#ext#@antunibremen.onmicrosoft.com::cda1c2c2-ea13-4aa8-a0c6-7af0ed80aac7" providerId="AD" clId="Web-{64FDC85A-B6AF-B930-2DB5-3B782F37FA4C}" dt="2025-03-04T08:19:13.772" v="175"/>
        <pc:sldMkLst>
          <pc:docMk/>
          <pc:sldMk cId="557879103" sldId="2147472576"/>
        </pc:sldMkLst>
      </pc:sldChg>
      <pc:sldChg chg="modSp">
        <pc:chgData name="herbst@otaris.de" userId="S::herbst_otaris.de#ext#@antunibremen.onmicrosoft.com::cda1c2c2-ea13-4aa8-a0c6-7af0ed80aac7" providerId="AD" clId="Web-{64FDC85A-B6AF-B930-2DB5-3B782F37FA4C}" dt="2025-03-04T08:16:32.159" v="124"/>
        <pc:sldMkLst>
          <pc:docMk/>
          <pc:sldMk cId="1139371620" sldId="2147476935"/>
        </pc:sldMkLst>
      </pc:sldChg>
      <pc:sldChg chg="modSp">
        <pc:chgData name="herbst@otaris.de" userId="S::herbst_otaris.de#ext#@antunibremen.onmicrosoft.com::cda1c2c2-ea13-4aa8-a0c6-7af0ed80aac7" providerId="AD" clId="Web-{64FDC85A-B6AF-B930-2DB5-3B782F37FA4C}" dt="2025-03-04T08:16:56.222" v="144"/>
        <pc:sldMkLst>
          <pc:docMk/>
          <pc:sldMk cId="249829350" sldId="2147476980"/>
        </pc:sldMkLst>
      </pc:sldChg>
      <pc:sldChg chg="del">
        <pc:chgData name="herbst@otaris.de" userId="S::herbst_otaris.de#ext#@antunibremen.onmicrosoft.com::cda1c2c2-ea13-4aa8-a0c6-7af0ed80aac7" providerId="AD" clId="Web-{64FDC85A-B6AF-B930-2DB5-3B782F37FA4C}" dt="2025-03-04T08:18:29.865" v="161"/>
        <pc:sldMkLst>
          <pc:docMk/>
          <pc:sldMk cId="3940210874" sldId="2147476986"/>
        </pc:sldMkLst>
      </pc:sldChg>
      <pc:sldChg chg="addSp modSp add replId">
        <pc:chgData name="herbst@otaris.de" userId="S::herbst_otaris.de#ext#@antunibremen.onmicrosoft.com::cda1c2c2-ea13-4aa8-a0c6-7af0ed80aac7" providerId="AD" clId="Web-{64FDC85A-B6AF-B930-2DB5-3B782F37FA4C}" dt="2025-03-04T08:21:05.369" v="197" actId="20577"/>
        <pc:sldMkLst>
          <pc:docMk/>
          <pc:sldMk cId="3893516391" sldId="2147476999"/>
        </pc:sldMkLst>
      </pc:sldChg>
    </pc:docChg>
  </pc:docChgLst>
  <pc:docChgLst>
    <pc:chgData name="Dirk Wübben" userId="S::wuebben@ant.uni-bremen.de::a27602df-5b54-480c-866c-64260ceb4949" providerId="AD" clId="Web-{2FE1172D-AC1C-A43D-CAF1-41E893236B89}"/>
    <pc:docChg chg="modSld">
      <pc:chgData name="Dirk Wübben" userId="S::wuebben@ant.uni-bremen.de::a27602df-5b54-480c-866c-64260ceb4949" providerId="AD" clId="Web-{2FE1172D-AC1C-A43D-CAF1-41E893236B89}" dt="2023-10-18T08:49:01.797" v="5"/>
      <pc:docMkLst>
        <pc:docMk/>
      </pc:docMkLst>
      <pc:sldChg chg="addSp delSp modSp">
        <pc:chgData name="Dirk Wübben" userId="S::wuebben@ant.uni-bremen.de::a27602df-5b54-480c-866c-64260ceb4949" providerId="AD" clId="Web-{2FE1172D-AC1C-A43D-CAF1-41E893236B89}" dt="2023-10-18T08:49:01.797" v="5"/>
        <pc:sldMkLst>
          <pc:docMk/>
          <pc:sldMk cId="237492012" sldId="2147472535"/>
        </pc:sldMkLst>
      </pc:sldChg>
    </pc:docChg>
  </pc:docChgLst>
  <pc:docChgLst>
    <pc:chgData name="Dennis Buchberger" userId="S::buchberger@ant.uni-bremen.de::cfe5e5e7-b999-4ed2-8d25-bbd6e3df32e4" providerId="AD" clId="Web-{36B6787C-E398-53A3-CC70-F19FF084BF81}"/>
    <pc:docChg chg="addSld delSld modSld sldOrd modSection">
      <pc:chgData name="Dennis Buchberger" userId="S::buchberger@ant.uni-bremen.de::cfe5e5e7-b999-4ed2-8d25-bbd6e3df32e4" providerId="AD" clId="Web-{36B6787C-E398-53A3-CC70-F19FF084BF81}" dt="2024-10-21T13:01:39.548" v="517" actId="20577"/>
      <pc:docMkLst>
        <pc:docMk/>
      </pc:docMkLst>
      <pc:sldChg chg="modSp del mod ord modClrScheme chgLayout">
        <pc:chgData name="Dennis Buchberger" userId="S::buchberger@ant.uni-bremen.de::cfe5e5e7-b999-4ed2-8d25-bbd6e3df32e4" providerId="AD" clId="Web-{36B6787C-E398-53A3-CC70-F19FF084BF81}" dt="2024-10-21T12:37:09.870" v="118"/>
        <pc:sldMkLst>
          <pc:docMk/>
          <pc:sldMk cId="4055870343" sldId="2147472502"/>
        </pc:sldMkLst>
      </pc:sldChg>
      <pc:sldChg chg="del">
        <pc:chgData name="Dennis Buchberger" userId="S::buchberger@ant.uni-bremen.de::cfe5e5e7-b999-4ed2-8d25-bbd6e3df32e4" providerId="AD" clId="Web-{36B6787C-E398-53A3-CC70-F19FF084BF81}" dt="2024-10-21T12:26:02.080" v="1"/>
        <pc:sldMkLst>
          <pc:docMk/>
          <pc:sldMk cId="3719215840" sldId="2147472539"/>
        </pc:sldMkLst>
      </pc:sldChg>
      <pc:sldChg chg="modSp ord">
        <pc:chgData name="Dennis Buchberger" userId="S::buchberger@ant.uni-bremen.de::cfe5e5e7-b999-4ed2-8d25-bbd6e3df32e4" providerId="AD" clId="Web-{36B6787C-E398-53A3-CC70-F19FF084BF81}" dt="2024-10-21T12:42:44.335" v="250" actId="20577"/>
        <pc:sldMkLst>
          <pc:docMk/>
          <pc:sldMk cId="95809100" sldId="2147472554"/>
        </pc:sldMkLst>
      </pc:sldChg>
      <pc:sldChg chg="modSp">
        <pc:chgData name="Dennis Buchberger" userId="S::buchberger@ant.uni-bremen.de::cfe5e5e7-b999-4ed2-8d25-bbd6e3df32e4" providerId="AD" clId="Web-{36B6787C-E398-53A3-CC70-F19FF084BF81}" dt="2024-10-21T12:40:20.736" v="185" actId="20577"/>
        <pc:sldMkLst>
          <pc:docMk/>
          <pc:sldMk cId="1962824018" sldId="2147472559"/>
        </pc:sldMkLst>
      </pc:sldChg>
      <pc:sldChg chg="addSp modSp">
        <pc:chgData name="Dennis Buchberger" userId="S::buchberger@ant.uni-bremen.de::cfe5e5e7-b999-4ed2-8d25-bbd6e3df32e4" providerId="AD" clId="Web-{36B6787C-E398-53A3-CC70-F19FF084BF81}" dt="2024-10-21T12:58:36.385" v="423" actId="20577"/>
        <pc:sldMkLst>
          <pc:docMk/>
          <pc:sldMk cId="1830304761" sldId="2147472562"/>
        </pc:sldMkLst>
      </pc:sldChg>
      <pc:sldChg chg="modSp">
        <pc:chgData name="Dennis Buchberger" userId="S::buchberger@ant.uni-bremen.de::cfe5e5e7-b999-4ed2-8d25-bbd6e3df32e4" providerId="AD" clId="Web-{36B6787C-E398-53A3-CC70-F19FF084BF81}" dt="2024-10-21T12:55:36.097" v="359" actId="20577"/>
        <pc:sldMkLst>
          <pc:docMk/>
          <pc:sldMk cId="1194833940" sldId="2147476878"/>
        </pc:sldMkLst>
      </pc:sldChg>
      <pc:sldChg chg="modSp ord">
        <pc:chgData name="Dennis Buchberger" userId="S::buchberger@ant.uni-bremen.de::cfe5e5e7-b999-4ed2-8d25-bbd6e3df32e4" providerId="AD" clId="Web-{36B6787C-E398-53A3-CC70-F19FF084BF81}" dt="2024-10-21T12:58:20.932" v="404" actId="20577"/>
        <pc:sldMkLst>
          <pc:docMk/>
          <pc:sldMk cId="113998610" sldId="2147476880"/>
        </pc:sldMkLst>
      </pc:sldChg>
      <pc:sldChg chg="del">
        <pc:chgData name="Dennis Buchberger" userId="S::buchberger@ant.uni-bremen.de::cfe5e5e7-b999-4ed2-8d25-bbd6e3df32e4" providerId="AD" clId="Web-{36B6787C-E398-53A3-CC70-F19FF084BF81}" dt="2024-10-21T12:35:43.288" v="111"/>
        <pc:sldMkLst>
          <pc:docMk/>
          <pc:sldMk cId="566569657" sldId="2147476882"/>
        </pc:sldMkLst>
      </pc:sldChg>
      <pc:sldChg chg="del ord">
        <pc:chgData name="Dennis Buchberger" userId="S::buchberger@ant.uni-bremen.de::cfe5e5e7-b999-4ed2-8d25-bbd6e3df32e4" providerId="AD" clId="Web-{36B6787C-E398-53A3-CC70-F19FF084BF81}" dt="2024-10-21T12:42:46.491" v="251"/>
        <pc:sldMkLst>
          <pc:docMk/>
          <pc:sldMk cId="2008991537" sldId="2147476884"/>
        </pc:sldMkLst>
      </pc:sldChg>
      <pc:sldChg chg="del ord">
        <pc:chgData name="Dennis Buchberger" userId="S::buchberger@ant.uni-bremen.de::cfe5e5e7-b999-4ed2-8d25-bbd6e3df32e4" providerId="AD" clId="Web-{36B6787C-E398-53A3-CC70-F19FF084BF81}" dt="2024-10-21T12:27:16.239" v="7"/>
        <pc:sldMkLst>
          <pc:docMk/>
          <pc:sldMk cId="3705421110" sldId="2147476885"/>
        </pc:sldMkLst>
      </pc:sldChg>
      <pc:sldChg chg="modSp new mod modClrScheme chgLayout">
        <pc:chgData name="Dennis Buchberger" userId="S::buchberger@ant.uni-bremen.de::cfe5e5e7-b999-4ed2-8d25-bbd6e3df32e4" providerId="AD" clId="Web-{36B6787C-E398-53A3-CC70-F19FF084BF81}" dt="2024-10-21T12:38:44.295" v="180" actId="20577"/>
        <pc:sldMkLst>
          <pc:docMk/>
          <pc:sldMk cId="2123224230" sldId="2147476905"/>
        </pc:sldMkLst>
      </pc:sldChg>
      <pc:sldChg chg="addSp delSp modSp new">
        <pc:chgData name="Dennis Buchberger" userId="S::buchberger@ant.uni-bremen.de::cfe5e5e7-b999-4ed2-8d25-bbd6e3df32e4" providerId="AD" clId="Web-{36B6787C-E398-53A3-CC70-F19FF084BF81}" dt="2024-10-21T12:57:03.897" v="384" actId="20577"/>
        <pc:sldMkLst>
          <pc:docMk/>
          <pc:sldMk cId="1638095463" sldId="2147476906"/>
        </pc:sldMkLst>
      </pc:sldChg>
    </pc:docChg>
  </pc:docChgLst>
  <pc:docChgLst>
    <pc:chgData name="svilen.dimitrov@dlr.de" userId="S::svilen.dimitrov_dlr.de#ext#@antunibremen.onmicrosoft.com::70e1e00a-de51-4410-b2b9-8f68d14c83dd" providerId="AD" clId="Web-{92AD8296-5E89-7887-EF65-E6E31094DDDB}"/>
    <pc:docChg chg="modSld">
      <pc:chgData name="svilen.dimitrov@dlr.de" userId="S::svilen.dimitrov_dlr.de#ext#@antunibremen.onmicrosoft.com::70e1e00a-de51-4410-b2b9-8f68d14c83dd" providerId="AD" clId="Web-{92AD8296-5E89-7887-EF65-E6E31094DDDB}" dt="2024-03-06T12:33:18.283" v="6" actId="1076"/>
      <pc:docMkLst>
        <pc:docMk/>
      </pc:docMkLst>
      <pc:sldChg chg="addSp modSp">
        <pc:chgData name="svilen.dimitrov@dlr.de" userId="S::svilen.dimitrov_dlr.de#ext#@antunibremen.onmicrosoft.com::70e1e00a-de51-4410-b2b9-8f68d14c83dd" providerId="AD" clId="Web-{92AD8296-5E89-7887-EF65-E6E31094DDDB}" dt="2024-03-06T12:33:18.283" v="6" actId="1076"/>
        <pc:sldMkLst>
          <pc:docMk/>
          <pc:sldMk cId="2259278948" sldId="2147472553"/>
        </pc:sldMkLst>
      </pc:sldChg>
    </pc:docChg>
  </pc:docChgLst>
  <pc:docChgLst>
    <pc:chgData name="Dennis Buchberger" userId="S::buchberger@ant.uni-bremen.de::cfe5e5e7-b999-4ed2-8d25-bbd6e3df32e4" providerId="AD" clId="Web-{5D6D55CF-5D27-4C37-1C94-1651BAB27E03}"/>
    <pc:docChg chg="modSld">
      <pc:chgData name="Dennis Buchberger" userId="S::buchberger@ant.uni-bremen.de::cfe5e5e7-b999-4ed2-8d25-bbd6e3df32e4" providerId="AD" clId="Web-{5D6D55CF-5D27-4C37-1C94-1651BAB27E03}" dt="2024-10-23T09:23:40.391" v="2"/>
      <pc:docMkLst>
        <pc:docMk/>
      </pc:docMkLst>
      <pc:sldChg chg="delSp modSp">
        <pc:chgData name="Dennis Buchberger" userId="S::buchberger@ant.uni-bremen.de::cfe5e5e7-b999-4ed2-8d25-bbd6e3df32e4" providerId="AD" clId="Web-{5D6D55CF-5D27-4C37-1C94-1651BAB27E03}" dt="2024-10-23T09:23:40.391" v="2"/>
        <pc:sldMkLst>
          <pc:docMk/>
          <pc:sldMk cId="1830304761" sldId="2147472562"/>
        </pc:sldMkLst>
      </pc:sldChg>
    </pc:docChg>
  </pc:docChgLst>
  <pc:docChgLst>
    <pc:chgData name="Breitbach, Markus" userId="S::m.breitbach_telekom.de#ext#@antunibremen.onmicrosoft.com::10c158ad-965e-4490-8b4a-81e4e8a03889" providerId="AD" clId="Web-{77B66084-19BB-BCEC-DF70-E893258325DF}"/>
    <pc:docChg chg="addSld delSld sldOrd modSection">
      <pc:chgData name="Breitbach, Markus" userId="S::m.breitbach_telekom.de#ext#@antunibremen.onmicrosoft.com::10c158ad-965e-4490-8b4a-81e4e8a03889" providerId="AD" clId="Web-{77B66084-19BB-BCEC-DF70-E893258325DF}" dt="2025-03-20T14:47:58.195" v="4"/>
      <pc:docMkLst>
        <pc:docMk/>
      </pc:docMkLst>
      <pc:sldChg chg="add ord">
        <pc:chgData name="Breitbach, Markus" userId="S::m.breitbach_telekom.de#ext#@antunibremen.onmicrosoft.com::10c158ad-965e-4490-8b4a-81e4e8a03889" providerId="AD" clId="Web-{77B66084-19BB-BCEC-DF70-E893258325DF}" dt="2025-03-20T14:46:37.395" v="1"/>
        <pc:sldMkLst>
          <pc:docMk/>
          <pc:sldMk cId="4061239879" sldId="2147476885"/>
        </pc:sldMkLst>
      </pc:sldChg>
      <pc:sldChg chg="add del">
        <pc:chgData name="Breitbach, Markus" userId="S::m.breitbach_telekom.de#ext#@antunibremen.onmicrosoft.com::10c158ad-965e-4490-8b4a-81e4e8a03889" providerId="AD" clId="Web-{77B66084-19BB-BCEC-DF70-E893258325DF}" dt="2025-03-20T14:47:58.195" v="4"/>
        <pc:sldMkLst>
          <pc:docMk/>
          <pc:sldMk cId="3334546825" sldId="2147476962"/>
        </pc:sldMkLst>
      </pc:sldChg>
    </pc:docChg>
  </pc:docChgLst>
  <pc:docChgLst>
    <pc:chgData name="jan.buchholz@imst.de" userId="S::jan.buchholz_imst.de#ext#@antunibremen.onmicrosoft.com::32a6142b-abe6-465a-b35e-cd845930b28f" providerId="AD" clId="Web-{9122925F-D423-EB58-C14E-7A65DCC001D9}"/>
    <pc:docChg chg="addSld delSld modSld sldOrd modSection">
      <pc:chgData name="jan.buchholz@imst.de" userId="S::jan.buchholz_imst.de#ext#@antunibremen.onmicrosoft.com::32a6142b-abe6-465a-b35e-cd845930b28f" providerId="AD" clId="Web-{9122925F-D423-EB58-C14E-7A65DCC001D9}" dt="2025-02-26T13:02:37.836" v="1098" actId="20577"/>
      <pc:docMkLst>
        <pc:docMk/>
      </pc:docMkLst>
      <pc:sldChg chg="add del">
        <pc:chgData name="jan.buchholz@imst.de" userId="S::jan.buchholz_imst.de#ext#@antunibremen.onmicrosoft.com::32a6142b-abe6-465a-b35e-cd845930b28f" providerId="AD" clId="Web-{9122925F-D423-EB58-C14E-7A65DCC001D9}" dt="2025-02-26T12:37:30.083" v="123"/>
        <pc:sldMkLst>
          <pc:docMk/>
          <pc:sldMk cId="68509627" sldId="281"/>
        </pc:sldMkLst>
      </pc:sldChg>
      <pc:sldChg chg="modSp add del">
        <pc:chgData name="jan.buchholz@imst.de" userId="S::jan.buchholz_imst.de#ext#@antunibremen.onmicrosoft.com::32a6142b-abe6-465a-b35e-cd845930b28f" providerId="AD" clId="Web-{9122925F-D423-EB58-C14E-7A65DCC001D9}" dt="2025-02-26T12:38:36.725" v="195"/>
        <pc:sldMkLst>
          <pc:docMk/>
          <pc:sldMk cId="3389462262" sldId="282"/>
        </pc:sldMkLst>
      </pc:sldChg>
      <pc:sldChg chg="addSp delSp modSp">
        <pc:chgData name="jan.buchholz@imst.de" userId="S::jan.buchholz_imst.de#ext#@antunibremen.onmicrosoft.com::32a6142b-abe6-465a-b35e-cd845930b28f" providerId="AD" clId="Web-{9122925F-D423-EB58-C14E-7A65DCC001D9}" dt="2025-02-26T12:40:05.838" v="219" actId="688"/>
        <pc:sldMkLst>
          <pc:docMk/>
          <pc:sldMk cId="3366035886" sldId="2147476927"/>
        </pc:sldMkLst>
      </pc:sldChg>
      <pc:sldChg chg="modSp add del replId">
        <pc:chgData name="jan.buchholz@imst.de" userId="S::jan.buchholz_imst.de#ext#@antunibremen.onmicrosoft.com::32a6142b-abe6-465a-b35e-cd845930b28f" providerId="AD" clId="Web-{9122925F-D423-EB58-C14E-7A65DCC001D9}" dt="2025-02-26T12:57:11.231" v="902"/>
        <pc:sldMkLst>
          <pc:docMk/>
          <pc:sldMk cId="892286029" sldId="2147476949"/>
        </pc:sldMkLst>
      </pc:sldChg>
      <pc:sldChg chg="addSp delSp modSp new">
        <pc:chgData name="jan.buchholz@imst.de" userId="S::jan.buchholz_imst.de#ext#@antunibremen.onmicrosoft.com::32a6142b-abe6-465a-b35e-cd845930b28f" providerId="AD" clId="Web-{9122925F-D423-EB58-C14E-7A65DCC001D9}" dt="2025-02-26T12:41:29.137" v="258" actId="20577"/>
        <pc:sldMkLst>
          <pc:docMk/>
          <pc:sldMk cId="2367264706" sldId="2147476950"/>
        </pc:sldMkLst>
      </pc:sldChg>
      <pc:sldChg chg="modSp new ord">
        <pc:chgData name="jan.buchholz@imst.de" userId="S::jan.buchholz_imst.de#ext#@antunibremen.onmicrosoft.com::32a6142b-abe6-465a-b35e-cd845930b28f" providerId="AD" clId="Web-{9122925F-D423-EB58-C14E-7A65DCC001D9}" dt="2025-02-26T12:59:48.033" v="1023" actId="20577"/>
        <pc:sldMkLst>
          <pc:docMk/>
          <pc:sldMk cId="1056595544" sldId="2147476951"/>
        </pc:sldMkLst>
      </pc:sldChg>
      <pc:sldChg chg="modSp add del replId">
        <pc:chgData name="jan.buchholz@imst.de" userId="S::jan.buchholz_imst.de#ext#@antunibremen.onmicrosoft.com::32a6142b-abe6-465a-b35e-cd845930b28f" providerId="AD" clId="Web-{9122925F-D423-EB58-C14E-7A65DCC001D9}" dt="2025-02-26T12:56:24.636" v="879" actId="20577"/>
        <pc:sldMkLst>
          <pc:docMk/>
          <pc:sldMk cId="488269668" sldId="2147476952"/>
        </pc:sldMkLst>
      </pc:sldChg>
      <pc:sldChg chg="modSp new">
        <pc:chgData name="jan.buchholz@imst.de" userId="S::jan.buchholz_imst.de#ext#@antunibremen.onmicrosoft.com::32a6142b-abe6-465a-b35e-cd845930b28f" providerId="AD" clId="Web-{9122925F-D423-EB58-C14E-7A65DCC001D9}" dt="2025-02-26T12:56:46.965" v="895" actId="20577"/>
        <pc:sldMkLst>
          <pc:docMk/>
          <pc:sldMk cId="957125902" sldId="2147476953"/>
        </pc:sldMkLst>
      </pc:sldChg>
      <pc:sldChg chg="modSp add ord replId">
        <pc:chgData name="jan.buchholz@imst.de" userId="S::jan.buchholz_imst.de#ext#@antunibremen.onmicrosoft.com::32a6142b-abe6-465a-b35e-cd845930b28f" providerId="AD" clId="Web-{9122925F-D423-EB58-C14E-7A65DCC001D9}" dt="2025-02-26T12:57:18.122" v="906" actId="20577"/>
        <pc:sldMkLst>
          <pc:docMk/>
          <pc:sldMk cId="2096638031" sldId="2147476954"/>
        </pc:sldMkLst>
      </pc:sldChg>
      <pc:sldChg chg="modSp add ord replId">
        <pc:chgData name="jan.buchholz@imst.de" userId="S::jan.buchholz_imst.de#ext#@antunibremen.onmicrosoft.com::32a6142b-abe6-465a-b35e-cd845930b28f" providerId="AD" clId="Web-{9122925F-D423-EB58-C14E-7A65DCC001D9}" dt="2025-02-26T13:02:37.836" v="1098" actId="20577"/>
        <pc:sldMkLst>
          <pc:docMk/>
          <pc:sldMk cId="1993869608" sldId="2147476955"/>
        </pc:sldMkLst>
      </pc:sldChg>
      <pc:sldChg chg="modSp add ord replId">
        <pc:chgData name="jan.buchholz@imst.de" userId="S::jan.buchholz_imst.de#ext#@antunibremen.onmicrosoft.com::32a6142b-abe6-465a-b35e-cd845930b28f" providerId="AD" clId="Web-{9122925F-D423-EB58-C14E-7A65DCC001D9}" dt="2025-02-26T13:01:21.489" v="1066" actId="20577"/>
        <pc:sldMkLst>
          <pc:docMk/>
          <pc:sldMk cId="4016747754" sldId="2147476956"/>
        </pc:sldMkLst>
      </pc:sldChg>
      <pc:sldMasterChg chg="addSldLayout">
        <pc:chgData name="jan.buchholz@imst.de" userId="S::jan.buchholz_imst.de#ext#@antunibremen.onmicrosoft.com::32a6142b-abe6-465a-b35e-cd845930b28f" providerId="AD" clId="Web-{9122925F-D423-EB58-C14E-7A65DCC001D9}" dt="2025-02-26T12:34:28.670" v="24"/>
        <pc:sldMasterMkLst>
          <pc:docMk/>
          <pc:sldMasterMk cId="611449510" sldId="2147483686"/>
        </pc:sldMasterMkLst>
        <pc:sldLayoutChg chg="add">
          <pc:chgData name="jan.buchholz@imst.de" userId="S::jan.buchholz_imst.de#ext#@antunibremen.onmicrosoft.com::32a6142b-abe6-465a-b35e-cd845930b28f" providerId="AD" clId="Web-{9122925F-D423-EB58-C14E-7A65DCC001D9}" dt="2025-02-26T12:34:28.670" v="24"/>
          <pc:sldLayoutMkLst>
            <pc:docMk/>
            <pc:sldMasterMk cId="611449510" sldId="2147483686"/>
            <pc:sldLayoutMk cId="2340409292" sldId="2147483702"/>
          </pc:sldLayoutMkLst>
        </pc:sldLayoutChg>
      </pc:sldMasterChg>
    </pc:docChg>
  </pc:docChgLst>
  <pc:docChgLst>
    <pc:chgData name="lamken@otaris.de" userId="S::lamken_otaris.de#ext#@antunibremen.onmicrosoft.com::d14b8e4f-16b5-4b07-afb3-49a903eac9ec" providerId="AD" clId="Web-{FA2CF9E5-10E3-2FA4-7094-9D3FFC342BD5}"/>
    <pc:docChg chg="modSld">
      <pc:chgData name="lamken@otaris.de" userId="S::lamken_otaris.de#ext#@antunibremen.onmicrosoft.com::d14b8e4f-16b5-4b07-afb3-49a903eac9ec" providerId="AD" clId="Web-{FA2CF9E5-10E3-2FA4-7094-9D3FFC342BD5}" dt="2024-03-11T10:10:57.989" v="113" actId="20577"/>
      <pc:docMkLst>
        <pc:docMk/>
      </pc:docMkLst>
      <pc:sldChg chg="addSp modSp">
        <pc:chgData name="lamken@otaris.de" userId="S::lamken_otaris.de#ext#@antunibremen.onmicrosoft.com::d14b8e4f-16b5-4b07-afb3-49a903eac9ec" providerId="AD" clId="Web-{FA2CF9E5-10E3-2FA4-7094-9D3FFC342BD5}" dt="2024-03-11T10:10:57.989" v="113" actId="20577"/>
        <pc:sldMkLst>
          <pc:docMk/>
          <pc:sldMk cId="4186752563" sldId="2147472542"/>
        </pc:sldMkLst>
      </pc:sldChg>
    </pc:docChg>
  </pc:docChgLst>
  <pc:docChgLst>
    <pc:chgData name="benjamin.barth@dlr.de" userId="S::benjamin.barth_dlr.de#ext#@antunibremen.onmicrosoft.com::125bcdd7-effb-4ed3-ab95-be7e18fe1b24" providerId="AD" clId="Web-{C39DB6BB-BDA7-FCDC-BD81-876F6BECF271}"/>
    <pc:docChg chg="addSld delSld modSld modSection">
      <pc:chgData name="benjamin.barth@dlr.de" userId="S::benjamin.barth_dlr.de#ext#@antunibremen.onmicrosoft.com::125bcdd7-effb-4ed3-ab95-be7e18fe1b24" providerId="AD" clId="Web-{C39DB6BB-BDA7-FCDC-BD81-876F6BECF271}" dt="2025-03-03T12:43:27.247" v="774" actId="20577"/>
      <pc:docMkLst>
        <pc:docMk/>
      </pc:docMkLst>
      <pc:sldChg chg="addSp delSp modSp">
        <pc:chgData name="benjamin.barth@dlr.de" userId="S::benjamin.barth_dlr.de#ext#@antunibremen.onmicrosoft.com::125bcdd7-effb-4ed3-ab95-be7e18fe1b24" providerId="AD" clId="Web-{C39DB6BB-BDA7-FCDC-BD81-876F6BECF271}" dt="2025-03-03T11:56:11.597" v="5"/>
        <pc:sldMkLst>
          <pc:docMk/>
          <pc:sldMk cId="2780177838" sldId="2147472511"/>
        </pc:sldMkLst>
      </pc:sldChg>
      <pc:sldChg chg="del">
        <pc:chgData name="benjamin.barth@dlr.de" userId="S::benjamin.barth_dlr.de#ext#@antunibremen.onmicrosoft.com::125bcdd7-effb-4ed3-ab95-be7e18fe1b24" providerId="AD" clId="Web-{C39DB6BB-BDA7-FCDC-BD81-876F6BECF271}" dt="2025-03-03T12:02:46.919" v="255"/>
        <pc:sldMkLst>
          <pc:docMk/>
          <pc:sldMk cId="3007069579" sldId="2147476928"/>
        </pc:sldMkLst>
      </pc:sldChg>
      <pc:sldChg chg="modSp">
        <pc:chgData name="benjamin.barth@dlr.de" userId="S::benjamin.barth_dlr.de#ext#@antunibremen.onmicrosoft.com::125bcdd7-effb-4ed3-ab95-be7e18fe1b24" providerId="AD" clId="Web-{C39DB6BB-BDA7-FCDC-BD81-876F6BECF271}" dt="2025-03-03T12:14:56.907" v="662"/>
        <pc:sldMkLst>
          <pc:docMk/>
          <pc:sldMk cId="249829350" sldId="2147476980"/>
        </pc:sldMkLst>
      </pc:sldChg>
      <pc:sldChg chg="addSp delSp modSp new mod modClrScheme chgLayout">
        <pc:chgData name="benjamin.barth@dlr.de" userId="S::benjamin.barth_dlr.de#ext#@antunibremen.onmicrosoft.com::125bcdd7-effb-4ed3-ab95-be7e18fe1b24" providerId="AD" clId="Web-{C39DB6BB-BDA7-FCDC-BD81-876F6BECF271}" dt="2025-03-03T12:09:55.305" v="514" actId="20577"/>
        <pc:sldMkLst>
          <pc:docMk/>
          <pc:sldMk cId="15061299" sldId="2147476989"/>
        </pc:sldMkLst>
      </pc:sldChg>
      <pc:sldChg chg="modSp new">
        <pc:chgData name="benjamin.barth@dlr.de" userId="S::benjamin.barth_dlr.de#ext#@antunibremen.onmicrosoft.com::125bcdd7-effb-4ed3-ab95-be7e18fe1b24" providerId="AD" clId="Web-{C39DB6BB-BDA7-FCDC-BD81-876F6BECF271}" dt="2025-03-03T12:02:30.060" v="254" actId="20577"/>
        <pc:sldMkLst>
          <pc:docMk/>
          <pc:sldMk cId="1345907750" sldId="2147476990"/>
        </pc:sldMkLst>
      </pc:sldChg>
      <pc:sldChg chg="addSp delSp modSp new">
        <pc:chgData name="benjamin.barth@dlr.de" userId="S::benjamin.barth_dlr.de#ext#@antunibremen.onmicrosoft.com::125bcdd7-effb-4ed3-ab95-be7e18fe1b24" providerId="AD" clId="Web-{C39DB6BB-BDA7-FCDC-BD81-876F6BECF271}" dt="2025-03-03T12:20:27.102" v="687" actId="1076"/>
        <pc:sldMkLst>
          <pc:docMk/>
          <pc:sldMk cId="61090754" sldId="2147476991"/>
        </pc:sldMkLst>
      </pc:sldChg>
      <pc:sldChg chg="addSp delSp modSp new">
        <pc:chgData name="benjamin.barth@dlr.de" userId="S::benjamin.barth_dlr.de#ext#@antunibremen.onmicrosoft.com::125bcdd7-effb-4ed3-ab95-be7e18fe1b24" providerId="AD" clId="Web-{C39DB6BB-BDA7-FCDC-BD81-876F6BECF271}" dt="2025-03-03T12:22:24.934" v="695" actId="20577"/>
        <pc:sldMkLst>
          <pc:docMk/>
          <pc:sldMk cId="2089713754" sldId="2147476992"/>
        </pc:sldMkLst>
      </pc:sldChg>
      <pc:sldChg chg="new">
        <pc:chgData name="benjamin.barth@dlr.de" userId="S::benjamin.barth_dlr.de#ext#@antunibremen.onmicrosoft.com::125bcdd7-effb-4ed3-ab95-be7e18fe1b24" providerId="AD" clId="Web-{C39DB6BB-BDA7-FCDC-BD81-876F6BECF271}" dt="2025-03-03T12:25:15.813" v="696"/>
        <pc:sldMkLst>
          <pc:docMk/>
          <pc:sldMk cId="1427111811" sldId="2147476993"/>
        </pc:sldMkLst>
      </pc:sldChg>
      <pc:sldChg chg="addSp delSp modSp new">
        <pc:chgData name="benjamin.barth@dlr.de" userId="S::benjamin.barth_dlr.de#ext#@antunibremen.onmicrosoft.com::125bcdd7-effb-4ed3-ab95-be7e18fe1b24" providerId="AD" clId="Web-{C39DB6BB-BDA7-FCDC-BD81-876F6BECF271}" dt="2025-03-03T12:28:55.803" v="704" actId="1076"/>
        <pc:sldMkLst>
          <pc:docMk/>
          <pc:sldMk cId="1721652904" sldId="2147476994"/>
        </pc:sldMkLst>
      </pc:sldChg>
      <pc:sldChg chg="addSp modSp new">
        <pc:chgData name="benjamin.barth@dlr.de" userId="S::benjamin.barth_dlr.de#ext#@antunibremen.onmicrosoft.com::125bcdd7-effb-4ed3-ab95-be7e18fe1b24" providerId="AD" clId="Web-{C39DB6BB-BDA7-FCDC-BD81-876F6BECF271}" dt="2025-03-03T12:43:27.247" v="774" actId="20577"/>
        <pc:sldMkLst>
          <pc:docMk/>
          <pc:sldMk cId="2269296956" sldId="2147476995"/>
        </pc:sldMkLst>
      </pc:sldChg>
    </pc:docChg>
  </pc:docChgLst>
  <pc:docChgLst>
    <pc:chgData name="timon.petermann@telematik-zentrum.de" userId="S::timon.petermann_telematik-zentrum.de#ext#@antunibremen.onmicrosoft.com::09e0c723-61db-4925-a819-cd79f1389da8" providerId="AD" clId="Web-{D0EC1189-F807-B3AF-0A67-09239DE226C1}"/>
    <pc:docChg chg="addSld modSld modSection">
      <pc:chgData name="timon.petermann@telematik-zentrum.de" userId="S::timon.petermann_telematik-zentrum.de#ext#@antunibremen.onmicrosoft.com::09e0c723-61db-4925-a819-cd79f1389da8" providerId="AD" clId="Web-{D0EC1189-F807-B3AF-0A67-09239DE226C1}" dt="2025-03-03T11:53:34.682" v="427"/>
      <pc:docMkLst>
        <pc:docMk/>
      </pc:docMkLst>
      <pc:sldChg chg="addSp delSp modSp">
        <pc:chgData name="timon.petermann@telematik-zentrum.de" userId="S::timon.petermann_telematik-zentrum.de#ext#@antunibremen.onmicrosoft.com::09e0c723-61db-4925-a819-cd79f1389da8" providerId="AD" clId="Web-{D0EC1189-F807-B3AF-0A67-09239DE226C1}" dt="2025-03-03T11:43:37.555" v="390" actId="1076"/>
        <pc:sldMkLst>
          <pc:docMk/>
          <pc:sldMk cId="212962849" sldId="2147476985"/>
        </pc:sldMkLst>
      </pc:sldChg>
      <pc:sldChg chg="addSp modSp add replId">
        <pc:chgData name="timon.petermann@telematik-zentrum.de" userId="S::timon.petermann_telematik-zentrum.de#ext#@antunibremen.onmicrosoft.com::09e0c723-61db-4925-a819-cd79f1389da8" providerId="AD" clId="Web-{D0EC1189-F807-B3AF-0A67-09239DE226C1}" dt="2025-03-03T11:47:26.828" v="426" actId="20577"/>
        <pc:sldMkLst>
          <pc:docMk/>
          <pc:sldMk cId="165004909" sldId="2147476987"/>
        </pc:sldMkLst>
      </pc:sldChg>
      <pc:sldChg chg="add">
        <pc:chgData name="timon.petermann@telematik-zentrum.de" userId="S::timon.petermann_telematik-zentrum.de#ext#@antunibremen.onmicrosoft.com::09e0c723-61db-4925-a819-cd79f1389da8" providerId="AD" clId="Web-{D0EC1189-F807-B3AF-0A67-09239DE226C1}" dt="2025-03-03T11:53:34.682" v="427"/>
        <pc:sldMkLst>
          <pc:docMk/>
          <pc:sldMk cId="1180116239" sldId="2147476988"/>
        </pc:sldMkLst>
      </pc:sldChg>
    </pc:docChg>
  </pc:docChgLst>
  <pc:docChgLst>
    <pc:chgData name="daurembekova@eit.uni-kl.de" userId="S::daurembekova_eit.uni-kl.de#ext#@antunibremen.onmicrosoft.com::1550135a-cb22-4283-bb7f-d226a501e7e9" providerId="AD" clId="Web-{CEB0F638-EA4F-4A4D-9E2F-52C2F27F87AE}"/>
    <pc:docChg chg="modSld">
      <pc:chgData name="daurembekova@eit.uni-kl.de" userId="S::daurembekova_eit.uni-kl.de#ext#@antunibremen.onmicrosoft.com::1550135a-cb22-4283-bb7f-d226a501e7e9" providerId="AD" clId="Web-{CEB0F638-EA4F-4A4D-9E2F-52C2F27F87AE}" dt="2024-03-04T09:24:59.291" v="3" actId="20577"/>
      <pc:docMkLst>
        <pc:docMk/>
      </pc:docMkLst>
      <pc:sldChg chg="modSp">
        <pc:chgData name="daurembekova@eit.uni-kl.de" userId="S::daurembekova_eit.uni-kl.de#ext#@antunibremen.onmicrosoft.com::1550135a-cb22-4283-bb7f-d226a501e7e9" providerId="AD" clId="Web-{CEB0F638-EA4F-4A4D-9E2F-52C2F27F87AE}" dt="2024-03-04T09:24:59.291" v="3" actId="20577"/>
        <pc:sldMkLst>
          <pc:docMk/>
          <pc:sldMk cId="3744710436" sldId="2147472544"/>
        </pc:sldMkLst>
      </pc:sldChg>
    </pc:docChg>
  </pc:docChgLst>
  <pc:docChgLst>
    <pc:chgData name="shama.noreen@rptu.de" userId="S::shama.noreen_rptu.de#ext#@antunibremen.onmicrosoft.com::723f12dc-439d-467c-b689-ae2f5074cd4f" providerId="AD" clId="Web-{EC20FF0B-B78F-2821-5A64-A42ADB81A372}"/>
    <pc:docChg chg="sldOrd">
      <pc:chgData name="shama.noreen@rptu.de" userId="S::shama.noreen_rptu.de#ext#@antunibremen.onmicrosoft.com::723f12dc-439d-467c-b689-ae2f5074cd4f" providerId="AD" clId="Web-{EC20FF0B-B78F-2821-5A64-A42ADB81A372}" dt="2024-10-17T11:27:09.351" v="0"/>
      <pc:docMkLst>
        <pc:docMk/>
      </pc:docMkLst>
      <pc:sldChg chg="ord">
        <pc:chgData name="shama.noreen@rptu.de" userId="S::shama.noreen_rptu.de#ext#@antunibremen.onmicrosoft.com::723f12dc-439d-467c-b689-ae2f5074cd4f" providerId="AD" clId="Web-{EC20FF0B-B78F-2821-5A64-A42ADB81A372}" dt="2024-10-17T11:27:09.351" v="0"/>
        <pc:sldMkLst>
          <pc:docMk/>
          <pc:sldMk cId="106407812" sldId="2147472547"/>
        </pc:sldMkLst>
      </pc:sldChg>
    </pc:docChg>
  </pc:docChgLst>
  <pc:docChgLst>
    <pc:chgData name="daurembekova@eit.uni-kl.de" userId="S::daurembekova_eit.uni-kl.de#ext#@antunibremen.onmicrosoft.com::1550135a-cb22-4283-bb7f-d226a501e7e9" providerId="AD" clId="Web-{C65AB6E2-B108-68CC-BBC3-AA26C9A1ED96}"/>
    <pc:docChg chg="modSld">
      <pc:chgData name="daurembekova@eit.uni-kl.de" userId="S::daurembekova_eit.uni-kl.de#ext#@antunibremen.onmicrosoft.com::1550135a-cb22-4283-bb7f-d226a501e7e9" providerId="AD" clId="Web-{C65AB6E2-B108-68CC-BBC3-AA26C9A1ED96}" dt="2024-03-05T12:03:07.821" v="33" actId="1076"/>
      <pc:docMkLst>
        <pc:docMk/>
      </pc:docMkLst>
      <pc:sldChg chg="addSp modSp">
        <pc:chgData name="daurembekova@eit.uni-kl.de" userId="S::daurembekova_eit.uni-kl.de#ext#@antunibremen.onmicrosoft.com::1550135a-cb22-4283-bb7f-d226a501e7e9" providerId="AD" clId="Web-{C65AB6E2-B108-68CC-BBC3-AA26C9A1ED96}" dt="2024-03-05T12:03:07.821" v="33" actId="1076"/>
        <pc:sldMkLst>
          <pc:docMk/>
          <pc:sldMk cId="2685880669" sldId="2147472551"/>
        </pc:sldMkLst>
      </pc:sldChg>
    </pc:docChg>
  </pc:docChgLst>
  <pc:docChgLst>
    <pc:chgData name="Dirk Wübben" userId="S::wuebben@ant.uni-bremen.de::a27602df-5b54-480c-866c-64260ceb4949" providerId="AD" clId="Web-{FECA644F-51EB-D5F6-9B77-E7B619473EFD}"/>
    <pc:docChg chg="addSld modSld modSection">
      <pc:chgData name="Dirk Wübben" userId="S::wuebben@ant.uni-bremen.de::a27602df-5b54-480c-866c-64260ceb4949" providerId="AD" clId="Web-{FECA644F-51EB-D5F6-9B77-E7B619473EFD}" dt="2024-10-23T11:52:52.660" v="32" actId="20577"/>
      <pc:docMkLst>
        <pc:docMk/>
      </pc:docMkLst>
      <pc:sldChg chg="modSp new">
        <pc:chgData name="Dirk Wübben" userId="S::wuebben@ant.uni-bremen.de::a27602df-5b54-480c-866c-64260ceb4949" providerId="AD" clId="Web-{FECA644F-51EB-D5F6-9B77-E7B619473EFD}" dt="2024-10-23T11:51:56.203" v="15" actId="20577"/>
        <pc:sldMkLst>
          <pc:docMk/>
          <pc:sldMk cId="3270358093" sldId="2147476921"/>
        </pc:sldMkLst>
      </pc:sldChg>
      <pc:sldChg chg="modSp new">
        <pc:chgData name="Dirk Wübben" userId="S::wuebben@ant.uni-bremen.de::a27602df-5b54-480c-866c-64260ceb4949" providerId="AD" clId="Web-{FECA644F-51EB-D5F6-9B77-E7B619473EFD}" dt="2024-10-23T11:52:52.660" v="32" actId="20577"/>
        <pc:sldMkLst>
          <pc:docMk/>
          <pc:sldMk cId="10284624" sldId="2147476922"/>
        </pc:sldMkLst>
      </pc:sldChg>
    </pc:docChg>
  </pc:docChgLst>
  <pc:docChgLst>
    <pc:chgData name="Maike TADDIKEN (DSI)" userId="S::maike.taddiken_dsi-as.de#ext#@antunibremen.onmicrosoft.com::6657eb3a-1a1c-40e2-97f3-817609e7430a" providerId="AD" clId="Web-{C1C02B4B-032A-66D0-A452-B750F4A41113}"/>
    <pc:docChg chg="addSld delSld modSld sldOrd modSection">
      <pc:chgData name="Maike TADDIKEN (DSI)" userId="S::maike.taddiken_dsi-as.de#ext#@antunibremen.onmicrosoft.com::6657eb3a-1a1c-40e2-97f3-817609e7430a" providerId="AD" clId="Web-{C1C02B4B-032A-66D0-A452-B750F4A41113}" dt="2024-10-22T10:32:11.363" v="262"/>
      <pc:docMkLst>
        <pc:docMk/>
      </pc:docMkLst>
      <pc:sldChg chg="delSp">
        <pc:chgData name="Maike TADDIKEN (DSI)" userId="S::maike.taddiken_dsi-as.de#ext#@antunibremen.onmicrosoft.com::6657eb3a-1a1c-40e2-97f3-817609e7430a" providerId="AD" clId="Web-{C1C02B4B-032A-66D0-A452-B750F4A41113}" dt="2024-10-22T10:22:19.132" v="0"/>
        <pc:sldMkLst>
          <pc:docMk/>
          <pc:sldMk cId="811786820" sldId="2147472548"/>
        </pc:sldMkLst>
      </pc:sldChg>
      <pc:sldChg chg="delSp modSp ord">
        <pc:chgData name="Maike TADDIKEN (DSI)" userId="S::maike.taddiken_dsi-as.de#ext#@antunibremen.onmicrosoft.com::6657eb3a-1a1c-40e2-97f3-817609e7430a" providerId="AD" clId="Web-{C1C02B4B-032A-66D0-A452-B750F4A41113}" dt="2024-10-22T10:30:41.941" v="178" actId="20577"/>
        <pc:sldMkLst>
          <pc:docMk/>
          <pc:sldMk cId="319463743" sldId="2147472549"/>
        </pc:sldMkLst>
      </pc:sldChg>
      <pc:sldChg chg="del">
        <pc:chgData name="Maike TADDIKEN (DSI)" userId="S::maike.taddiken_dsi-as.de#ext#@antunibremen.onmicrosoft.com::6657eb3a-1a1c-40e2-97f3-817609e7430a" providerId="AD" clId="Web-{C1C02B4B-032A-66D0-A452-B750F4A41113}" dt="2024-10-22T10:23:47.306" v="3"/>
        <pc:sldMkLst>
          <pc:docMk/>
          <pc:sldMk cId="1581096663" sldId="2147472568"/>
        </pc:sldMkLst>
      </pc:sldChg>
      <pc:sldChg chg="modSp ord">
        <pc:chgData name="Maike TADDIKEN (DSI)" userId="S::maike.taddiken_dsi-as.de#ext#@antunibremen.onmicrosoft.com::6657eb3a-1a1c-40e2-97f3-817609e7430a" providerId="AD" clId="Web-{C1C02B4B-032A-66D0-A452-B750F4A41113}" dt="2024-10-22T10:32:01.660" v="261" actId="20577"/>
        <pc:sldMkLst>
          <pc:docMk/>
          <pc:sldMk cId="1638095463" sldId="2147476906"/>
        </pc:sldMkLst>
      </pc:sldChg>
      <pc:sldChg chg="modSp add">
        <pc:chgData name="Maike TADDIKEN (DSI)" userId="S::maike.taddiken_dsi-as.de#ext#@antunibremen.onmicrosoft.com::6657eb3a-1a1c-40e2-97f3-817609e7430a" providerId="AD" clId="Web-{C1C02B4B-032A-66D0-A452-B750F4A41113}" dt="2024-10-22T10:29:37.033" v="169" actId="20577"/>
        <pc:sldMkLst>
          <pc:docMk/>
          <pc:sldMk cId="1793790395" sldId="2147476910"/>
        </pc:sldMkLst>
      </pc:sldChg>
      <pc:sldChg chg="modSp add del replId">
        <pc:chgData name="Maike TADDIKEN (DSI)" userId="S::maike.taddiken_dsi-as.de#ext#@antunibremen.onmicrosoft.com::6657eb3a-1a1c-40e2-97f3-817609e7430a" providerId="AD" clId="Web-{C1C02B4B-032A-66D0-A452-B750F4A41113}" dt="2024-10-22T10:32:11.363" v="262"/>
        <pc:sldMkLst>
          <pc:docMk/>
          <pc:sldMk cId="412911580" sldId="2147476911"/>
        </pc:sldMkLst>
      </pc:sldChg>
    </pc:docChg>
  </pc:docChgLst>
  <pc:docChgLst>
    <pc:chgData name="Reiner Stuhlfauth" userId="S::reiner.stuhlfauth_rohde-schwarz.com#ext#@antunibremen.onmicrosoft.com::b5ce808b-811b-4338-bec2-c43e4565a4f5" providerId="AD" clId="Web-{F803742D-53B6-D717-7943-BC01DBBBBC7A}"/>
    <pc:docChg chg="addSld delSld modSld modSection">
      <pc:chgData name="Reiner Stuhlfauth" userId="S::reiner.stuhlfauth_rohde-schwarz.com#ext#@antunibremen.onmicrosoft.com::b5ce808b-811b-4338-bec2-c43e4565a4f5" providerId="AD" clId="Web-{F803742D-53B6-D717-7943-BC01DBBBBC7A}" dt="2025-03-27T10:45:28.074" v="57" actId="1076"/>
      <pc:docMkLst>
        <pc:docMk/>
      </pc:docMkLst>
      <pc:sldChg chg="addSp modSp add">
        <pc:chgData name="Reiner Stuhlfauth" userId="S::reiner.stuhlfauth_rohde-schwarz.com#ext#@antunibremen.onmicrosoft.com::b5ce808b-811b-4338-bec2-c43e4565a4f5" providerId="AD" clId="Web-{F803742D-53B6-D717-7943-BC01DBBBBC7A}" dt="2025-03-27T10:45:28.074" v="57" actId="1076"/>
        <pc:sldMkLst>
          <pc:docMk/>
          <pc:sldMk cId="3162997244" sldId="2147375812"/>
        </pc:sldMkLst>
        <pc:spChg chg="add mod">
          <ac:chgData name="Reiner Stuhlfauth" userId="S::reiner.stuhlfauth_rohde-schwarz.com#ext#@antunibremen.onmicrosoft.com::b5ce808b-811b-4338-bec2-c43e4565a4f5" providerId="AD" clId="Web-{F803742D-53B6-D717-7943-BC01DBBBBC7A}" dt="2025-03-27T10:45:20.465" v="56" actId="20577"/>
          <ac:spMkLst>
            <pc:docMk/>
            <pc:sldMk cId="3162997244" sldId="2147375812"/>
            <ac:spMk id="4" creationId="{41FCF3AD-47E7-ADB4-9B7E-6DBDFD145B95}"/>
          </ac:spMkLst>
        </pc:spChg>
        <pc:spChg chg="mod">
          <ac:chgData name="Reiner Stuhlfauth" userId="S::reiner.stuhlfauth_rohde-schwarz.com#ext#@antunibremen.onmicrosoft.com::b5ce808b-811b-4338-bec2-c43e4565a4f5" providerId="AD" clId="Web-{F803742D-53B6-D717-7943-BC01DBBBBC7A}" dt="2025-03-27T10:45:28.074" v="57" actId="1076"/>
          <ac:spMkLst>
            <pc:docMk/>
            <pc:sldMk cId="3162997244" sldId="2147375812"/>
            <ac:spMk id="57" creationId="{6A71C120-9BF7-4578-B162-4180C7C40620}"/>
          </ac:spMkLst>
        </pc:spChg>
        <pc:spChg chg="mod">
          <ac:chgData name="Reiner Stuhlfauth" userId="S::reiner.stuhlfauth_rohde-schwarz.com#ext#@antunibremen.onmicrosoft.com::b5ce808b-811b-4338-bec2-c43e4565a4f5" providerId="AD" clId="Web-{F803742D-53B6-D717-7943-BC01DBBBBC7A}" dt="2025-03-27T10:44:51.682" v="48" actId="1076"/>
          <ac:spMkLst>
            <pc:docMk/>
            <pc:sldMk cId="3162997244" sldId="2147375812"/>
            <ac:spMk id="58" creationId="{888B7949-AE26-4802-AF6D-7BB729620AE8}"/>
          </ac:spMkLst>
        </pc:spChg>
        <pc:spChg chg="mod">
          <ac:chgData name="Reiner Stuhlfauth" userId="S::reiner.stuhlfauth_rohde-schwarz.com#ext#@antunibremen.onmicrosoft.com::b5ce808b-811b-4338-bec2-c43e4565a4f5" providerId="AD" clId="Web-{F803742D-53B6-D717-7943-BC01DBBBBC7A}" dt="2025-03-27T10:45:07.261" v="53" actId="1076"/>
          <ac:spMkLst>
            <pc:docMk/>
            <pc:sldMk cId="3162997244" sldId="2147375812"/>
            <ac:spMk id="65" creationId="{A36E8286-E3CB-4BE8-B945-ECC304152618}"/>
          </ac:spMkLst>
        </pc:spChg>
      </pc:sldChg>
      <pc:sldChg chg="addSp delSp modSp add del replId">
        <pc:chgData name="Reiner Stuhlfauth" userId="S::reiner.stuhlfauth_rohde-schwarz.com#ext#@antunibremen.onmicrosoft.com::b5ce808b-811b-4338-bec2-c43e4565a4f5" providerId="AD" clId="Web-{F803742D-53B6-D717-7943-BC01DBBBBC7A}" dt="2025-03-27T10:33:18.533" v="46"/>
        <pc:sldMkLst>
          <pc:docMk/>
          <pc:sldMk cId="3609281098" sldId="2147477075"/>
        </pc:sldMkLst>
      </pc:sldChg>
    </pc:docChg>
  </pc:docChgLst>
  <pc:docChgLst>
    <pc:chgData name="Breitbach, Markus" userId="S::m.breitbach_telekom.de#ext#@antunibremen.onmicrosoft.com::10c158ad-965e-4490-8b4a-81e4e8a03889" providerId="AD" clId="Web-{5A577D45-28C3-8E2E-CCBF-C10C349EF2D7}"/>
    <pc:docChg chg="modSld sldOrd">
      <pc:chgData name="Breitbach, Markus" userId="S::m.breitbach_telekom.de#ext#@antunibremen.onmicrosoft.com::10c158ad-965e-4490-8b4a-81e4e8a03889" providerId="AD" clId="Web-{5A577D45-28C3-8E2E-CCBF-C10C349EF2D7}" dt="2025-03-27T10:18:47.306" v="12" actId="20577"/>
      <pc:docMkLst>
        <pc:docMk/>
      </pc:docMkLst>
      <pc:sldChg chg="modSp">
        <pc:chgData name="Breitbach, Markus" userId="S::m.breitbach_telekom.de#ext#@antunibremen.onmicrosoft.com::10c158ad-965e-4490-8b4a-81e4e8a03889" providerId="AD" clId="Web-{5A577D45-28C3-8E2E-CCBF-C10C349EF2D7}" dt="2025-03-26T08:19:06.117" v="2" actId="20577"/>
        <pc:sldMkLst>
          <pc:docMk/>
          <pc:sldMk cId="473860687" sldId="286"/>
        </pc:sldMkLst>
        <pc:spChg chg="mod">
          <ac:chgData name="Breitbach, Markus" userId="S::m.breitbach_telekom.de#ext#@antunibremen.onmicrosoft.com::10c158ad-965e-4490-8b4a-81e4e8a03889" providerId="AD" clId="Web-{5A577D45-28C3-8E2E-CCBF-C10C349EF2D7}" dt="2025-03-26T08:19:06.117" v="2" actId="20577"/>
          <ac:spMkLst>
            <pc:docMk/>
            <pc:sldMk cId="473860687" sldId="286"/>
            <ac:spMk id="7" creationId="{532344E9-8CF6-4E05-AE87-137ACD63E2BE}"/>
          </ac:spMkLst>
        </pc:spChg>
      </pc:sldChg>
      <pc:sldChg chg="modSp">
        <pc:chgData name="Breitbach, Markus" userId="S::m.breitbach_telekom.de#ext#@antunibremen.onmicrosoft.com::10c158ad-965e-4490-8b4a-81e4e8a03889" providerId="AD" clId="Web-{5A577D45-28C3-8E2E-CCBF-C10C349EF2D7}" dt="2025-03-27T10:18:47.306" v="12" actId="20577"/>
        <pc:sldMkLst>
          <pc:docMk/>
          <pc:sldMk cId="18779260" sldId="299"/>
        </pc:sldMkLst>
        <pc:spChg chg="mod">
          <ac:chgData name="Breitbach, Markus" userId="S::m.breitbach_telekom.de#ext#@antunibremen.onmicrosoft.com::10c158ad-965e-4490-8b4a-81e4e8a03889" providerId="AD" clId="Web-{5A577D45-28C3-8E2E-CCBF-C10C349EF2D7}" dt="2025-03-27T10:18:47.306" v="12" actId="20577"/>
          <ac:spMkLst>
            <pc:docMk/>
            <pc:sldMk cId="18779260" sldId="299"/>
            <ac:spMk id="20" creationId="{F8C1D0D8-87A0-4E2B-9499-DB7D07575A68}"/>
          </ac:spMkLst>
        </pc:spChg>
      </pc:sldChg>
      <pc:sldChg chg="ord">
        <pc:chgData name="Breitbach, Markus" userId="S::m.breitbach_telekom.de#ext#@antunibremen.onmicrosoft.com::10c158ad-965e-4490-8b4a-81e4e8a03889" providerId="AD" clId="Web-{5A577D45-28C3-8E2E-CCBF-C10C349EF2D7}" dt="2025-03-26T09:09:58.523" v="3"/>
        <pc:sldMkLst>
          <pc:docMk/>
          <pc:sldMk cId="484452169" sldId="2147477049"/>
        </pc:sldMkLst>
      </pc:sldChg>
      <pc:sldChg chg="modSp">
        <pc:chgData name="Breitbach, Markus" userId="S::m.breitbach_telekom.de#ext#@antunibremen.onmicrosoft.com::10c158ad-965e-4490-8b4a-81e4e8a03889" providerId="AD" clId="Web-{5A577D45-28C3-8E2E-CCBF-C10C349EF2D7}" dt="2025-03-26T09:11:48.812" v="4" actId="14100"/>
        <pc:sldMkLst>
          <pc:docMk/>
          <pc:sldMk cId="2301428776" sldId="2147477070"/>
        </pc:sldMkLst>
      </pc:sldChg>
    </pc:docChg>
  </pc:docChgLst>
  <pc:docChgLst>
    <pc:chgData name="Dennis Buchberger" userId="S::buchberger@ant.uni-bremen.de::cfe5e5e7-b999-4ed2-8d25-bbd6e3df32e4" providerId="AD" clId="Web-{B6E0DF80-BFBA-0818-08D1-003D19308911}"/>
    <pc:docChg chg="modSld">
      <pc:chgData name="Dennis Buchberger" userId="S::buchberger@ant.uni-bremen.de::cfe5e5e7-b999-4ed2-8d25-bbd6e3df32e4" providerId="AD" clId="Web-{B6E0DF80-BFBA-0818-08D1-003D19308911}" dt="2024-10-23T07:22:04.268" v="2"/>
      <pc:docMkLst>
        <pc:docMk/>
      </pc:docMkLst>
      <pc:sldChg chg="mod modShow">
        <pc:chgData name="Dennis Buchberger" userId="S::buchberger@ant.uni-bremen.de::cfe5e5e7-b999-4ed2-8d25-bbd6e3df32e4" providerId="AD" clId="Web-{B6E0DF80-BFBA-0818-08D1-003D19308911}" dt="2024-10-23T07:22:04.268" v="2"/>
        <pc:sldMkLst>
          <pc:docMk/>
          <pc:sldMk cId="1553401679" sldId="2147476912"/>
        </pc:sldMkLst>
      </pc:sldChg>
    </pc:docChg>
  </pc:docChgLst>
  <pc:docChgLst>
    <pc:chgData name="federico.clazzer@dlr.de" userId="S::federico.clazzer_dlr.de#ext#@antunibremen.onmicrosoft.com::168cc1cf-d8c9-4959-a554-a7f2ef4eaad8" providerId="AD" clId="Web-{1CD95302-AFE2-7334-8EED-06BA08355DE3}"/>
    <pc:docChg chg="addSld modSld sldOrd modSection">
      <pc:chgData name="federico.clazzer@dlr.de" userId="S::federico.clazzer_dlr.de#ext#@antunibremen.onmicrosoft.com::168cc1cf-d8c9-4959-a554-a7f2ef4eaad8" providerId="AD" clId="Web-{1CD95302-AFE2-7334-8EED-06BA08355DE3}" dt="2025-02-27T13:47:50.316" v="1330"/>
      <pc:docMkLst>
        <pc:docMk/>
      </pc:docMkLst>
      <pc:sldChg chg="modSp ord">
        <pc:chgData name="federico.clazzer@dlr.de" userId="S::federico.clazzer_dlr.de#ext#@antunibremen.onmicrosoft.com::168cc1cf-d8c9-4959-a554-a7f2ef4eaad8" providerId="AD" clId="Web-{1CD95302-AFE2-7334-8EED-06BA08355DE3}" dt="2025-02-27T13:47:50.316" v="1330"/>
        <pc:sldMkLst>
          <pc:docMk/>
          <pc:sldMk cId="1139371620" sldId="2147476935"/>
        </pc:sldMkLst>
      </pc:sldChg>
      <pc:sldChg chg="addSp delSp modSp add replId">
        <pc:chgData name="federico.clazzer@dlr.de" userId="S::federico.clazzer_dlr.de#ext#@antunibremen.onmicrosoft.com::168cc1cf-d8c9-4959-a554-a7f2ef4eaad8" providerId="AD" clId="Web-{1CD95302-AFE2-7334-8EED-06BA08355DE3}" dt="2025-02-27T13:44:17.936" v="1282" actId="1076"/>
        <pc:sldMkLst>
          <pc:docMk/>
          <pc:sldMk cId="623368216" sldId="2147476965"/>
        </pc:sldMkLst>
      </pc:sldChg>
      <pc:sldChg chg="addSp modSp add replId">
        <pc:chgData name="federico.clazzer@dlr.de" userId="S::federico.clazzer_dlr.de#ext#@antunibremen.onmicrosoft.com::168cc1cf-d8c9-4959-a554-a7f2ef4eaad8" providerId="AD" clId="Web-{1CD95302-AFE2-7334-8EED-06BA08355DE3}" dt="2025-02-27T13:47:22.425" v="1296" actId="1076"/>
        <pc:sldMkLst>
          <pc:docMk/>
          <pc:sldMk cId="2073582900" sldId="2147476966"/>
        </pc:sldMkLst>
      </pc:sldChg>
      <pc:sldChg chg="modSp add replId">
        <pc:chgData name="federico.clazzer@dlr.de" userId="S::federico.clazzer_dlr.de#ext#@antunibremen.onmicrosoft.com::168cc1cf-d8c9-4959-a554-a7f2ef4eaad8" providerId="AD" clId="Web-{1CD95302-AFE2-7334-8EED-06BA08355DE3}" dt="2025-02-27T13:40:01.399" v="1275" actId="20577"/>
        <pc:sldMkLst>
          <pc:docMk/>
          <pc:sldMk cId="313851721" sldId="2147476967"/>
        </pc:sldMkLst>
      </pc:sldChg>
    </pc:docChg>
  </pc:docChgLst>
  <pc:docChgLst>
    <pc:chgData name="Dirk Wübben" userId="S::wuebben@ant.uni-bremen.de::a27602df-5b54-480c-866c-64260ceb4949" providerId="AD" clId="Web-{00498648-8A0D-F592-CBFA-A66DF2DAFDFC}"/>
    <pc:docChg chg="addSld modSld">
      <pc:chgData name="Dirk Wübben" userId="S::wuebben@ant.uni-bremen.de::a27602df-5b54-480c-866c-64260ceb4949" providerId="AD" clId="Web-{00498648-8A0D-F592-CBFA-A66DF2DAFDFC}" dt="2025-03-14T08:50:58.460" v="24" actId="20577"/>
      <pc:docMkLst>
        <pc:docMk/>
      </pc:docMkLst>
      <pc:sldChg chg="modSp new mod modClrScheme chgLayout">
        <pc:chgData name="Dirk Wübben" userId="S::wuebben@ant.uni-bremen.de::a27602df-5b54-480c-866c-64260ceb4949" providerId="AD" clId="Web-{00498648-8A0D-F592-CBFA-A66DF2DAFDFC}" dt="2025-03-14T08:50:42.459" v="11" actId="20577"/>
        <pc:sldMkLst>
          <pc:docMk/>
          <pc:sldMk cId="3918639821" sldId="2147477019"/>
        </pc:sldMkLst>
        <pc:spChg chg="mod ord">
          <ac:chgData name="Dirk Wübben" userId="S::wuebben@ant.uni-bremen.de::a27602df-5b54-480c-866c-64260ceb4949" providerId="AD" clId="Web-{00498648-8A0D-F592-CBFA-A66DF2DAFDFC}" dt="2025-03-14T08:50:42.459" v="11" actId="20577"/>
          <ac:spMkLst>
            <pc:docMk/>
            <pc:sldMk cId="3918639821" sldId="2147477019"/>
            <ac:spMk id="2" creationId="{6E67447F-64BC-A060-1E84-F524D6BDDF47}"/>
          </ac:spMkLst>
        </pc:spChg>
      </pc:sldChg>
      <pc:sldChg chg="delSp modSp new mod modClrScheme chgLayout">
        <pc:chgData name="Dirk Wübben" userId="S::wuebben@ant.uni-bremen.de::a27602df-5b54-480c-866c-64260ceb4949" providerId="AD" clId="Web-{00498648-8A0D-F592-CBFA-A66DF2DAFDFC}" dt="2025-03-14T08:50:58.460" v="24" actId="20577"/>
        <pc:sldMkLst>
          <pc:docMk/>
          <pc:sldMk cId="1981480036" sldId="2147477020"/>
        </pc:sldMkLst>
        <pc:spChg chg="mod ord">
          <ac:chgData name="Dirk Wübben" userId="S::wuebben@ant.uni-bremen.de::a27602df-5b54-480c-866c-64260ceb4949" providerId="AD" clId="Web-{00498648-8A0D-F592-CBFA-A66DF2DAFDFC}" dt="2025-03-14T08:50:58.460" v="24" actId="20577"/>
          <ac:spMkLst>
            <pc:docMk/>
            <pc:sldMk cId="1981480036" sldId="2147477020"/>
            <ac:spMk id="2" creationId="{262D5F6B-5BF0-B37C-D70B-86AB33F51D08}"/>
          </ac:spMkLst>
        </pc:spChg>
        <pc:spChg chg="mod ord">
          <ac:chgData name="Dirk Wübben" userId="S::wuebben@ant.uni-bremen.de::a27602df-5b54-480c-866c-64260ceb4949" providerId="AD" clId="Web-{00498648-8A0D-F592-CBFA-A66DF2DAFDFC}" dt="2025-03-14T08:50:53.459" v="13"/>
          <ac:spMkLst>
            <pc:docMk/>
            <pc:sldMk cId="1981480036" sldId="2147477020"/>
            <ac:spMk id="3" creationId="{C363908A-4267-394E-3BE5-35C19668102A}"/>
          </ac:spMkLst>
        </pc:spChg>
      </pc:sldChg>
    </pc:docChg>
  </pc:docChgLst>
  <pc:docChgLst>
    <pc:chgData name="Hammouda Marwan" userId="S::hammouda@ant.uni-bremen.de::141c87ca-9386-4b1c-88e0-e9251bd241ba" providerId="AD" clId="Web-{A894D7E6-5AF2-95E4-F4A9-80AE86BED07C}"/>
    <pc:docChg chg="modSld">
      <pc:chgData name="Hammouda Marwan" userId="S::hammouda@ant.uni-bremen.de::141c87ca-9386-4b1c-88e0-e9251bd241ba" providerId="AD" clId="Web-{A894D7E6-5AF2-95E4-F4A9-80AE86BED07C}" dt="2025-02-26T11:56:35.273" v="746"/>
      <pc:docMkLst>
        <pc:docMk/>
      </pc:docMkLst>
      <pc:sldChg chg="modSp">
        <pc:chgData name="Hammouda Marwan" userId="S::hammouda@ant.uni-bremen.de::141c87ca-9386-4b1c-88e0-e9251bd241ba" providerId="AD" clId="Web-{A894D7E6-5AF2-95E4-F4A9-80AE86BED07C}" dt="2025-02-26T11:56:35.273" v="746"/>
        <pc:sldMkLst>
          <pc:docMk/>
          <pc:sldMk cId="1139371620" sldId="2147476935"/>
        </pc:sldMkLst>
      </pc:sldChg>
    </pc:docChg>
  </pc:docChgLst>
  <pc:docChgLst>
    <pc:chgData name="benjamin.barth@dlr.de" userId="S::benjamin.barth_dlr.de#ext#@antunibremen.onmicrosoft.com::125bcdd7-effb-4ed3-ab95-be7e18fe1b24" providerId="AD" clId="Web-{43EBA662-D4C2-BFB2-02C5-8FB5C0FC1FF1}"/>
    <pc:docChg chg="modSld">
      <pc:chgData name="benjamin.barth@dlr.de" userId="S::benjamin.barth_dlr.de#ext#@antunibremen.onmicrosoft.com::125bcdd7-effb-4ed3-ab95-be7e18fe1b24" providerId="AD" clId="Web-{43EBA662-D4C2-BFB2-02C5-8FB5C0FC1FF1}" dt="2025-03-28T10:03:39.077" v="170" actId="20577"/>
      <pc:docMkLst>
        <pc:docMk/>
      </pc:docMkLst>
      <pc:sldChg chg="modSp">
        <pc:chgData name="benjamin.barth@dlr.de" userId="S::benjamin.barth_dlr.de#ext#@antunibremen.onmicrosoft.com::125bcdd7-effb-4ed3-ab95-be7e18fe1b24" providerId="AD" clId="Web-{43EBA662-D4C2-BFB2-02C5-8FB5C0FC1FF1}" dt="2025-03-28T10:03:39.077" v="170" actId="20577"/>
        <pc:sldMkLst>
          <pc:docMk/>
          <pc:sldMk cId="3161152169" sldId="2147477035"/>
        </pc:sldMkLst>
        <pc:spChg chg="mod">
          <ac:chgData name="benjamin.barth@dlr.de" userId="S::benjamin.barth_dlr.de#ext#@antunibremen.onmicrosoft.com::125bcdd7-effb-4ed3-ab95-be7e18fe1b24" providerId="AD" clId="Web-{43EBA662-D4C2-BFB2-02C5-8FB5C0FC1FF1}" dt="2025-03-28T10:03:39.077" v="170" actId="20577"/>
          <ac:spMkLst>
            <pc:docMk/>
            <pc:sldMk cId="3161152169" sldId="2147477035"/>
            <ac:spMk id="4" creationId="{A7AF831F-B423-4FF1-91C3-B1CCCA8C8EF8}"/>
          </ac:spMkLst>
        </pc:spChg>
      </pc:sldChg>
    </pc:docChg>
  </pc:docChgLst>
  <pc:docChgLst>
    <pc:chgData name="Maike TADDIKEN (DSI)" userId="S::maike.taddiken_dsi-as.de#ext#@antunibremen.onmicrosoft.com::6657eb3a-1a1c-40e2-97f3-817609e7430a" providerId="AD" clId="Web-{B2EA12F5-B4A9-7591-F816-DCB9A9836D6E}"/>
    <pc:docChg chg="modSld">
      <pc:chgData name="Maike TADDIKEN (DSI)" userId="S::maike.taddiken_dsi-as.de#ext#@antunibremen.onmicrosoft.com::6657eb3a-1a1c-40e2-97f3-817609e7430a" providerId="AD" clId="Web-{B2EA12F5-B4A9-7591-F816-DCB9A9836D6E}" dt="2024-03-07T15:52:25.330" v="114" actId="20577"/>
      <pc:docMkLst>
        <pc:docMk/>
      </pc:docMkLst>
      <pc:sldChg chg="modSp">
        <pc:chgData name="Maike TADDIKEN (DSI)" userId="S::maike.taddiken_dsi-as.de#ext#@antunibremen.onmicrosoft.com::6657eb3a-1a1c-40e2-97f3-817609e7430a" providerId="AD" clId="Web-{B2EA12F5-B4A9-7591-F816-DCB9A9836D6E}" dt="2024-03-07T15:52:25.330" v="114" actId="20577"/>
        <pc:sldMkLst>
          <pc:docMk/>
          <pc:sldMk cId="319463743" sldId="2147472549"/>
        </pc:sldMkLst>
      </pc:sldChg>
    </pc:docChg>
  </pc:docChgLst>
  <pc:docChgLst>
    <pc:chgData name="Dennis Buchberger" userId="S::buchberger@ant.uni-bremen.de::cfe5e5e7-b999-4ed2-8d25-bbd6e3df32e4" providerId="AD" clId="Web-{85240DDA-2B86-51EF-A9E1-0D2F99064367}"/>
    <pc:docChg chg="addSld delSld modSld sldOrd modSection">
      <pc:chgData name="Dennis Buchberger" userId="S::buchberger@ant.uni-bremen.de::cfe5e5e7-b999-4ed2-8d25-bbd6e3df32e4" providerId="AD" clId="Web-{85240DDA-2B86-51EF-A9E1-0D2F99064367}" dt="2025-02-25T14:12:52.404" v="474" actId="20577"/>
      <pc:docMkLst>
        <pc:docMk/>
      </pc:docMkLst>
      <pc:sldChg chg="modSp">
        <pc:chgData name="Dennis Buchberger" userId="S::buchberger@ant.uni-bremen.de::cfe5e5e7-b999-4ed2-8d25-bbd6e3df32e4" providerId="AD" clId="Web-{85240DDA-2B86-51EF-A9E1-0D2F99064367}" dt="2025-02-25T11:37:01.550" v="14" actId="20577"/>
        <pc:sldMkLst>
          <pc:docMk/>
          <pc:sldMk cId="912650279" sldId="2147476917"/>
        </pc:sldMkLst>
      </pc:sldChg>
      <pc:sldChg chg="addSp delSp modSp ord delAnim">
        <pc:chgData name="Dennis Buchberger" userId="S::buchberger@ant.uni-bremen.de::cfe5e5e7-b999-4ed2-8d25-bbd6e3df32e4" providerId="AD" clId="Web-{85240DDA-2B86-51EF-A9E1-0D2F99064367}" dt="2025-02-25T12:04:49.134" v="382" actId="20577"/>
        <pc:sldMkLst>
          <pc:docMk/>
          <pc:sldMk cId="3801953932" sldId="2147476937"/>
        </pc:sldMkLst>
      </pc:sldChg>
      <pc:sldChg chg="modSp add replId">
        <pc:chgData name="Dennis Buchberger" userId="S::buchberger@ant.uni-bremen.de::cfe5e5e7-b999-4ed2-8d25-bbd6e3df32e4" providerId="AD" clId="Web-{85240DDA-2B86-51EF-A9E1-0D2F99064367}" dt="2025-02-25T11:37:18.738" v="19" actId="20577"/>
        <pc:sldMkLst>
          <pc:docMk/>
          <pc:sldMk cId="2477760750" sldId="2147476938"/>
        </pc:sldMkLst>
      </pc:sldChg>
      <pc:sldChg chg="new del">
        <pc:chgData name="Dennis Buchberger" userId="S::buchberger@ant.uni-bremen.de::cfe5e5e7-b999-4ed2-8d25-bbd6e3df32e4" providerId="AD" clId="Web-{85240DDA-2B86-51EF-A9E1-0D2F99064367}" dt="2025-02-25T11:36:37.080" v="1"/>
        <pc:sldMkLst>
          <pc:docMk/>
          <pc:sldMk cId="4132223654" sldId="2147476938"/>
        </pc:sldMkLst>
      </pc:sldChg>
      <pc:sldChg chg="addSp delSp modSp new mod setBg">
        <pc:chgData name="Dennis Buchberger" userId="S::buchberger@ant.uni-bremen.de::cfe5e5e7-b999-4ed2-8d25-bbd6e3df32e4" providerId="AD" clId="Web-{85240DDA-2B86-51EF-A9E1-0D2F99064367}" dt="2025-02-25T11:55:34.007" v="145" actId="20577"/>
        <pc:sldMkLst>
          <pc:docMk/>
          <pc:sldMk cId="2848802291" sldId="2147476939"/>
        </pc:sldMkLst>
      </pc:sldChg>
      <pc:sldChg chg="addSp delSp modSp add ord replId">
        <pc:chgData name="Dennis Buchberger" userId="S::buchberger@ant.uni-bremen.de::cfe5e5e7-b999-4ed2-8d25-bbd6e3df32e4" providerId="AD" clId="Web-{85240DDA-2B86-51EF-A9E1-0D2F99064367}" dt="2025-02-25T11:59:26.780" v="240"/>
        <pc:sldMkLst>
          <pc:docMk/>
          <pc:sldMk cId="1748253299" sldId="2147476940"/>
        </pc:sldMkLst>
      </pc:sldChg>
      <pc:sldChg chg="addSp delSp modSp new mod setBg">
        <pc:chgData name="Dennis Buchberger" userId="S::buchberger@ant.uni-bremen.de::cfe5e5e7-b999-4ed2-8d25-bbd6e3df32e4" providerId="AD" clId="Web-{85240DDA-2B86-51EF-A9E1-0D2F99064367}" dt="2025-02-25T12:01:06.720" v="319" actId="20577"/>
        <pc:sldMkLst>
          <pc:docMk/>
          <pc:sldMk cId="2401955631" sldId="2147476941"/>
        </pc:sldMkLst>
      </pc:sldChg>
      <pc:sldChg chg="delSp modSp add replId">
        <pc:chgData name="Dennis Buchberger" userId="S::buchberger@ant.uni-bremen.de::cfe5e5e7-b999-4ed2-8d25-bbd6e3df32e4" providerId="AD" clId="Web-{85240DDA-2B86-51EF-A9E1-0D2F99064367}" dt="2025-02-25T12:01:47.659" v="341" actId="1076"/>
        <pc:sldMkLst>
          <pc:docMk/>
          <pc:sldMk cId="1077208484" sldId="2147476942"/>
        </pc:sldMkLst>
      </pc:sldChg>
      <pc:sldChg chg="addSp delSp modSp new">
        <pc:chgData name="Dennis Buchberger" userId="S::buchberger@ant.uni-bremen.de::cfe5e5e7-b999-4ed2-8d25-bbd6e3df32e4" providerId="AD" clId="Web-{85240DDA-2B86-51EF-A9E1-0D2F99064367}" dt="2025-02-25T14:12:52.404" v="474" actId="20577"/>
        <pc:sldMkLst>
          <pc:docMk/>
          <pc:sldMk cId="3223803219" sldId="2147476943"/>
        </pc:sldMkLst>
      </pc:sldChg>
    </pc:docChg>
  </pc:docChgLst>
  <pc:docChgLst>
    <pc:chgData name="Dennis Buchberger" userId="S::buchberger@ant.uni-bremen.de::cfe5e5e7-b999-4ed2-8d25-bbd6e3df32e4" providerId="AD" clId="Web-{0767CA08-B355-7E09-46D4-170776ED3225}"/>
    <pc:docChg chg="modSld">
      <pc:chgData name="Dennis Buchberger" userId="S::buchberger@ant.uni-bremen.de::cfe5e5e7-b999-4ed2-8d25-bbd6e3df32e4" providerId="AD" clId="Web-{0767CA08-B355-7E09-46D4-170776ED3225}" dt="2024-10-21T10:51:15.183" v="6" actId="1076"/>
      <pc:docMkLst>
        <pc:docMk/>
      </pc:docMkLst>
      <pc:sldChg chg="addSp delSp modSp">
        <pc:chgData name="Dennis Buchberger" userId="S::buchberger@ant.uni-bremen.de::cfe5e5e7-b999-4ed2-8d25-bbd6e3df32e4" providerId="AD" clId="Web-{0767CA08-B355-7E09-46D4-170776ED3225}" dt="2024-10-21T10:51:15.183" v="6" actId="1076"/>
        <pc:sldMkLst>
          <pc:docMk/>
          <pc:sldMk cId="1194833940" sldId="2147476878"/>
        </pc:sldMkLst>
      </pc:sldChg>
    </pc:docChg>
  </pc:docChgLst>
  <pc:docChgLst>
    <pc:chgData name="Breitbach, Markus" userId="S::m.breitbach_telekom.de#ext#@antunibremen.onmicrosoft.com::10c158ad-965e-4490-8b4a-81e4e8a03889" providerId="AD" clId="Web-{D8AB0D1E-F87C-B2B0-ACC8-43110874F046}"/>
    <pc:docChg chg="addSld modSld modSection">
      <pc:chgData name="Breitbach, Markus" userId="S::m.breitbach_telekom.de#ext#@antunibremen.onmicrosoft.com::10c158ad-965e-4490-8b4a-81e4e8a03889" providerId="AD" clId="Web-{D8AB0D1E-F87C-B2B0-ACC8-43110874F046}" dt="2025-03-25T21:14:19.934" v="17" actId="1076"/>
      <pc:docMkLst>
        <pc:docMk/>
      </pc:docMkLst>
      <pc:sldChg chg="addSp delSp modSp add modNotes">
        <pc:chgData name="Breitbach, Markus" userId="S::m.breitbach_telekom.de#ext#@antunibremen.onmicrosoft.com::10c158ad-965e-4490-8b4a-81e4e8a03889" providerId="AD" clId="Web-{D8AB0D1E-F87C-B2B0-ACC8-43110874F046}" dt="2025-03-25T21:14:19.934" v="17" actId="1076"/>
        <pc:sldMkLst>
          <pc:docMk/>
          <pc:sldMk cId="1092017827" sldId="2147477046"/>
        </pc:sldMkLst>
      </pc:sldChg>
    </pc:docChg>
  </pc:docChgLst>
  <pc:docChgLst>
    <pc:chgData name="Dennis Buchberger" userId="S::buchberger@ant.uni-bremen.de::cfe5e5e7-b999-4ed2-8d25-bbd6e3df32e4" providerId="AD" clId="Web-{3F586881-07D6-8598-E0BC-F2EFA5E1D26E}"/>
    <pc:docChg chg="modSld sldOrd">
      <pc:chgData name="Dennis Buchberger" userId="S::buchberger@ant.uni-bremen.de::cfe5e5e7-b999-4ed2-8d25-bbd6e3df32e4" providerId="AD" clId="Web-{3F586881-07D6-8598-E0BC-F2EFA5E1D26E}" dt="2024-10-23T11:44:07.539" v="6" actId="20577"/>
      <pc:docMkLst>
        <pc:docMk/>
      </pc:docMkLst>
      <pc:sldChg chg="modSp ord">
        <pc:chgData name="Dennis Buchberger" userId="S::buchberger@ant.uni-bremen.de::cfe5e5e7-b999-4ed2-8d25-bbd6e3df32e4" providerId="AD" clId="Web-{3F586881-07D6-8598-E0BC-F2EFA5E1D26E}" dt="2024-10-23T11:44:07.539" v="6" actId="20577"/>
        <pc:sldMkLst>
          <pc:docMk/>
          <pc:sldMk cId="2703493096" sldId="2147472560"/>
        </pc:sldMkLst>
      </pc:sldChg>
    </pc:docChg>
  </pc:docChgLst>
  <pc:docChgLst>
    <pc:chgData name="daurembekova@eit.uni-kl.de" userId="S::daurembekova_eit.uni-kl.de#ext#@antunibremen.onmicrosoft.com::1550135a-cb22-4283-bb7f-d226a501e7e9" providerId="AD" clId="Web-{BF1B295D-CA86-EE82-4F17-AC1D36DDF929}"/>
    <pc:docChg chg="addSld delSld modSld sldOrd addSection modSection">
      <pc:chgData name="daurembekova@eit.uni-kl.de" userId="S::daurembekova_eit.uni-kl.de#ext#@antunibremen.onmicrosoft.com::1550135a-cb22-4283-bb7f-d226a501e7e9" providerId="AD" clId="Web-{BF1B295D-CA86-EE82-4F17-AC1D36DDF929}" dt="2024-10-16T12:29:45.125" v="753" actId="20577"/>
      <pc:docMkLst>
        <pc:docMk/>
      </pc:docMkLst>
      <pc:sldChg chg="modSp">
        <pc:chgData name="daurembekova@eit.uni-kl.de" userId="S::daurembekova_eit.uni-kl.de#ext#@antunibremen.onmicrosoft.com::1550135a-cb22-4283-bb7f-d226a501e7e9" providerId="AD" clId="Web-{BF1B295D-CA86-EE82-4F17-AC1D36DDF929}" dt="2024-10-16T12:29:35.953" v="749" actId="20577"/>
        <pc:sldMkLst>
          <pc:docMk/>
          <pc:sldMk cId="1536693095" sldId="2147472546"/>
        </pc:sldMkLst>
      </pc:sldChg>
      <pc:sldChg chg="addSp delSp modSp new mod modClrScheme chgLayout">
        <pc:chgData name="daurembekova@eit.uni-kl.de" userId="S::daurembekova_eit.uni-kl.de#ext#@antunibremen.onmicrosoft.com::1550135a-cb22-4283-bb7f-d226a501e7e9" providerId="AD" clId="Web-{BF1B295D-CA86-EE82-4F17-AC1D36DDF929}" dt="2024-10-16T12:16:30.593" v="592" actId="20577"/>
        <pc:sldMkLst>
          <pc:docMk/>
          <pc:sldMk cId="1928819775" sldId="2147476862"/>
        </pc:sldMkLst>
      </pc:sldChg>
      <pc:sldChg chg="addSp delSp modSp new">
        <pc:chgData name="daurembekova@eit.uni-kl.de" userId="S::daurembekova_eit.uni-kl.de#ext#@antunibremen.onmicrosoft.com::1550135a-cb22-4283-bb7f-d226a501e7e9" providerId="AD" clId="Web-{BF1B295D-CA86-EE82-4F17-AC1D36DDF929}" dt="2024-10-16T12:12:29.151" v="473" actId="1076"/>
        <pc:sldMkLst>
          <pc:docMk/>
          <pc:sldMk cId="993062843" sldId="2147476863"/>
        </pc:sldMkLst>
      </pc:sldChg>
      <pc:sldChg chg="addSp modSp new">
        <pc:chgData name="daurembekova@eit.uni-kl.de" userId="S::daurembekova_eit.uni-kl.de#ext#@antunibremen.onmicrosoft.com::1550135a-cb22-4283-bb7f-d226a501e7e9" providerId="AD" clId="Web-{BF1B295D-CA86-EE82-4F17-AC1D36DDF929}" dt="2024-10-16T12:16:52.797" v="594" actId="20577"/>
        <pc:sldMkLst>
          <pc:docMk/>
          <pc:sldMk cId="1149164908" sldId="2147476864"/>
        </pc:sldMkLst>
      </pc:sldChg>
      <pc:sldChg chg="addSp delSp modSp new del">
        <pc:chgData name="daurembekova@eit.uni-kl.de" userId="S::daurembekova_eit.uni-kl.de#ext#@antunibremen.onmicrosoft.com::1550135a-cb22-4283-bb7f-d226a501e7e9" providerId="AD" clId="Web-{BF1B295D-CA86-EE82-4F17-AC1D36DDF929}" dt="2024-10-16T11:53:01.963" v="147"/>
        <pc:sldMkLst>
          <pc:docMk/>
          <pc:sldMk cId="1753702728" sldId="2147476865"/>
        </pc:sldMkLst>
      </pc:sldChg>
      <pc:sldChg chg="addSp delSp modSp new">
        <pc:chgData name="daurembekova@eit.uni-kl.de" userId="S::daurembekova_eit.uni-kl.de#ext#@antunibremen.onmicrosoft.com::1550135a-cb22-4283-bb7f-d226a501e7e9" providerId="AD" clId="Web-{BF1B295D-CA86-EE82-4F17-AC1D36DDF929}" dt="2024-10-16T12:17:11.532" v="602" actId="1076"/>
        <pc:sldMkLst>
          <pc:docMk/>
          <pc:sldMk cId="1562357202" sldId="2147476866"/>
        </pc:sldMkLst>
      </pc:sldChg>
      <pc:sldChg chg="addSp modSp add del ord replId">
        <pc:chgData name="daurembekova@eit.uni-kl.de" userId="S::daurembekova_eit.uni-kl.de#ext#@antunibremen.onmicrosoft.com::1550135a-cb22-4283-bb7f-d226a501e7e9" providerId="AD" clId="Web-{BF1B295D-CA86-EE82-4F17-AC1D36DDF929}" dt="2024-10-16T12:12:04.963" v="463"/>
        <pc:sldMkLst>
          <pc:docMk/>
          <pc:sldMk cId="1712500352" sldId="2147476867"/>
        </pc:sldMkLst>
      </pc:sldChg>
      <pc:sldChg chg="modSp add del ord replId">
        <pc:chgData name="daurembekova@eit.uni-kl.de" userId="S::daurembekova_eit.uni-kl.de#ext#@antunibremen.onmicrosoft.com::1550135a-cb22-4283-bb7f-d226a501e7e9" providerId="AD" clId="Web-{BF1B295D-CA86-EE82-4F17-AC1D36DDF929}" dt="2024-10-16T12:11:30.197" v="457"/>
        <pc:sldMkLst>
          <pc:docMk/>
          <pc:sldMk cId="3040244155" sldId="2147476868"/>
        </pc:sldMkLst>
      </pc:sldChg>
      <pc:sldChg chg="addSp delSp modSp new mod modClrScheme chgLayout">
        <pc:chgData name="daurembekova@eit.uni-kl.de" userId="S::daurembekova_eit.uni-kl.de#ext#@antunibremen.onmicrosoft.com::1550135a-cb22-4283-bb7f-d226a501e7e9" providerId="AD" clId="Web-{BF1B295D-CA86-EE82-4F17-AC1D36DDF929}" dt="2024-10-16T11:56:46.640" v="232" actId="1076"/>
        <pc:sldMkLst>
          <pc:docMk/>
          <pc:sldMk cId="2653670087" sldId="2147476869"/>
        </pc:sldMkLst>
      </pc:sldChg>
      <pc:sldChg chg="addSp delSp modSp new mod modClrScheme chgLayout">
        <pc:chgData name="daurembekova@eit.uni-kl.de" userId="S::daurembekova_eit.uni-kl.de#ext#@antunibremen.onmicrosoft.com::1550135a-cb22-4283-bb7f-d226a501e7e9" providerId="AD" clId="Web-{BF1B295D-CA86-EE82-4F17-AC1D36DDF929}" dt="2024-10-16T12:17:33.470" v="611"/>
        <pc:sldMkLst>
          <pc:docMk/>
          <pc:sldMk cId="1100898078" sldId="2147476870"/>
        </pc:sldMkLst>
      </pc:sldChg>
      <pc:sldChg chg="modSp add ord replId">
        <pc:chgData name="daurembekova@eit.uni-kl.de" userId="S::daurembekova_eit.uni-kl.de#ext#@antunibremen.onmicrosoft.com::1550135a-cb22-4283-bb7f-d226a501e7e9" providerId="AD" clId="Web-{BF1B295D-CA86-EE82-4F17-AC1D36DDF929}" dt="2024-10-16T12:12:33.542" v="475" actId="1076"/>
        <pc:sldMkLst>
          <pc:docMk/>
          <pc:sldMk cId="3094521085" sldId="2147476871"/>
        </pc:sldMkLst>
      </pc:sldChg>
      <pc:sldChg chg="addSp delSp modSp new mod modClrScheme chgLayout">
        <pc:chgData name="daurembekova@eit.uni-kl.de" userId="S::daurembekova_eit.uni-kl.de#ext#@antunibremen.onmicrosoft.com::1550135a-cb22-4283-bb7f-d226a501e7e9" providerId="AD" clId="Web-{BF1B295D-CA86-EE82-4F17-AC1D36DDF929}" dt="2024-10-16T12:13:05.745" v="480" actId="1076"/>
        <pc:sldMkLst>
          <pc:docMk/>
          <pc:sldMk cId="1790774335" sldId="2147476872"/>
        </pc:sldMkLst>
      </pc:sldChg>
      <pc:sldChg chg="addSp delSp modSp add del ord replId">
        <pc:chgData name="daurembekova@eit.uni-kl.de" userId="S::daurembekova_eit.uni-kl.de#ext#@antunibremen.onmicrosoft.com::1550135a-cb22-4283-bb7f-d226a501e7e9" providerId="AD" clId="Web-{BF1B295D-CA86-EE82-4F17-AC1D36DDF929}" dt="2024-10-16T12:12:21.026" v="471"/>
        <pc:sldMkLst>
          <pc:docMk/>
          <pc:sldMk cId="1488813911" sldId="2147476873"/>
        </pc:sldMkLst>
      </pc:sldChg>
      <pc:sldChg chg="modSp new del">
        <pc:chgData name="daurembekova@eit.uni-kl.de" userId="S::daurembekova_eit.uni-kl.de#ext#@antunibremen.onmicrosoft.com::1550135a-cb22-4283-bb7f-d226a501e7e9" providerId="AD" clId="Web-{BF1B295D-CA86-EE82-4F17-AC1D36DDF929}" dt="2024-10-16T12:08:52.115" v="429"/>
        <pc:sldMkLst>
          <pc:docMk/>
          <pc:sldMk cId="1793675100" sldId="2147476873"/>
        </pc:sldMkLst>
      </pc:sldChg>
      <pc:sldChg chg="addSp delSp modSp new mod modClrScheme chgLayout">
        <pc:chgData name="daurembekova@eit.uni-kl.de" userId="S::daurembekova_eit.uni-kl.de#ext#@antunibremen.onmicrosoft.com::1550135a-cb22-4283-bb7f-d226a501e7e9" providerId="AD" clId="Web-{BF1B295D-CA86-EE82-4F17-AC1D36DDF929}" dt="2024-10-16T12:17:49.142" v="626"/>
        <pc:sldMkLst>
          <pc:docMk/>
          <pc:sldMk cId="1912886402" sldId="2147476873"/>
        </pc:sldMkLst>
      </pc:sldChg>
      <pc:sldChg chg="addSp modSp new">
        <pc:chgData name="daurembekova@eit.uni-kl.de" userId="S::daurembekova_eit.uni-kl.de#ext#@antunibremen.onmicrosoft.com::1550135a-cb22-4283-bb7f-d226a501e7e9" providerId="AD" clId="Web-{BF1B295D-CA86-EE82-4F17-AC1D36DDF929}" dt="2024-10-16T12:15:56.921" v="575" actId="20577"/>
        <pc:sldMkLst>
          <pc:docMk/>
          <pc:sldMk cId="1757150157" sldId="2147476874"/>
        </pc:sldMkLst>
      </pc:sldChg>
      <pc:sldChg chg="add del replId">
        <pc:chgData name="daurembekova@eit.uni-kl.de" userId="S::daurembekova_eit.uni-kl.de#ext#@antunibremen.onmicrosoft.com::1550135a-cb22-4283-bb7f-d226a501e7e9" providerId="AD" clId="Web-{BF1B295D-CA86-EE82-4F17-AC1D36DDF929}" dt="2024-10-16T12:12:02.822" v="462"/>
        <pc:sldMkLst>
          <pc:docMk/>
          <pc:sldMk cId="2655766664" sldId="2147476874"/>
        </pc:sldMkLst>
      </pc:sldChg>
      <pc:sldChg chg="add del ord replId">
        <pc:chgData name="daurembekova@eit.uni-kl.de" userId="S::daurembekova_eit.uni-kl.de#ext#@antunibremen.onmicrosoft.com::1550135a-cb22-4283-bb7f-d226a501e7e9" providerId="AD" clId="Web-{BF1B295D-CA86-EE82-4F17-AC1D36DDF929}" dt="2024-10-16T12:11:25.400" v="456"/>
        <pc:sldMkLst>
          <pc:docMk/>
          <pc:sldMk cId="1887564624" sldId="2147476875"/>
        </pc:sldMkLst>
      </pc:sldChg>
      <pc:sldChg chg="add ord replId">
        <pc:chgData name="daurembekova@eit.uni-kl.de" userId="S::daurembekova_eit.uni-kl.de#ext#@antunibremen.onmicrosoft.com::1550135a-cb22-4283-bb7f-d226a501e7e9" providerId="AD" clId="Web-{BF1B295D-CA86-EE82-4F17-AC1D36DDF929}" dt="2024-10-16T12:22:34.085" v="684"/>
        <pc:sldMkLst>
          <pc:docMk/>
          <pc:sldMk cId="2667969569" sldId="2147476875"/>
        </pc:sldMkLst>
      </pc:sldChg>
      <pc:sldChg chg="add ord replId">
        <pc:chgData name="daurembekova@eit.uni-kl.de" userId="S::daurembekova_eit.uni-kl.de#ext#@antunibremen.onmicrosoft.com::1550135a-cb22-4283-bb7f-d226a501e7e9" providerId="AD" clId="Web-{BF1B295D-CA86-EE82-4F17-AC1D36DDF929}" dt="2024-10-16T12:22:34.085" v="685"/>
        <pc:sldMkLst>
          <pc:docMk/>
          <pc:sldMk cId="955015410" sldId="2147476876"/>
        </pc:sldMkLst>
      </pc:sldChg>
      <pc:sldChg chg="modSp add ord replId">
        <pc:chgData name="daurembekova@eit.uni-kl.de" userId="S::daurembekova_eit.uni-kl.de#ext#@antunibremen.onmicrosoft.com::1550135a-cb22-4283-bb7f-d226a501e7e9" providerId="AD" clId="Web-{BF1B295D-CA86-EE82-4F17-AC1D36DDF929}" dt="2024-10-16T12:29:45.125" v="753" actId="20577"/>
        <pc:sldMkLst>
          <pc:docMk/>
          <pc:sldMk cId="4280058175" sldId="2147476877"/>
        </pc:sldMkLst>
      </pc:sldChg>
      <pc:sldChg chg="modSp new">
        <pc:chgData name="daurembekova@eit.uni-kl.de" userId="S::daurembekova_eit.uni-kl.de#ext#@antunibremen.onmicrosoft.com::1550135a-cb22-4283-bb7f-d226a501e7e9" providerId="AD" clId="Web-{BF1B295D-CA86-EE82-4F17-AC1D36DDF929}" dt="2024-10-16T12:23:01.742" v="697" actId="20577"/>
        <pc:sldMkLst>
          <pc:docMk/>
          <pc:sldMk cId="1194833940" sldId="2147476878"/>
        </pc:sldMkLst>
      </pc:sldChg>
    </pc:docChg>
  </pc:docChgLst>
  <pc:docChgLst>
    <pc:chgData name="ekoeck@eant.de" userId="S::ekoeck_eant.de#ext#@antunibremen.onmicrosoft.com::73e85445-0cf8-43ff-b8c9-b801f2176615" providerId="AD" clId="Web-{873B8821-8C27-230A-13F8-A72AC855BB42}"/>
    <pc:docChg chg="modSld">
      <pc:chgData name="ekoeck@eant.de" userId="S::ekoeck_eant.de#ext#@antunibremen.onmicrosoft.com::73e85445-0cf8-43ff-b8c9-b801f2176615" providerId="AD" clId="Web-{873B8821-8C27-230A-13F8-A72AC855BB42}" dt="2024-03-06T10:41:35.774" v="364" actId="20577"/>
      <pc:docMkLst>
        <pc:docMk/>
      </pc:docMkLst>
      <pc:sldChg chg="addSp modSp">
        <pc:chgData name="ekoeck@eant.de" userId="S::ekoeck_eant.de#ext#@antunibremen.onmicrosoft.com::73e85445-0cf8-43ff-b8c9-b801f2176615" providerId="AD" clId="Web-{873B8821-8C27-230A-13F8-A72AC855BB42}" dt="2024-03-06T10:41:35.774" v="364" actId="20577"/>
        <pc:sldMkLst>
          <pc:docMk/>
          <pc:sldMk cId="1597934679" sldId="2147472552"/>
        </pc:sldMkLst>
      </pc:sldChg>
    </pc:docChg>
  </pc:docChgLst>
  <pc:docChgLst>
    <pc:chgData name="Jan Drewes" userId="S::janhenning.drewes_nxp.com#ext#@antunibremen.onmicrosoft.com::e11dbc40-13df-4427-a065-822664db6633" providerId="AD" clId="Web-{BE4A0CC0-D4CE-5B45-6C42-A6E551F2FA6D}"/>
    <pc:docChg chg="delSld modSection">
      <pc:chgData name="Jan Drewes" userId="S::janhenning.drewes_nxp.com#ext#@antunibremen.onmicrosoft.com::e11dbc40-13df-4427-a065-822664db6633" providerId="AD" clId="Web-{BE4A0CC0-D4CE-5B45-6C42-A6E551F2FA6D}" dt="2024-08-19T11:31:49.927" v="2"/>
      <pc:docMkLst>
        <pc:docMk/>
      </pc:docMkLst>
      <pc:sldChg chg="del">
        <pc:chgData name="Jan Drewes" userId="S::janhenning.drewes_nxp.com#ext#@antunibremen.onmicrosoft.com::e11dbc40-13df-4427-a065-822664db6633" providerId="AD" clId="Web-{BE4A0CC0-D4CE-5B45-6C42-A6E551F2FA6D}" dt="2024-08-19T11:31:19.520" v="0"/>
        <pc:sldMkLst>
          <pc:docMk/>
          <pc:sldMk cId="2367375905" sldId="262"/>
        </pc:sldMkLst>
      </pc:sldChg>
      <pc:sldChg chg="del">
        <pc:chgData name="Jan Drewes" userId="S::janhenning.drewes_nxp.com#ext#@antunibremen.onmicrosoft.com::e11dbc40-13df-4427-a065-822664db6633" providerId="AD" clId="Web-{BE4A0CC0-D4CE-5B45-6C42-A6E551F2FA6D}" dt="2024-08-19T11:31:49.927" v="2"/>
        <pc:sldMkLst>
          <pc:docMk/>
          <pc:sldMk cId="2792263198" sldId="263"/>
        </pc:sldMkLst>
      </pc:sldChg>
      <pc:sldChg chg="del">
        <pc:chgData name="Jan Drewes" userId="S::janhenning.drewes_nxp.com#ext#@antunibremen.onmicrosoft.com::e11dbc40-13df-4427-a065-822664db6633" providerId="AD" clId="Web-{BE4A0CC0-D4CE-5B45-6C42-A6E551F2FA6D}" dt="2024-08-19T11:31:43.146" v="1"/>
        <pc:sldMkLst>
          <pc:docMk/>
          <pc:sldMk cId="715311766" sldId="264"/>
        </pc:sldMkLst>
      </pc:sldChg>
    </pc:docChg>
  </pc:docChgLst>
  <pc:docChgLst>
    <pc:chgData name="benjamin.barth@dlr.de" userId="S::benjamin.barth_dlr.de#ext#@antunibremen.onmicrosoft.com::125bcdd7-effb-4ed3-ab95-be7e18fe1b24" providerId="AD" clId="Web-{75BDCC70-0BA6-9F20-34E4-1BEB41A1A3D4}"/>
    <pc:docChg chg="modSld">
      <pc:chgData name="benjamin.barth@dlr.de" userId="S::benjamin.barth_dlr.de#ext#@antunibremen.onmicrosoft.com::125bcdd7-effb-4ed3-ab95-be7e18fe1b24" providerId="AD" clId="Web-{75BDCC70-0BA6-9F20-34E4-1BEB41A1A3D4}" dt="2025-03-18T16:28:19.121" v="104" actId="20577"/>
      <pc:docMkLst>
        <pc:docMk/>
      </pc:docMkLst>
      <pc:sldChg chg="modSp">
        <pc:chgData name="benjamin.barth@dlr.de" userId="S::benjamin.barth_dlr.de#ext#@antunibremen.onmicrosoft.com::125bcdd7-effb-4ed3-ab95-be7e18fe1b24" providerId="AD" clId="Web-{75BDCC70-0BA6-9F20-34E4-1BEB41A1A3D4}" dt="2025-03-18T16:28:19.121" v="104" actId="20577"/>
        <pc:sldMkLst>
          <pc:docMk/>
          <pc:sldMk cId="4217844185" sldId="2147477025"/>
        </pc:sldMkLst>
      </pc:sldChg>
    </pc:docChg>
  </pc:docChgLst>
  <pc:docChgLst>
    <pc:chgData name="Schwaderer, Peter" userId="S::peter.schwaderer_airbus.com#ext#@antunibremen.onmicrosoft.com::5778221e-7c32-4e8a-8846-22a455d873db" providerId="AD" clId="Web-{46F7EB21-F65F-60E0-2A06-699C123C7EAF}"/>
    <pc:docChg chg="modSld">
      <pc:chgData name="Schwaderer, Peter" userId="S::peter.schwaderer_airbus.com#ext#@antunibremen.onmicrosoft.com::5778221e-7c32-4e8a-8846-22a455d873db" providerId="AD" clId="Web-{46F7EB21-F65F-60E0-2A06-699C123C7EAF}" dt="2025-03-28T13:24:41.208" v="246"/>
      <pc:docMkLst>
        <pc:docMk/>
      </pc:docMkLst>
      <pc:sldChg chg="modNotes">
        <pc:chgData name="Schwaderer, Peter" userId="S::peter.schwaderer_airbus.com#ext#@antunibremen.onmicrosoft.com::5778221e-7c32-4e8a-8846-22a455d873db" providerId="AD" clId="Web-{46F7EB21-F65F-60E0-2A06-699C123C7EAF}" dt="2025-03-28T13:23:43.503" v="132"/>
        <pc:sldMkLst>
          <pc:docMk/>
          <pc:sldMk cId="2869957903" sldId="2147477050"/>
        </pc:sldMkLst>
      </pc:sldChg>
      <pc:sldChg chg="modNotes">
        <pc:chgData name="Schwaderer, Peter" userId="S::peter.schwaderer_airbus.com#ext#@antunibremen.onmicrosoft.com::5778221e-7c32-4e8a-8846-22a455d873db" providerId="AD" clId="Web-{46F7EB21-F65F-60E0-2A06-699C123C7EAF}" dt="2025-03-28T13:24:41.208" v="246"/>
        <pc:sldMkLst>
          <pc:docMk/>
          <pc:sldMk cId="1516448176" sldId="2147477052"/>
        </pc:sldMkLst>
      </pc:sldChg>
      <pc:sldChg chg="modNotes">
        <pc:chgData name="Schwaderer, Peter" userId="S::peter.schwaderer_airbus.com#ext#@antunibremen.onmicrosoft.com::5778221e-7c32-4e8a-8846-22a455d873db" providerId="AD" clId="Web-{46F7EB21-F65F-60E0-2A06-699C123C7EAF}" dt="2025-03-28T13:12:08.944" v="17"/>
        <pc:sldMkLst>
          <pc:docMk/>
          <pc:sldMk cId="3013585730" sldId="2147477055"/>
        </pc:sldMkLst>
      </pc:sldChg>
    </pc:docChg>
  </pc:docChgLst>
  <pc:docChgLst>
    <pc:chgData name="shama.noreen@rptu.de" userId="S::shama.noreen_rptu.de#ext#@antunibremen.onmicrosoft.com::723f12dc-439d-467c-b689-ae2f5074cd4f" providerId="AD" clId="Web-{123DC109-13BD-6B7E-6A9F-B2AE12F23790}"/>
    <pc:docChg chg="modSld">
      <pc:chgData name="shama.noreen@rptu.de" userId="S::shama.noreen_rptu.de#ext#@antunibremen.onmicrosoft.com::723f12dc-439d-467c-b689-ae2f5074cd4f" providerId="AD" clId="Web-{123DC109-13BD-6B7E-6A9F-B2AE12F23790}" dt="2024-11-29T05:03:41.730" v="1"/>
      <pc:docMkLst>
        <pc:docMk/>
      </pc:docMkLst>
      <pc:sldChg chg="modSp">
        <pc:chgData name="shama.noreen@rptu.de" userId="S::shama.noreen_rptu.de#ext#@antunibremen.onmicrosoft.com::723f12dc-439d-467c-b689-ae2f5074cd4f" providerId="AD" clId="Web-{123DC109-13BD-6B7E-6A9F-B2AE12F23790}" dt="2024-11-29T05:03:41.730" v="1"/>
        <pc:sldMkLst>
          <pc:docMk/>
          <pc:sldMk cId="2667969569" sldId="2147476875"/>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F2DFE4F-2609-4360-BB91-8241EDB21656}" type="doc">
      <dgm:prSet loTypeId="urn:microsoft.com/office/officeart/2005/8/layout/default" loCatId="list" qsTypeId="urn:microsoft.com/office/officeart/2005/8/quickstyle/3d1" qsCatId="3D" csTypeId="urn:microsoft.com/office/officeart/2005/8/colors/accent2_2" csCatId="accent2" phldr="1"/>
      <dgm:spPr/>
      <dgm:t>
        <a:bodyPr/>
        <a:lstStyle/>
        <a:p>
          <a:endParaRPr lang="en-US"/>
        </a:p>
      </dgm:t>
    </dgm:pt>
    <dgm:pt modelId="{227A83D3-1444-43A5-A3A0-C77E84B2BB6F}">
      <dgm:prSet phldrT="[Text]" custT="1"/>
      <dgm:spPr>
        <a:xfrm>
          <a:off x="366841" y="569"/>
          <a:ext cx="1315319" cy="78919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gm:spPr>
      <dgm:t>
        <a:bodyPr/>
        <a:lstStyle/>
        <a:p>
          <a:pPr>
            <a:buNone/>
          </a:pPr>
          <a:r>
            <a:rPr lang="en-US" sz="1200">
              <a:solidFill>
                <a:sysClr val="window" lastClr="FFFFFF"/>
              </a:solidFill>
              <a:latin typeface="Arial" panose="020B0604020202020204"/>
              <a:ea typeface="+mn-ea"/>
              <a:cs typeface="+mn-cs"/>
            </a:rPr>
            <a:t>Connecting </a:t>
          </a:r>
          <a:br>
            <a:rPr lang="en-US" sz="1200">
              <a:solidFill>
                <a:sysClr val="window" lastClr="FFFFFF"/>
              </a:solidFill>
              <a:latin typeface="Arial" panose="020B0604020202020204"/>
              <a:ea typeface="+mn-ea"/>
              <a:cs typeface="+mn-cs"/>
            </a:rPr>
          </a:br>
          <a:r>
            <a:rPr lang="en-US" sz="1200">
              <a:solidFill>
                <a:sysClr val="window" lastClr="FFFFFF"/>
              </a:solidFill>
              <a:latin typeface="Arial" panose="020B0604020202020204"/>
              <a:ea typeface="+mn-ea"/>
              <a:cs typeface="+mn-cs"/>
            </a:rPr>
            <a:t>Rural Areas</a:t>
          </a:r>
        </a:p>
      </dgm:t>
    </dgm:pt>
    <dgm:pt modelId="{02C6498D-B8F2-4D0B-B656-078D95707B9C}" type="parTrans" cxnId="{43D6A88A-DE0C-401F-9A8B-126FE74A5FED}">
      <dgm:prSet/>
      <dgm:spPr/>
      <dgm:t>
        <a:bodyPr/>
        <a:lstStyle/>
        <a:p>
          <a:endParaRPr lang="en-US" sz="1200"/>
        </a:p>
      </dgm:t>
    </dgm:pt>
    <dgm:pt modelId="{C85CC6B4-062C-46FB-8C32-1243184245D8}" type="sibTrans" cxnId="{43D6A88A-DE0C-401F-9A8B-126FE74A5FED}">
      <dgm:prSet/>
      <dgm:spPr/>
      <dgm:t>
        <a:bodyPr/>
        <a:lstStyle/>
        <a:p>
          <a:endParaRPr lang="en-US" sz="1200"/>
        </a:p>
      </dgm:t>
    </dgm:pt>
    <dgm:pt modelId="{0A83F164-E5A6-4D66-901E-4C01A22422FB}">
      <dgm:prSet custT="1"/>
      <dgm:spPr>
        <a:xfrm>
          <a:off x="1813692" y="569"/>
          <a:ext cx="1315319" cy="78919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gm:spPr>
      <dgm:t>
        <a:bodyPr/>
        <a:lstStyle/>
        <a:p>
          <a:pPr>
            <a:buNone/>
          </a:pPr>
          <a:r>
            <a:rPr lang="en-US" sz="1200">
              <a:solidFill>
                <a:sysClr val="window" lastClr="FFFFFF"/>
              </a:solidFill>
              <a:latin typeface="Arial" panose="020B0604020202020204"/>
              <a:ea typeface="+mn-ea"/>
              <a:cs typeface="+mn-cs"/>
            </a:rPr>
            <a:t>Resilience Communication Infrastructure</a:t>
          </a:r>
        </a:p>
      </dgm:t>
    </dgm:pt>
    <dgm:pt modelId="{ACCBB819-AC6C-419B-8E60-09ACB2159A60}" type="parTrans" cxnId="{4929DE6E-42BD-42C9-BA12-6A2ABA90F8F0}">
      <dgm:prSet/>
      <dgm:spPr/>
      <dgm:t>
        <a:bodyPr/>
        <a:lstStyle/>
        <a:p>
          <a:endParaRPr lang="en-US" sz="1200"/>
        </a:p>
      </dgm:t>
    </dgm:pt>
    <dgm:pt modelId="{1B20CFED-DA7F-437C-BB0F-84BC49974300}" type="sibTrans" cxnId="{4929DE6E-42BD-42C9-BA12-6A2ABA90F8F0}">
      <dgm:prSet/>
      <dgm:spPr/>
      <dgm:t>
        <a:bodyPr/>
        <a:lstStyle/>
        <a:p>
          <a:endParaRPr lang="en-US" sz="1200"/>
        </a:p>
      </dgm:t>
    </dgm:pt>
    <dgm:pt modelId="{9CEE2294-8D5A-49CC-BA71-EEAB51F8631C}">
      <dgm:prSet custT="1"/>
      <dgm:spPr>
        <a:xfrm>
          <a:off x="3260544" y="569"/>
          <a:ext cx="1315319" cy="78919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gm:spPr>
      <dgm:t>
        <a:bodyPr/>
        <a:lstStyle/>
        <a:p>
          <a:pPr>
            <a:buNone/>
          </a:pPr>
          <a:r>
            <a:rPr lang="en-US" sz="1200">
              <a:solidFill>
                <a:sysClr val="window" lastClr="FFFFFF"/>
              </a:solidFill>
              <a:latin typeface="Arial" panose="020B0604020202020204"/>
              <a:ea typeface="+mn-ea"/>
              <a:cs typeface="+mn-cs"/>
            </a:rPr>
            <a:t>Autonomous Driving and Transportation</a:t>
          </a:r>
        </a:p>
      </dgm:t>
    </dgm:pt>
    <dgm:pt modelId="{6E0D5F25-05C7-4866-B931-E0E25A844D3A}" type="parTrans" cxnId="{4CDA333F-1372-4179-AD31-FF76588B3806}">
      <dgm:prSet/>
      <dgm:spPr/>
      <dgm:t>
        <a:bodyPr/>
        <a:lstStyle/>
        <a:p>
          <a:endParaRPr lang="en-US" sz="1200"/>
        </a:p>
      </dgm:t>
    </dgm:pt>
    <dgm:pt modelId="{84CDD8FC-7353-49F9-8FFD-F6E49C683E2B}" type="sibTrans" cxnId="{4CDA333F-1372-4179-AD31-FF76588B3806}">
      <dgm:prSet/>
      <dgm:spPr/>
      <dgm:t>
        <a:bodyPr/>
        <a:lstStyle/>
        <a:p>
          <a:endParaRPr lang="en-US" sz="1200"/>
        </a:p>
      </dgm:t>
    </dgm:pt>
    <dgm:pt modelId="{34DEBE4D-F490-44D3-BF7A-26965EC5679D}">
      <dgm:prSet custT="1"/>
      <dgm:spPr>
        <a:xfrm>
          <a:off x="366841" y="921293"/>
          <a:ext cx="1315319" cy="78919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gm:spPr>
      <dgm:t>
        <a:bodyPr/>
        <a:lstStyle/>
        <a:p>
          <a:pPr>
            <a:buNone/>
          </a:pPr>
          <a:r>
            <a:rPr lang="en-US" sz="1200">
              <a:solidFill>
                <a:sysClr val="window" lastClr="FFFFFF"/>
              </a:solidFill>
              <a:latin typeface="Arial" panose="020B0604020202020204"/>
              <a:ea typeface="+mn-ea"/>
              <a:cs typeface="+mn-cs"/>
            </a:rPr>
            <a:t>Fast Train </a:t>
          </a:r>
          <a:br>
            <a:rPr lang="en-US" sz="1200">
              <a:solidFill>
                <a:sysClr val="window" lastClr="FFFFFF"/>
              </a:solidFill>
              <a:latin typeface="Arial" panose="020B0604020202020204"/>
              <a:ea typeface="+mn-ea"/>
              <a:cs typeface="+mn-cs"/>
            </a:rPr>
          </a:br>
          <a:r>
            <a:rPr lang="en-US" sz="1200">
              <a:solidFill>
                <a:sysClr val="window" lastClr="FFFFFF"/>
              </a:solidFill>
              <a:latin typeface="Arial" panose="020B0604020202020204"/>
              <a:ea typeface="+mn-ea"/>
              <a:cs typeface="+mn-cs"/>
            </a:rPr>
            <a:t>Support</a:t>
          </a:r>
        </a:p>
      </dgm:t>
    </dgm:pt>
    <dgm:pt modelId="{AC61BDC4-712C-4039-B393-A433CF7F6BE0}" type="parTrans" cxnId="{D86B163D-B5C0-4C90-8B68-41EB033DC837}">
      <dgm:prSet/>
      <dgm:spPr/>
      <dgm:t>
        <a:bodyPr/>
        <a:lstStyle/>
        <a:p>
          <a:endParaRPr lang="en-US" sz="1200"/>
        </a:p>
      </dgm:t>
    </dgm:pt>
    <dgm:pt modelId="{8124B617-E054-42A5-BDD0-359D75EFE39C}" type="sibTrans" cxnId="{D86B163D-B5C0-4C90-8B68-41EB033DC837}">
      <dgm:prSet/>
      <dgm:spPr/>
      <dgm:t>
        <a:bodyPr/>
        <a:lstStyle/>
        <a:p>
          <a:endParaRPr lang="en-US" sz="1200"/>
        </a:p>
      </dgm:t>
    </dgm:pt>
    <dgm:pt modelId="{672BDD27-A3EA-4AEA-9E0F-6769D0C8BE92}">
      <dgm:prSet custT="1"/>
      <dgm:spPr>
        <a:xfrm>
          <a:off x="1813692" y="921293"/>
          <a:ext cx="1315319" cy="78919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gm:spPr>
      <dgm:t>
        <a:bodyPr/>
        <a:lstStyle/>
        <a:p>
          <a:pPr>
            <a:buNone/>
          </a:pPr>
          <a:r>
            <a:rPr lang="en-US" sz="1200">
              <a:solidFill>
                <a:sysClr val="window" lastClr="FFFFFF"/>
              </a:solidFill>
              <a:latin typeface="Arial" panose="020B0604020202020204"/>
              <a:ea typeface="+mn-ea"/>
              <a:cs typeface="+mn-cs"/>
            </a:rPr>
            <a:t>Intelligent </a:t>
          </a:r>
          <a:br>
            <a:rPr lang="en-US" sz="1200">
              <a:solidFill>
                <a:sysClr val="window" lastClr="FFFFFF"/>
              </a:solidFill>
              <a:latin typeface="Arial" panose="020B0604020202020204"/>
              <a:ea typeface="+mn-ea"/>
              <a:cs typeface="+mn-cs"/>
            </a:rPr>
          </a:br>
          <a:r>
            <a:rPr lang="en-US" sz="1200">
              <a:solidFill>
                <a:sysClr val="window" lastClr="FFFFFF"/>
              </a:solidFill>
              <a:latin typeface="Arial" panose="020B0604020202020204"/>
              <a:ea typeface="+mn-ea"/>
              <a:cs typeface="+mn-cs"/>
            </a:rPr>
            <a:t>Farming</a:t>
          </a:r>
        </a:p>
      </dgm:t>
    </dgm:pt>
    <dgm:pt modelId="{51DC85F4-21C8-44F4-942D-FB803EF4279E}" type="parTrans" cxnId="{76C92947-C2A6-45F3-AFD1-0DD6AD0549BF}">
      <dgm:prSet/>
      <dgm:spPr/>
      <dgm:t>
        <a:bodyPr/>
        <a:lstStyle/>
        <a:p>
          <a:endParaRPr lang="en-US" sz="1200"/>
        </a:p>
      </dgm:t>
    </dgm:pt>
    <dgm:pt modelId="{D299363B-53BB-4D06-892C-0EFEF8E2D990}" type="sibTrans" cxnId="{76C92947-C2A6-45F3-AFD1-0DD6AD0549BF}">
      <dgm:prSet/>
      <dgm:spPr/>
      <dgm:t>
        <a:bodyPr/>
        <a:lstStyle/>
        <a:p>
          <a:endParaRPr lang="en-US" sz="1200"/>
        </a:p>
      </dgm:t>
    </dgm:pt>
    <dgm:pt modelId="{24BE588F-D894-4163-889D-EF8B91912A6B}">
      <dgm:prSet custT="1"/>
      <dgm:spPr>
        <a:xfrm>
          <a:off x="3260544" y="921293"/>
          <a:ext cx="1315319" cy="78919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gm:spPr>
      <dgm:t>
        <a:bodyPr/>
        <a:lstStyle/>
        <a:p>
          <a:pPr>
            <a:buNone/>
          </a:pPr>
          <a:r>
            <a:rPr lang="en-US" sz="1200">
              <a:solidFill>
                <a:sysClr val="window" lastClr="FFFFFF"/>
              </a:solidFill>
              <a:latin typeface="Arial" panose="020B0604020202020204"/>
              <a:ea typeface="+mn-ea"/>
              <a:cs typeface="+mn-cs"/>
            </a:rPr>
            <a:t>World-wide Logistics</a:t>
          </a:r>
        </a:p>
      </dgm:t>
    </dgm:pt>
    <dgm:pt modelId="{D0076666-57BC-4F32-ABC8-E102FBA2EB71}" type="parTrans" cxnId="{6B7CB44E-0C07-4215-AFBA-BC1927B8AEA2}">
      <dgm:prSet/>
      <dgm:spPr/>
      <dgm:t>
        <a:bodyPr/>
        <a:lstStyle/>
        <a:p>
          <a:endParaRPr lang="en-US" sz="1200"/>
        </a:p>
      </dgm:t>
    </dgm:pt>
    <dgm:pt modelId="{25E0BB9A-3EAB-4497-8FD6-A4E4ADF5DBC8}" type="sibTrans" cxnId="{6B7CB44E-0C07-4215-AFBA-BC1927B8AEA2}">
      <dgm:prSet/>
      <dgm:spPr/>
      <dgm:t>
        <a:bodyPr/>
        <a:lstStyle/>
        <a:p>
          <a:endParaRPr lang="en-US" sz="1200"/>
        </a:p>
      </dgm:t>
    </dgm:pt>
    <dgm:pt modelId="{C327A198-3558-4072-80F4-D3830C282C14}">
      <dgm:prSet custT="1"/>
      <dgm:spPr>
        <a:xfrm>
          <a:off x="366841" y="1842016"/>
          <a:ext cx="1315319" cy="78919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gm:spPr>
      <dgm:t>
        <a:bodyPr/>
        <a:lstStyle/>
        <a:p>
          <a:pPr>
            <a:buNone/>
          </a:pPr>
          <a:r>
            <a:rPr lang="en-US" sz="1200">
              <a:solidFill>
                <a:sysClr val="window" lastClr="FFFFFF"/>
              </a:solidFill>
              <a:latin typeface="Arial" panose="020B0604020202020204"/>
              <a:ea typeface="+mn-ea"/>
              <a:cs typeface="+mn-cs"/>
            </a:rPr>
            <a:t>Maritime Connectivity</a:t>
          </a:r>
        </a:p>
      </dgm:t>
    </dgm:pt>
    <dgm:pt modelId="{84CCC7D0-CEA6-4299-9CF3-A1E2024FAA9F}" type="parTrans" cxnId="{B5C04350-505A-4D9C-8490-0047026F9B61}">
      <dgm:prSet/>
      <dgm:spPr/>
      <dgm:t>
        <a:bodyPr/>
        <a:lstStyle/>
        <a:p>
          <a:endParaRPr lang="en-US" sz="1200"/>
        </a:p>
      </dgm:t>
    </dgm:pt>
    <dgm:pt modelId="{3C0A261F-C230-4DAB-A66A-D3CE97684601}" type="sibTrans" cxnId="{B5C04350-505A-4D9C-8490-0047026F9B61}">
      <dgm:prSet/>
      <dgm:spPr/>
      <dgm:t>
        <a:bodyPr/>
        <a:lstStyle/>
        <a:p>
          <a:endParaRPr lang="en-US" sz="1200"/>
        </a:p>
      </dgm:t>
    </dgm:pt>
    <dgm:pt modelId="{5BB3C3BE-0D02-42D4-B5E9-201F9B65C38A}">
      <dgm:prSet custT="1"/>
      <dgm:spPr>
        <a:xfrm>
          <a:off x="3260544" y="1842016"/>
          <a:ext cx="1315319" cy="78919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gm:spPr>
      <dgm:t>
        <a:bodyPr/>
        <a:lstStyle/>
        <a:p>
          <a:pPr>
            <a:buNone/>
          </a:pPr>
          <a:r>
            <a:rPr lang="en-US" sz="1200">
              <a:solidFill>
                <a:sysClr val="window" lastClr="FFFFFF"/>
              </a:solidFill>
              <a:latin typeface="Arial" panose="020B0604020202020204"/>
              <a:ea typeface="+mn-ea"/>
              <a:cs typeface="+mn-cs"/>
            </a:rPr>
            <a:t>Health</a:t>
          </a:r>
          <a:br>
            <a:rPr lang="en-US" sz="1200">
              <a:solidFill>
                <a:sysClr val="window" lastClr="FFFFFF"/>
              </a:solidFill>
              <a:latin typeface="Arial" panose="020B0604020202020204"/>
              <a:ea typeface="+mn-ea"/>
              <a:cs typeface="+mn-cs"/>
            </a:rPr>
          </a:br>
          <a:r>
            <a:rPr lang="en-US" sz="1200">
              <a:solidFill>
                <a:sysClr val="window" lastClr="FFFFFF"/>
              </a:solidFill>
              <a:latin typeface="Arial" panose="020B0604020202020204"/>
              <a:ea typeface="+mn-ea"/>
              <a:cs typeface="+mn-cs"/>
            </a:rPr>
            <a:t>support</a:t>
          </a:r>
        </a:p>
      </dgm:t>
    </dgm:pt>
    <dgm:pt modelId="{9CA87C1A-5DDB-4270-89D6-C8910388DDDF}" type="parTrans" cxnId="{1290B9BD-6973-4D75-BC82-C08B99FC2DDB}">
      <dgm:prSet/>
      <dgm:spPr/>
      <dgm:t>
        <a:bodyPr/>
        <a:lstStyle/>
        <a:p>
          <a:endParaRPr lang="en-US" sz="1200"/>
        </a:p>
      </dgm:t>
    </dgm:pt>
    <dgm:pt modelId="{1E222350-9C00-43FA-AA42-8639FAABDC48}" type="sibTrans" cxnId="{1290B9BD-6973-4D75-BC82-C08B99FC2DDB}">
      <dgm:prSet/>
      <dgm:spPr/>
      <dgm:t>
        <a:bodyPr/>
        <a:lstStyle/>
        <a:p>
          <a:endParaRPr lang="en-US" sz="1200"/>
        </a:p>
      </dgm:t>
    </dgm:pt>
    <dgm:pt modelId="{3DC8C09A-9B53-4217-B8B6-7EAE413715EE}">
      <dgm:prSet custT="1"/>
      <dgm:spPr>
        <a:xfrm>
          <a:off x="366841" y="2762740"/>
          <a:ext cx="1315319" cy="78919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gm:spPr>
      <dgm:t>
        <a:bodyPr/>
        <a:lstStyle/>
        <a:p>
          <a:pPr>
            <a:buNone/>
          </a:pPr>
          <a:r>
            <a:rPr lang="en-US" sz="1200">
              <a:solidFill>
                <a:sysClr val="window" lastClr="FFFFFF"/>
              </a:solidFill>
              <a:latin typeface="Arial" panose="020B0604020202020204"/>
              <a:ea typeface="+mn-ea"/>
              <a:cs typeface="+mn-cs"/>
            </a:rPr>
            <a:t>Earth Observation &amp; Environmental Monitoring</a:t>
          </a:r>
        </a:p>
      </dgm:t>
    </dgm:pt>
    <dgm:pt modelId="{F7B07744-88EF-4B66-AC1F-E7351C0C72B3}" type="parTrans" cxnId="{3BFC18F0-9C4A-449A-8304-2D776D3614A9}">
      <dgm:prSet/>
      <dgm:spPr/>
      <dgm:t>
        <a:bodyPr/>
        <a:lstStyle/>
        <a:p>
          <a:endParaRPr lang="en-US" sz="1200"/>
        </a:p>
      </dgm:t>
    </dgm:pt>
    <dgm:pt modelId="{EBD2AE6A-C55F-4469-A349-458EECE107AA}" type="sibTrans" cxnId="{3BFC18F0-9C4A-449A-8304-2D776D3614A9}">
      <dgm:prSet/>
      <dgm:spPr/>
      <dgm:t>
        <a:bodyPr/>
        <a:lstStyle/>
        <a:p>
          <a:endParaRPr lang="en-US" sz="1200"/>
        </a:p>
      </dgm:t>
    </dgm:pt>
    <dgm:pt modelId="{25759666-B34F-47E2-B738-C443B5BD3112}">
      <dgm:prSet custT="1"/>
      <dgm:spPr>
        <a:xfrm>
          <a:off x="1813692" y="2762740"/>
          <a:ext cx="1315319" cy="78919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gm:spPr>
      <dgm:t>
        <a:bodyPr/>
        <a:lstStyle/>
        <a:p>
          <a:pPr>
            <a:buNone/>
          </a:pPr>
          <a:r>
            <a:rPr lang="en-US" sz="1200">
              <a:solidFill>
                <a:sysClr val="window" lastClr="FFFFFF"/>
              </a:solidFill>
              <a:latin typeface="Arial" panose="020B0604020202020204"/>
              <a:ea typeface="+mn-ea"/>
              <a:cs typeface="+mn-cs"/>
            </a:rPr>
            <a:t>Governmental Services</a:t>
          </a:r>
        </a:p>
      </dgm:t>
    </dgm:pt>
    <dgm:pt modelId="{E28DCC20-8B25-4D06-AE57-982AE81CF4AF}" type="parTrans" cxnId="{12C232E1-9ACC-4BC0-9300-BDD5B714EE2B}">
      <dgm:prSet/>
      <dgm:spPr/>
      <dgm:t>
        <a:bodyPr/>
        <a:lstStyle/>
        <a:p>
          <a:endParaRPr lang="en-US" sz="1200"/>
        </a:p>
      </dgm:t>
    </dgm:pt>
    <dgm:pt modelId="{4AC9F97D-83A9-4DC4-94A8-159E53F11447}" type="sibTrans" cxnId="{12C232E1-9ACC-4BC0-9300-BDD5B714EE2B}">
      <dgm:prSet/>
      <dgm:spPr/>
      <dgm:t>
        <a:bodyPr/>
        <a:lstStyle/>
        <a:p>
          <a:endParaRPr lang="en-US" sz="1200"/>
        </a:p>
      </dgm:t>
    </dgm:pt>
    <dgm:pt modelId="{80635F6D-F307-4098-B989-1A75A3B6A0B6}">
      <dgm:prSet custT="1"/>
      <dgm:spPr>
        <a:xfrm>
          <a:off x="3260544" y="2762740"/>
          <a:ext cx="1315319" cy="78919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gm:spPr>
      <dgm:t>
        <a:bodyPr/>
        <a:lstStyle/>
        <a:p>
          <a:pPr>
            <a:buNone/>
          </a:pPr>
          <a:r>
            <a:rPr lang="en-US" sz="1200">
              <a:solidFill>
                <a:sysClr val="window" lastClr="FFFFFF"/>
              </a:solidFill>
              <a:latin typeface="Arial" panose="020B0604020202020204"/>
              <a:ea typeface="+mn-ea"/>
              <a:cs typeface="+mn-cs"/>
            </a:rPr>
            <a:t>Stock Exchange Networks </a:t>
          </a:r>
          <a:br>
            <a:rPr lang="en-US" sz="1200">
              <a:solidFill>
                <a:sysClr val="window" lastClr="FFFFFF"/>
              </a:solidFill>
              <a:latin typeface="Arial" panose="020B0604020202020204"/>
              <a:ea typeface="+mn-ea"/>
              <a:cs typeface="+mn-cs"/>
            </a:rPr>
          </a:br>
          <a:r>
            <a:rPr lang="en-US" sz="1200">
              <a:solidFill>
                <a:sysClr val="window" lastClr="FFFFFF"/>
              </a:solidFill>
              <a:latin typeface="Arial" panose="020B0604020202020204"/>
              <a:ea typeface="+mn-ea"/>
              <a:cs typeface="+mn-cs"/>
            </a:rPr>
            <a:t>(Security)</a:t>
          </a:r>
        </a:p>
      </dgm:t>
    </dgm:pt>
    <dgm:pt modelId="{E6A6D0A2-E2F5-4C72-86F7-2084C32E5D9B}" type="parTrans" cxnId="{06DDB5BB-E19F-446F-9B70-58BF82763984}">
      <dgm:prSet/>
      <dgm:spPr/>
      <dgm:t>
        <a:bodyPr/>
        <a:lstStyle/>
        <a:p>
          <a:endParaRPr lang="en-US" sz="1200"/>
        </a:p>
      </dgm:t>
    </dgm:pt>
    <dgm:pt modelId="{F128FC4F-C6EE-4466-BC88-81B73D8CD583}" type="sibTrans" cxnId="{06DDB5BB-E19F-446F-9B70-58BF82763984}">
      <dgm:prSet/>
      <dgm:spPr/>
      <dgm:t>
        <a:bodyPr/>
        <a:lstStyle/>
        <a:p>
          <a:endParaRPr lang="en-US" sz="1200"/>
        </a:p>
      </dgm:t>
    </dgm:pt>
    <dgm:pt modelId="{E6B01DEB-8DA4-4C04-B924-006E43543384}">
      <dgm:prSet custT="1"/>
      <dgm:spPr>
        <a:xfrm>
          <a:off x="1813692" y="1842016"/>
          <a:ext cx="1315319" cy="78919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gm:spPr>
      <dgm:t>
        <a:bodyPr/>
        <a:lstStyle/>
        <a:p>
          <a:pPr>
            <a:buNone/>
          </a:pPr>
          <a:r>
            <a:rPr lang="en-US" sz="1200">
              <a:solidFill>
                <a:sysClr val="window" lastClr="FFFFFF"/>
              </a:solidFill>
              <a:latin typeface="Arial" panose="020B0604020202020204"/>
              <a:ea typeface="+mn-ea"/>
              <a:cs typeface="+mn-cs"/>
            </a:rPr>
            <a:t>Airline </a:t>
          </a:r>
          <a:br>
            <a:rPr lang="en-US" sz="1200">
              <a:solidFill>
                <a:sysClr val="window" lastClr="FFFFFF"/>
              </a:solidFill>
              <a:latin typeface="Arial" panose="020B0604020202020204"/>
              <a:ea typeface="+mn-ea"/>
              <a:cs typeface="+mn-cs"/>
            </a:rPr>
          </a:br>
          <a:r>
            <a:rPr lang="en-US" sz="1200">
              <a:solidFill>
                <a:sysClr val="window" lastClr="FFFFFF"/>
              </a:solidFill>
              <a:latin typeface="Arial" panose="020B0604020202020204"/>
              <a:ea typeface="+mn-ea"/>
              <a:cs typeface="+mn-cs"/>
            </a:rPr>
            <a:t>Connectivity</a:t>
          </a:r>
        </a:p>
      </dgm:t>
    </dgm:pt>
    <dgm:pt modelId="{75AED547-5B7B-441E-B15E-52DFE5886E4E}" type="parTrans" cxnId="{6456AF91-960A-422F-BE2A-525256954FF6}">
      <dgm:prSet/>
      <dgm:spPr/>
      <dgm:t>
        <a:bodyPr/>
        <a:lstStyle/>
        <a:p>
          <a:endParaRPr lang="en-US" sz="1600"/>
        </a:p>
      </dgm:t>
    </dgm:pt>
    <dgm:pt modelId="{99E200B1-71E0-4C48-9300-61EA0D49AECB}" type="sibTrans" cxnId="{6456AF91-960A-422F-BE2A-525256954FF6}">
      <dgm:prSet/>
      <dgm:spPr/>
      <dgm:t>
        <a:bodyPr/>
        <a:lstStyle/>
        <a:p>
          <a:endParaRPr lang="en-US" sz="1600"/>
        </a:p>
      </dgm:t>
    </dgm:pt>
    <dgm:pt modelId="{7C1FB9B9-4FDD-4815-AA97-5778D44B86CD}" type="pres">
      <dgm:prSet presAssocID="{DF2DFE4F-2609-4360-BB91-8241EDB21656}" presName="diagram" presStyleCnt="0">
        <dgm:presLayoutVars>
          <dgm:dir/>
          <dgm:resizeHandles val="exact"/>
        </dgm:presLayoutVars>
      </dgm:prSet>
      <dgm:spPr/>
    </dgm:pt>
    <dgm:pt modelId="{15FA4344-2173-47CB-818B-15B3E5A99288}" type="pres">
      <dgm:prSet presAssocID="{227A83D3-1444-43A5-A3A0-C77E84B2BB6F}" presName="node" presStyleLbl="node1" presStyleIdx="0" presStyleCnt="12">
        <dgm:presLayoutVars>
          <dgm:bulletEnabled val="1"/>
        </dgm:presLayoutVars>
      </dgm:prSet>
      <dgm:spPr/>
    </dgm:pt>
    <dgm:pt modelId="{D5963EA9-0E5F-4D94-A52E-F040F3317DDA}" type="pres">
      <dgm:prSet presAssocID="{C85CC6B4-062C-46FB-8C32-1243184245D8}" presName="sibTrans" presStyleCnt="0"/>
      <dgm:spPr/>
    </dgm:pt>
    <dgm:pt modelId="{BB2414EB-70D8-4449-B876-9617BEC9BB9E}" type="pres">
      <dgm:prSet presAssocID="{0A83F164-E5A6-4D66-901E-4C01A22422FB}" presName="node" presStyleLbl="node1" presStyleIdx="1" presStyleCnt="12">
        <dgm:presLayoutVars>
          <dgm:bulletEnabled val="1"/>
        </dgm:presLayoutVars>
      </dgm:prSet>
      <dgm:spPr/>
    </dgm:pt>
    <dgm:pt modelId="{AD740432-B2C8-40A0-90C0-635AAFB24326}" type="pres">
      <dgm:prSet presAssocID="{1B20CFED-DA7F-437C-BB0F-84BC49974300}" presName="sibTrans" presStyleCnt="0"/>
      <dgm:spPr/>
    </dgm:pt>
    <dgm:pt modelId="{D7E2CE7F-A12E-49D3-83BC-BE6EDA9A4826}" type="pres">
      <dgm:prSet presAssocID="{9CEE2294-8D5A-49CC-BA71-EEAB51F8631C}" presName="node" presStyleLbl="node1" presStyleIdx="2" presStyleCnt="12">
        <dgm:presLayoutVars>
          <dgm:bulletEnabled val="1"/>
        </dgm:presLayoutVars>
      </dgm:prSet>
      <dgm:spPr/>
    </dgm:pt>
    <dgm:pt modelId="{9B22B791-548C-4EE1-A3BE-6FF336D14ABA}" type="pres">
      <dgm:prSet presAssocID="{84CDD8FC-7353-49F9-8FFD-F6E49C683E2B}" presName="sibTrans" presStyleCnt="0"/>
      <dgm:spPr/>
    </dgm:pt>
    <dgm:pt modelId="{23DE0F11-373E-4FA0-80FE-BFF259BA68A4}" type="pres">
      <dgm:prSet presAssocID="{34DEBE4D-F490-44D3-BF7A-26965EC5679D}" presName="node" presStyleLbl="node1" presStyleIdx="3" presStyleCnt="12">
        <dgm:presLayoutVars>
          <dgm:bulletEnabled val="1"/>
        </dgm:presLayoutVars>
      </dgm:prSet>
      <dgm:spPr/>
    </dgm:pt>
    <dgm:pt modelId="{AC86C3D9-CCB1-4A5E-A071-5068675CB9EF}" type="pres">
      <dgm:prSet presAssocID="{8124B617-E054-42A5-BDD0-359D75EFE39C}" presName="sibTrans" presStyleCnt="0"/>
      <dgm:spPr/>
    </dgm:pt>
    <dgm:pt modelId="{3B447A0B-123C-400F-A70A-283077C24A3D}" type="pres">
      <dgm:prSet presAssocID="{672BDD27-A3EA-4AEA-9E0F-6769D0C8BE92}" presName="node" presStyleLbl="node1" presStyleIdx="4" presStyleCnt="12">
        <dgm:presLayoutVars>
          <dgm:bulletEnabled val="1"/>
        </dgm:presLayoutVars>
      </dgm:prSet>
      <dgm:spPr/>
    </dgm:pt>
    <dgm:pt modelId="{9E8AD1D8-09A6-4DFC-B1FC-B303D9524EC1}" type="pres">
      <dgm:prSet presAssocID="{D299363B-53BB-4D06-892C-0EFEF8E2D990}" presName="sibTrans" presStyleCnt="0"/>
      <dgm:spPr/>
    </dgm:pt>
    <dgm:pt modelId="{A827DB77-D1E6-4EFC-8787-2EAC39A2E9E4}" type="pres">
      <dgm:prSet presAssocID="{24BE588F-D894-4163-889D-EF8B91912A6B}" presName="node" presStyleLbl="node1" presStyleIdx="5" presStyleCnt="12">
        <dgm:presLayoutVars>
          <dgm:bulletEnabled val="1"/>
        </dgm:presLayoutVars>
      </dgm:prSet>
      <dgm:spPr/>
    </dgm:pt>
    <dgm:pt modelId="{6196E142-15E6-44CC-B42C-C00E02C7D1B6}" type="pres">
      <dgm:prSet presAssocID="{25E0BB9A-3EAB-4497-8FD6-A4E4ADF5DBC8}" presName="sibTrans" presStyleCnt="0"/>
      <dgm:spPr/>
    </dgm:pt>
    <dgm:pt modelId="{A7A62733-BFC3-4027-B883-F4DC3A4C539C}" type="pres">
      <dgm:prSet presAssocID="{C327A198-3558-4072-80F4-D3830C282C14}" presName="node" presStyleLbl="node1" presStyleIdx="6" presStyleCnt="12">
        <dgm:presLayoutVars>
          <dgm:bulletEnabled val="1"/>
        </dgm:presLayoutVars>
      </dgm:prSet>
      <dgm:spPr/>
    </dgm:pt>
    <dgm:pt modelId="{F2E0E34B-3F1B-427A-9CD3-06EE238F46FB}" type="pres">
      <dgm:prSet presAssocID="{3C0A261F-C230-4DAB-A66A-D3CE97684601}" presName="sibTrans" presStyleCnt="0"/>
      <dgm:spPr/>
    </dgm:pt>
    <dgm:pt modelId="{393B8DD2-8726-4105-8458-023CF40387E5}" type="pres">
      <dgm:prSet presAssocID="{E6B01DEB-8DA4-4C04-B924-006E43543384}" presName="node" presStyleLbl="node1" presStyleIdx="7" presStyleCnt="12">
        <dgm:presLayoutVars>
          <dgm:bulletEnabled val="1"/>
        </dgm:presLayoutVars>
      </dgm:prSet>
      <dgm:spPr/>
    </dgm:pt>
    <dgm:pt modelId="{B4183AF0-B2A3-481F-B005-EB607B9C5D56}" type="pres">
      <dgm:prSet presAssocID="{99E200B1-71E0-4C48-9300-61EA0D49AECB}" presName="sibTrans" presStyleCnt="0"/>
      <dgm:spPr/>
    </dgm:pt>
    <dgm:pt modelId="{F649340D-F3F7-4EE9-826C-A7ECD46DB557}" type="pres">
      <dgm:prSet presAssocID="{5BB3C3BE-0D02-42D4-B5E9-201F9B65C38A}" presName="node" presStyleLbl="node1" presStyleIdx="8" presStyleCnt="12">
        <dgm:presLayoutVars>
          <dgm:bulletEnabled val="1"/>
        </dgm:presLayoutVars>
      </dgm:prSet>
      <dgm:spPr/>
    </dgm:pt>
    <dgm:pt modelId="{BA1EEA0B-B5BB-4EF8-BC1A-31E78F50A258}" type="pres">
      <dgm:prSet presAssocID="{1E222350-9C00-43FA-AA42-8639FAABDC48}" presName="sibTrans" presStyleCnt="0"/>
      <dgm:spPr/>
    </dgm:pt>
    <dgm:pt modelId="{D429750D-40A7-40C7-B97C-5D91C8746A52}" type="pres">
      <dgm:prSet presAssocID="{3DC8C09A-9B53-4217-B8B6-7EAE413715EE}" presName="node" presStyleLbl="node1" presStyleIdx="9" presStyleCnt="12">
        <dgm:presLayoutVars>
          <dgm:bulletEnabled val="1"/>
        </dgm:presLayoutVars>
      </dgm:prSet>
      <dgm:spPr/>
    </dgm:pt>
    <dgm:pt modelId="{98ABAAF1-0A27-4F03-A2DF-DECBDF09AC3C}" type="pres">
      <dgm:prSet presAssocID="{EBD2AE6A-C55F-4469-A349-458EECE107AA}" presName="sibTrans" presStyleCnt="0"/>
      <dgm:spPr/>
    </dgm:pt>
    <dgm:pt modelId="{16994ABD-257C-4BCD-94C3-DC0785FEBD60}" type="pres">
      <dgm:prSet presAssocID="{25759666-B34F-47E2-B738-C443B5BD3112}" presName="node" presStyleLbl="node1" presStyleIdx="10" presStyleCnt="12">
        <dgm:presLayoutVars>
          <dgm:bulletEnabled val="1"/>
        </dgm:presLayoutVars>
      </dgm:prSet>
      <dgm:spPr/>
    </dgm:pt>
    <dgm:pt modelId="{403ECEA9-227B-4EB8-BAB0-B8535641F85E}" type="pres">
      <dgm:prSet presAssocID="{4AC9F97D-83A9-4DC4-94A8-159E53F11447}" presName="sibTrans" presStyleCnt="0"/>
      <dgm:spPr/>
    </dgm:pt>
    <dgm:pt modelId="{6CD2158A-1FFB-455D-9069-5B08FDC63883}" type="pres">
      <dgm:prSet presAssocID="{80635F6D-F307-4098-B989-1A75A3B6A0B6}" presName="node" presStyleLbl="node1" presStyleIdx="11" presStyleCnt="12">
        <dgm:presLayoutVars>
          <dgm:bulletEnabled val="1"/>
        </dgm:presLayoutVars>
      </dgm:prSet>
      <dgm:spPr/>
    </dgm:pt>
  </dgm:ptLst>
  <dgm:cxnLst>
    <dgm:cxn modelId="{B67D2F0D-520B-4A69-B4B4-9887B84CD20C}" type="presOf" srcId="{0A83F164-E5A6-4D66-901E-4C01A22422FB}" destId="{BB2414EB-70D8-4449-B876-9617BEC9BB9E}" srcOrd="0" destOrd="0" presId="urn:microsoft.com/office/officeart/2005/8/layout/default"/>
    <dgm:cxn modelId="{8238D80F-EFE6-4415-98C4-7B9CD87C11D8}" type="presOf" srcId="{80635F6D-F307-4098-B989-1A75A3B6A0B6}" destId="{6CD2158A-1FFB-455D-9069-5B08FDC63883}" srcOrd="0" destOrd="0" presId="urn:microsoft.com/office/officeart/2005/8/layout/default"/>
    <dgm:cxn modelId="{C458022E-82A7-42E1-A029-6E679E064046}" type="presOf" srcId="{24BE588F-D894-4163-889D-EF8B91912A6B}" destId="{A827DB77-D1E6-4EFC-8787-2EAC39A2E9E4}" srcOrd="0" destOrd="0" presId="urn:microsoft.com/office/officeart/2005/8/layout/default"/>
    <dgm:cxn modelId="{F0958B33-2836-4053-8605-B065955E86B6}" type="presOf" srcId="{3DC8C09A-9B53-4217-B8B6-7EAE413715EE}" destId="{D429750D-40A7-40C7-B97C-5D91C8746A52}" srcOrd="0" destOrd="0" presId="urn:microsoft.com/office/officeart/2005/8/layout/default"/>
    <dgm:cxn modelId="{D86B163D-B5C0-4C90-8B68-41EB033DC837}" srcId="{DF2DFE4F-2609-4360-BB91-8241EDB21656}" destId="{34DEBE4D-F490-44D3-BF7A-26965EC5679D}" srcOrd="3" destOrd="0" parTransId="{AC61BDC4-712C-4039-B393-A433CF7F6BE0}" sibTransId="{8124B617-E054-42A5-BDD0-359D75EFE39C}"/>
    <dgm:cxn modelId="{4CDA333F-1372-4179-AD31-FF76588B3806}" srcId="{DF2DFE4F-2609-4360-BB91-8241EDB21656}" destId="{9CEE2294-8D5A-49CC-BA71-EEAB51F8631C}" srcOrd="2" destOrd="0" parTransId="{6E0D5F25-05C7-4866-B931-E0E25A844D3A}" sibTransId="{84CDD8FC-7353-49F9-8FFD-F6E49C683E2B}"/>
    <dgm:cxn modelId="{76C92947-C2A6-45F3-AFD1-0DD6AD0549BF}" srcId="{DF2DFE4F-2609-4360-BB91-8241EDB21656}" destId="{672BDD27-A3EA-4AEA-9E0F-6769D0C8BE92}" srcOrd="4" destOrd="0" parTransId="{51DC85F4-21C8-44F4-942D-FB803EF4279E}" sibTransId="{D299363B-53BB-4D06-892C-0EFEF8E2D990}"/>
    <dgm:cxn modelId="{1C4B4049-3DA7-40EB-8565-2FD9B2A0FD7C}" type="presOf" srcId="{E6B01DEB-8DA4-4C04-B924-006E43543384}" destId="{393B8DD2-8726-4105-8458-023CF40387E5}" srcOrd="0" destOrd="0" presId="urn:microsoft.com/office/officeart/2005/8/layout/default"/>
    <dgm:cxn modelId="{6B7CB44E-0C07-4215-AFBA-BC1927B8AEA2}" srcId="{DF2DFE4F-2609-4360-BB91-8241EDB21656}" destId="{24BE588F-D894-4163-889D-EF8B91912A6B}" srcOrd="5" destOrd="0" parTransId="{D0076666-57BC-4F32-ABC8-E102FBA2EB71}" sibTransId="{25E0BB9A-3EAB-4497-8FD6-A4E4ADF5DBC8}"/>
    <dgm:cxn modelId="{4929DE6E-42BD-42C9-BA12-6A2ABA90F8F0}" srcId="{DF2DFE4F-2609-4360-BB91-8241EDB21656}" destId="{0A83F164-E5A6-4D66-901E-4C01A22422FB}" srcOrd="1" destOrd="0" parTransId="{ACCBB819-AC6C-419B-8E60-09ACB2159A60}" sibTransId="{1B20CFED-DA7F-437C-BB0F-84BC49974300}"/>
    <dgm:cxn modelId="{C762F96E-D077-4AF9-8F18-411C5D49AF96}" type="presOf" srcId="{DF2DFE4F-2609-4360-BB91-8241EDB21656}" destId="{7C1FB9B9-4FDD-4815-AA97-5778D44B86CD}" srcOrd="0" destOrd="0" presId="urn:microsoft.com/office/officeart/2005/8/layout/default"/>
    <dgm:cxn modelId="{B5C04350-505A-4D9C-8490-0047026F9B61}" srcId="{DF2DFE4F-2609-4360-BB91-8241EDB21656}" destId="{C327A198-3558-4072-80F4-D3830C282C14}" srcOrd="6" destOrd="0" parTransId="{84CCC7D0-CEA6-4299-9CF3-A1E2024FAA9F}" sibTransId="{3C0A261F-C230-4DAB-A66A-D3CE97684601}"/>
    <dgm:cxn modelId="{50EEA679-C2FF-4AE0-98E2-3ECE1924B6E2}" type="presOf" srcId="{9CEE2294-8D5A-49CC-BA71-EEAB51F8631C}" destId="{D7E2CE7F-A12E-49D3-83BC-BE6EDA9A4826}" srcOrd="0" destOrd="0" presId="urn:microsoft.com/office/officeart/2005/8/layout/default"/>
    <dgm:cxn modelId="{43D6A88A-DE0C-401F-9A8B-126FE74A5FED}" srcId="{DF2DFE4F-2609-4360-BB91-8241EDB21656}" destId="{227A83D3-1444-43A5-A3A0-C77E84B2BB6F}" srcOrd="0" destOrd="0" parTransId="{02C6498D-B8F2-4D0B-B656-078D95707B9C}" sibTransId="{C85CC6B4-062C-46FB-8C32-1243184245D8}"/>
    <dgm:cxn modelId="{6456AF91-960A-422F-BE2A-525256954FF6}" srcId="{DF2DFE4F-2609-4360-BB91-8241EDB21656}" destId="{E6B01DEB-8DA4-4C04-B924-006E43543384}" srcOrd="7" destOrd="0" parTransId="{75AED547-5B7B-441E-B15E-52DFE5886E4E}" sibTransId="{99E200B1-71E0-4C48-9300-61EA0D49AECB}"/>
    <dgm:cxn modelId="{A8564DB4-7CE5-48C4-9998-94CD483AAFE0}" type="presOf" srcId="{672BDD27-A3EA-4AEA-9E0F-6769D0C8BE92}" destId="{3B447A0B-123C-400F-A70A-283077C24A3D}" srcOrd="0" destOrd="0" presId="urn:microsoft.com/office/officeart/2005/8/layout/default"/>
    <dgm:cxn modelId="{6DFA75B8-5B11-40AC-AA23-E4807F36E8C7}" type="presOf" srcId="{25759666-B34F-47E2-B738-C443B5BD3112}" destId="{16994ABD-257C-4BCD-94C3-DC0785FEBD60}" srcOrd="0" destOrd="0" presId="urn:microsoft.com/office/officeart/2005/8/layout/default"/>
    <dgm:cxn modelId="{06DDB5BB-E19F-446F-9B70-58BF82763984}" srcId="{DF2DFE4F-2609-4360-BB91-8241EDB21656}" destId="{80635F6D-F307-4098-B989-1A75A3B6A0B6}" srcOrd="11" destOrd="0" parTransId="{E6A6D0A2-E2F5-4C72-86F7-2084C32E5D9B}" sibTransId="{F128FC4F-C6EE-4466-BC88-81B73D8CD583}"/>
    <dgm:cxn modelId="{1290B9BD-6973-4D75-BC82-C08B99FC2DDB}" srcId="{DF2DFE4F-2609-4360-BB91-8241EDB21656}" destId="{5BB3C3BE-0D02-42D4-B5E9-201F9B65C38A}" srcOrd="8" destOrd="0" parTransId="{9CA87C1A-5DDB-4270-89D6-C8910388DDDF}" sibTransId="{1E222350-9C00-43FA-AA42-8639FAABDC48}"/>
    <dgm:cxn modelId="{363245C3-3EB1-46C5-8811-CF559582FC60}" type="presOf" srcId="{34DEBE4D-F490-44D3-BF7A-26965EC5679D}" destId="{23DE0F11-373E-4FA0-80FE-BFF259BA68A4}" srcOrd="0" destOrd="0" presId="urn:microsoft.com/office/officeart/2005/8/layout/default"/>
    <dgm:cxn modelId="{63E8F8CC-D540-494D-A6B6-03B07AA35ABF}" type="presOf" srcId="{5BB3C3BE-0D02-42D4-B5E9-201F9B65C38A}" destId="{F649340D-F3F7-4EE9-826C-A7ECD46DB557}" srcOrd="0" destOrd="0" presId="urn:microsoft.com/office/officeart/2005/8/layout/default"/>
    <dgm:cxn modelId="{12C232E1-9ACC-4BC0-9300-BDD5B714EE2B}" srcId="{DF2DFE4F-2609-4360-BB91-8241EDB21656}" destId="{25759666-B34F-47E2-B738-C443B5BD3112}" srcOrd="10" destOrd="0" parTransId="{E28DCC20-8B25-4D06-AE57-982AE81CF4AF}" sibTransId="{4AC9F97D-83A9-4DC4-94A8-159E53F11447}"/>
    <dgm:cxn modelId="{63A76BE1-C3CC-4199-927D-2181058FAD35}" type="presOf" srcId="{227A83D3-1444-43A5-A3A0-C77E84B2BB6F}" destId="{15FA4344-2173-47CB-818B-15B3E5A99288}" srcOrd="0" destOrd="0" presId="urn:microsoft.com/office/officeart/2005/8/layout/default"/>
    <dgm:cxn modelId="{396D7CEC-0C8A-4165-BDCF-34FFB9652615}" type="presOf" srcId="{C327A198-3558-4072-80F4-D3830C282C14}" destId="{A7A62733-BFC3-4027-B883-F4DC3A4C539C}" srcOrd="0" destOrd="0" presId="urn:microsoft.com/office/officeart/2005/8/layout/default"/>
    <dgm:cxn modelId="{3BFC18F0-9C4A-449A-8304-2D776D3614A9}" srcId="{DF2DFE4F-2609-4360-BB91-8241EDB21656}" destId="{3DC8C09A-9B53-4217-B8B6-7EAE413715EE}" srcOrd="9" destOrd="0" parTransId="{F7B07744-88EF-4B66-AC1F-E7351C0C72B3}" sibTransId="{EBD2AE6A-C55F-4469-A349-458EECE107AA}"/>
    <dgm:cxn modelId="{94930BB0-3C0C-43D0-859C-6D6A7B846F2F}" type="presParOf" srcId="{7C1FB9B9-4FDD-4815-AA97-5778D44B86CD}" destId="{15FA4344-2173-47CB-818B-15B3E5A99288}" srcOrd="0" destOrd="0" presId="urn:microsoft.com/office/officeart/2005/8/layout/default"/>
    <dgm:cxn modelId="{7E48428F-0520-4B1C-8127-9867BAA9E7EB}" type="presParOf" srcId="{7C1FB9B9-4FDD-4815-AA97-5778D44B86CD}" destId="{D5963EA9-0E5F-4D94-A52E-F040F3317DDA}" srcOrd="1" destOrd="0" presId="urn:microsoft.com/office/officeart/2005/8/layout/default"/>
    <dgm:cxn modelId="{DF2C34B8-B558-4373-A217-3CD51A01AD31}" type="presParOf" srcId="{7C1FB9B9-4FDD-4815-AA97-5778D44B86CD}" destId="{BB2414EB-70D8-4449-B876-9617BEC9BB9E}" srcOrd="2" destOrd="0" presId="urn:microsoft.com/office/officeart/2005/8/layout/default"/>
    <dgm:cxn modelId="{A69DB597-F2D9-4C9A-93C2-0E373CBDBFA9}" type="presParOf" srcId="{7C1FB9B9-4FDD-4815-AA97-5778D44B86CD}" destId="{AD740432-B2C8-40A0-90C0-635AAFB24326}" srcOrd="3" destOrd="0" presId="urn:microsoft.com/office/officeart/2005/8/layout/default"/>
    <dgm:cxn modelId="{A2D13FDE-95E9-4485-9C96-2156D24A117D}" type="presParOf" srcId="{7C1FB9B9-4FDD-4815-AA97-5778D44B86CD}" destId="{D7E2CE7F-A12E-49D3-83BC-BE6EDA9A4826}" srcOrd="4" destOrd="0" presId="urn:microsoft.com/office/officeart/2005/8/layout/default"/>
    <dgm:cxn modelId="{8E19BC27-D752-4666-A45B-5F12C64B03BC}" type="presParOf" srcId="{7C1FB9B9-4FDD-4815-AA97-5778D44B86CD}" destId="{9B22B791-548C-4EE1-A3BE-6FF336D14ABA}" srcOrd="5" destOrd="0" presId="urn:microsoft.com/office/officeart/2005/8/layout/default"/>
    <dgm:cxn modelId="{00882A27-27BA-4EB2-B6C8-7E1489D1299E}" type="presParOf" srcId="{7C1FB9B9-4FDD-4815-AA97-5778D44B86CD}" destId="{23DE0F11-373E-4FA0-80FE-BFF259BA68A4}" srcOrd="6" destOrd="0" presId="urn:microsoft.com/office/officeart/2005/8/layout/default"/>
    <dgm:cxn modelId="{91C4D67C-E0E2-46DE-B56C-0D9775302ACD}" type="presParOf" srcId="{7C1FB9B9-4FDD-4815-AA97-5778D44B86CD}" destId="{AC86C3D9-CCB1-4A5E-A071-5068675CB9EF}" srcOrd="7" destOrd="0" presId="urn:microsoft.com/office/officeart/2005/8/layout/default"/>
    <dgm:cxn modelId="{87DEEE86-D5AE-479D-89A2-DBB018E7F2B4}" type="presParOf" srcId="{7C1FB9B9-4FDD-4815-AA97-5778D44B86CD}" destId="{3B447A0B-123C-400F-A70A-283077C24A3D}" srcOrd="8" destOrd="0" presId="urn:microsoft.com/office/officeart/2005/8/layout/default"/>
    <dgm:cxn modelId="{CB481AA9-EA98-4643-96EF-60545462F10B}" type="presParOf" srcId="{7C1FB9B9-4FDD-4815-AA97-5778D44B86CD}" destId="{9E8AD1D8-09A6-4DFC-B1FC-B303D9524EC1}" srcOrd="9" destOrd="0" presId="urn:microsoft.com/office/officeart/2005/8/layout/default"/>
    <dgm:cxn modelId="{29F6F1A9-9513-4081-9759-5450722756CE}" type="presParOf" srcId="{7C1FB9B9-4FDD-4815-AA97-5778D44B86CD}" destId="{A827DB77-D1E6-4EFC-8787-2EAC39A2E9E4}" srcOrd="10" destOrd="0" presId="urn:microsoft.com/office/officeart/2005/8/layout/default"/>
    <dgm:cxn modelId="{9E010F2B-A70F-4514-84E3-0C0ABAE593DE}" type="presParOf" srcId="{7C1FB9B9-4FDD-4815-AA97-5778D44B86CD}" destId="{6196E142-15E6-44CC-B42C-C00E02C7D1B6}" srcOrd="11" destOrd="0" presId="urn:microsoft.com/office/officeart/2005/8/layout/default"/>
    <dgm:cxn modelId="{F08085D5-9229-4B3F-BB18-C7086BCD698E}" type="presParOf" srcId="{7C1FB9B9-4FDD-4815-AA97-5778D44B86CD}" destId="{A7A62733-BFC3-4027-B883-F4DC3A4C539C}" srcOrd="12" destOrd="0" presId="urn:microsoft.com/office/officeart/2005/8/layout/default"/>
    <dgm:cxn modelId="{59E85CAD-23EF-48C3-8240-C058DFE3E649}" type="presParOf" srcId="{7C1FB9B9-4FDD-4815-AA97-5778D44B86CD}" destId="{F2E0E34B-3F1B-427A-9CD3-06EE238F46FB}" srcOrd="13" destOrd="0" presId="urn:microsoft.com/office/officeart/2005/8/layout/default"/>
    <dgm:cxn modelId="{E7106CE5-B642-49F0-9243-45ECC0EA294D}" type="presParOf" srcId="{7C1FB9B9-4FDD-4815-AA97-5778D44B86CD}" destId="{393B8DD2-8726-4105-8458-023CF40387E5}" srcOrd="14" destOrd="0" presId="urn:microsoft.com/office/officeart/2005/8/layout/default"/>
    <dgm:cxn modelId="{89B284E4-3B1C-4621-9F96-EAC677365E45}" type="presParOf" srcId="{7C1FB9B9-4FDD-4815-AA97-5778D44B86CD}" destId="{B4183AF0-B2A3-481F-B005-EB607B9C5D56}" srcOrd="15" destOrd="0" presId="urn:microsoft.com/office/officeart/2005/8/layout/default"/>
    <dgm:cxn modelId="{103DAAC4-353D-46F0-8152-6885C7D0C934}" type="presParOf" srcId="{7C1FB9B9-4FDD-4815-AA97-5778D44B86CD}" destId="{F649340D-F3F7-4EE9-826C-A7ECD46DB557}" srcOrd="16" destOrd="0" presId="urn:microsoft.com/office/officeart/2005/8/layout/default"/>
    <dgm:cxn modelId="{F345F7D9-A0D9-466F-BD15-EF49A9343E25}" type="presParOf" srcId="{7C1FB9B9-4FDD-4815-AA97-5778D44B86CD}" destId="{BA1EEA0B-B5BB-4EF8-BC1A-31E78F50A258}" srcOrd="17" destOrd="0" presId="urn:microsoft.com/office/officeart/2005/8/layout/default"/>
    <dgm:cxn modelId="{AFCE2038-5DD4-4B20-A077-025872D53CE3}" type="presParOf" srcId="{7C1FB9B9-4FDD-4815-AA97-5778D44B86CD}" destId="{D429750D-40A7-40C7-B97C-5D91C8746A52}" srcOrd="18" destOrd="0" presId="urn:microsoft.com/office/officeart/2005/8/layout/default"/>
    <dgm:cxn modelId="{3509C6CF-103C-4983-8CBD-CEAB0B298EEC}" type="presParOf" srcId="{7C1FB9B9-4FDD-4815-AA97-5778D44B86CD}" destId="{98ABAAF1-0A27-4F03-A2DF-DECBDF09AC3C}" srcOrd="19" destOrd="0" presId="urn:microsoft.com/office/officeart/2005/8/layout/default"/>
    <dgm:cxn modelId="{0A861DEC-BCB1-43C9-A2D7-746041142DA0}" type="presParOf" srcId="{7C1FB9B9-4FDD-4815-AA97-5778D44B86CD}" destId="{16994ABD-257C-4BCD-94C3-DC0785FEBD60}" srcOrd="20" destOrd="0" presId="urn:microsoft.com/office/officeart/2005/8/layout/default"/>
    <dgm:cxn modelId="{69608D6A-97A1-4FAF-BFBE-916EFB18135D}" type="presParOf" srcId="{7C1FB9B9-4FDD-4815-AA97-5778D44B86CD}" destId="{403ECEA9-227B-4EB8-BAB0-B8535641F85E}" srcOrd="21" destOrd="0" presId="urn:microsoft.com/office/officeart/2005/8/layout/default"/>
    <dgm:cxn modelId="{E58B8517-6147-4EC7-97E7-584E2AED5E22}" type="presParOf" srcId="{7C1FB9B9-4FDD-4815-AA97-5778D44B86CD}" destId="{6CD2158A-1FFB-455D-9069-5B08FDC63883}" srcOrd="22" destOrd="0" presId="urn:microsoft.com/office/officeart/2005/8/layout/default"/>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FA4344-2173-47CB-818B-15B3E5A99288}">
      <dsp:nvSpPr>
        <dsp:cNvPr id="0" name=""/>
        <dsp:cNvSpPr/>
      </dsp:nvSpPr>
      <dsp:spPr>
        <a:xfrm>
          <a:off x="362457" y="1367"/>
          <a:ext cx="1439936" cy="86396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solidFill>
                <a:sysClr val="window" lastClr="FFFFFF"/>
              </a:solidFill>
              <a:latin typeface="Arial" panose="020B0604020202020204"/>
              <a:ea typeface="+mn-ea"/>
              <a:cs typeface="+mn-cs"/>
            </a:rPr>
            <a:t>Connecting </a:t>
          </a:r>
          <a:br>
            <a:rPr lang="en-US" sz="1200" kern="1200">
              <a:solidFill>
                <a:sysClr val="window" lastClr="FFFFFF"/>
              </a:solidFill>
              <a:latin typeface="Arial" panose="020B0604020202020204"/>
              <a:ea typeface="+mn-ea"/>
              <a:cs typeface="+mn-cs"/>
            </a:rPr>
          </a:br>
          <a:r>
            <a:rPr lang="en-US" sz="1200" kern="1200">
              <a:solidFill>
                <a:sysClr val="window" lastClr="FFFFFF"/>
              </a:solidFill>
              <a:latin typeface="Arial" panose="020B0604020202020204"/>
              <a:ea typeface="+mn-ea"/>
              <a:cs typeface="+mn-cs"/>
            </a:rPr>
            <a:t>Rural Areas</a:t>
          </a:r>
        </a:p>
      </dsp:txBody>
      <dsp:txXfrm>
        <a:off x="362457" y="1367"/>
        <a:ext cx="1439936" cy="863961"/>
      </dsp:txXfrm>
    </dsp:sp>
    <dsp:sp modelId="{BB2414EB-70D8-4449-B876-9617BEC9BB9E}">
      <dsp:nvSpPr>
        <dsp:cNvPr id="0" name=""/>
        <dsp:cNvSpPr/>
      </dsp:nvSpPr>
      <dsp:spPr>
        <a:xfrm>
          <a:off x="1946387" y="1367"/>
          <a:ext cx="1439936" cy="86396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solidFill>
                <a:sysClr val="window" lastClr="FFFFFF"/>
              </a:solidFill>
              <a:latin typeface="Arial" panose="020B0604020202020204"/>
              <a:ea typeface="+mn-ea"/>
              <a:cs typeface="+mn-cs"/>
            </a:rPr>
            <a:t>Resilience Communication Infrastructure</a:t>
          </a:r>
        </a:p>
      </dsp:txBody>
      <dsp:txXfrm>
        <a:off x="1946387" y="1367"/>
        <a:ext cx="1439936" cy="863961"/>
      </dsp:txXfrm>
    </dsp:sp>
    <dsp:sp modelId="{D7E2CE7F-A12E-49D3-83BC-BE6EDA9A4826}">
      <dsp:nvSpPr>
        <dsp:cNvPr id="0" name=""/>
        <dsp:cNvSpPr/>
      </dsp:nvSpPr>
      <dsp:spPr>
        <a:xfrm>
          <a:off x="3530317" y="1367"/>
          <a:ext cx="1439936" cy="86396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solidFill>
                <a:sysClr val="window" lastClr="FFFFFF"/>
              </a:solidFill>
              <a:latin typeface="Arial" panose="020B0604020202020204"/>
              <a:ea typeface="+mn-ea"/>
              <a:cs typeface="+mn-cs"/>
            </a:rPr>
            <a:t>Autonomous Driving and Transportation</a:t>
          </a:r>
        </a:p>
      </dsp:txBody>
      <dsp:txXfrm>
        <a:off x="3530317" y="1367"/>
        <a:ext cx="1439936" cy="863961"/>
      </dsp:txXfrm>
    </dsp:sp>
    <dsp:sp modelId="{23DE0F11-373E-4FA0-80FE-BFF259BA68A4}">
      <dsp:nvSpPr>
        <dsp:cNvPr id="0" name=""/>
        <dsp:cNvSpPr/>
      </dsp:nvSpPr>
      <dsp:spPr>
        <a:xfrm>
          <a:off x="362457" y="1009322"/>
          <a:ext cx="1439936" cy="86396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solidFill>
                <a:sysClr val="window" lastClr="FFFFFF"/>
              </a:solidFill>
              <a:latin typeface="Arial" panose="020B0604020202020204"/>
              <a:ea typeface="+mn-ea"/>
              <a:cs typeface="+mn-cs"/>
            </a:rPr>
            <a:t>Fast Train </a:t>
          </a:r>
          <a:br>
            <a:rPr lang="en-US" sz="1200" kern="1200">
              <a:solidFill>
                <a:sysClr val="window" lastClr="FFFFFF"/>
              </a:solidFill>
              <a:latin typeface="Arial" panose="020B0604020202020204"/>
              <a:ea typeface="+mn-ea"/>
              <a:cs typeface="+mn-cs"/>
            </a:rPr>
          </a:br>
          <a:r>
            <a:rPr lang="en-US" sz="1200" kern="1200">
              <a:solidFill>
                <a:sysClr val="window" lastClr="FFFFFF"/>
              </a:solidFill>
              <a:latin typeface="Arial" panose="020B0604020202020204"/>
              <a:ea typeface="+mn-ea"/>
              <a:cs typeface="+mn-cs"/>
            </a:rPr>
            <a:t>Support</a:t>
          </a:r>
        </a:p>
      </dsp:txBody>
      <dsp:txXfrm>
        <a:off x="362457" y="1009322"/>
        <a:ext cx="1439936" cy="863961"/>
      </dsp:txXfrm>
    </dsp:sp>
    <dsp:sp modelId="{3B447A0B-123C-400F-A70A-283077C24A3D}">
      <dsp:nvSpPr>
        <dsp:cNvPr id="0" name=""/>
        <dsp:cNvSpPr/>
      </dsp:nvSpPr>
      <dsp:spPr>
        <a:xfrm>
          <a:off x="1946387" y="1009322"/>
          <a:ext cx="1439936" cy="86396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solidFill>
                <a:sysClr val="window" lastClr="FFFFFF"/>
              </a:solidFill>
              <a:latin typeface="Arial" panose="020B0604020202020204"/>
              <a:ea typeface="+mn-ea"/>
              <a:cs typeface="+mn-cs"/>
            </a:rPr>
            <a:t>Intelligent </a:t>
          </a:r>
          <a:br>
            <a:rPr lang="en-US" sz="1200" kern="1200">
              <a:solidFill>
                <a:sysClr val="window" lastClr="FFFFFF"/>
              </a:solidFill>
              <a:latin typeface="Arial" panose="020B0604020202020204"/>
              <a:ea typeface="+mn-ea"/>
              <a:cs typeface="+mn-cs"/>
            </a:rPr>
          </a:br>
          <a:r>
            <a:rPr lang="en-US" sz="1200" kern="1200">
              <a:solidFill>
                <a:sysClr val="window" lastClr="FFFFFF"/>
              </a:solidFill>
              <a:latin typeface="Arial" panose="020B0604020202020204"/>
              <a:ea typeface="+mn-ea"/>
              <a:cs typeface="+mn-cs"/>
            </a:rPr>
            <a:t>Farming</a:t>
          </a:r>
        </a:p>
      </dsp:txBody>
      <dsp:txXfrm>
        <a:off x="1946387" y="1009322"/>
        <a:ext cx="1439936" cy="863961"/>
      </dsp:txXfrm>
    </dsp:sp>
    <dsp:sp modelId="{A827DB77-D1E6-4EFC-8787-2EAC39A2E9E4}">
      <dsp:nvSpPr>
        <dsp:cNvPr id="0" name=""/>
        <dsp:cNvSpPr/>
      </dsp:nvSpPr>
      <dsp:spPr>
        <a:xfrm>
          <a:off x="3530317" y="1009322"/>
          <a:ext cx="1439936" cy="86396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solidFill>
                <a:sysClr val="window" lastClr="FFFFFF"/>
              </a:solidFill>
              <a:latin typeface="Arial" panose="020B0604020202020204"/>
              <a:ea typeface="+mn-ea"/>
              <a:cs typeface="+mn-cs"/>
            </a:rPr>
            <a:t>World-wide Logistics</a:t>
          </a:r>
        </a:p>
      </dsp:txBody>
      <dsp:txXfrm>
        <a:off x="3530317" y="1009322"/>
        <a:ext cx="1439936" cy="863961"/>
      </dsp:txXfrm>
    </dsp:sp>
    <dsp:sp modelId="{A7A62733-BFC3-4027-B883-F4DC3A4C539C}">
      <dsp:nvSpPr>
        <dsp:cNvPr id="0" name=""/>
        <dsp:cNvSpPr/>
      </dsp:nvSpPr>
      <dsp:spPr>
        <a:xfrm>
          <a:off x="362457" y="2017278"/>
          <a:ext cx="1439936" cy="86396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solidFill>
                <a:sysClr val="window" lastClr="FFFFFF"/>
              </a:solidFill>
              <a:latin typeface="Arial" panose="020B0604020202020204"/>
              <a:ea typeface="+mn-ea"/>
              <a:cs typeface="+mn-cs"/>
            </a:rPr>
            <a:t>Maritime Connectivity</a:t>
          </a:r>
        </a:p>
      </dsp:txBody>
      <dsp:txXfrm>
        <a:off x="362457" y="2017278"/>
        <a:ext cx="1439936" cy="863961"/>
      </dsp:txXfrm>
    </dsp:sp>
    <dsp:sp modelId="{393B8DD2-8726-4105-8458-023CF40387E5}">
      <dsp:nvSpPr>
        <dsp:cNvPr id="0" name=""/>
        <dsp:cNvSpPr/>
      </dsp:nvSpPr>
      <dsp:spPr>
        <a:xfrm>
          <a:off x="1946387" y="2017278"/>
          <a:ext cx="1439936" cy="86396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solidFill>
                <a:sysClr val="window" lastClr="FFFFFF"/>
              </a:solidFill>
              <a:latin typeface="Arial" panose="020B0604020202020204"/>
              <a:ea typeface="+mn-ea"/>
              <a:cs typeface="+mn-cs"/>
            </a:rPr>
            <a:t>Airline </a:t>
          </a:r>
          <a:br>
            <a:rPr lang="en-US" sz="1200" kern="1200">
              <a:solidFill>
                <a:sysClr val="window" lastClr="FFFFFF"/>
              </a:solidFill>
              <a:latin typeface="Arial" panose="020B0604020202020204"/>
              <a:ea typeface="+mn-ea"/>
              <a:cs typeface="+mn-cs"/>
            </a:rPr>
          </a:br>
          <a:r>
            <a:rPr lang="en-US" sz="1200" kern="1200">
              <a:solidFill>
                <a:sysClr val="window" lastClr="FFFFFF"/>
              </a:solidFill>
              <a:latin typeface="Arial" panose="020B0604020202020204"/>
              <a:ea typeface="+mn-ea"/>
              <a:cs typeface="+mn-cs"/>
            </a:rPr>
            <a:t>Connectivity</a:t>
          </a:r>
        </a:p>
      </dsp:txBody>
      <dsp:txXfrm>
        <a:off x="1946387" y="2017278"/>
        <a:ext cx="1439936" cy="863961"/>
      </dsp:txXfrm>
    </dsp:sp>
    <dsp:sp modelId="{F649340D-F3F7-4EE9-826C-A7ECD46DB557}">
      <dsp:nvSpPr>
        <dsp:cNvPr id="0" name=""/>
        <dsp:cNvSpPr/>
      </dsp:nvSpPr>
      <dsp:spPr>
        <a:xfrm>
          <a:off x="3530317" y="2017278"/>
          <a:ext cx="1439936" cy="86396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solidFill>
                <a:sysClr val="window" lastClr="FFFFFF"/>
              </a:solidFill>
              <a:latin typeface="Arial" panose="020B0604020202020204"/>
              <a:ea typeface="+mn-ea"/>
              <a:cs typeface="+mn-cs"/>
            </a:rPr>
            <a:t>Health</a:t>
          </a:r>
          <a:br>
            <a:rPr lang="en-US" sz="1200" kern="1200">
              <a:solidFill>
                <a:sysClr val="window" lastClr="FFFFFF"/>
              </a:solidFill>
              <a:latin typeface="Arial" panose="020B0604020202020204"/>
              <a:ea typeface="+mn-ea"/>
              <a:cs typeface="+mn-cs"/>
            </a:rPr>
          </a:br>
          <a:r>
            <a:rPr lang="en-US" sz="1200" kern="1200">
              <a:solidFill>
                <a:sysClr val="window" lastClr="FFFFFF"/>
              </a:solidFill>
              <a:latin typeface="Arial" panose="020B0604020202020204"/>
              <a:ea typeface="+mn-ea"/>
              <a:cs typeface="+mn-cs"/>
            </a:rPr>
            <a:t>support</a:t>
          </a:r>
        </a:p>
      </dsp:txBody>
      <dsp:txXfrm>
        <a:off x="3530317" y="2017278"/>
        <a:ext cx="1439936" cy="863961"/>
      </dsp:txXfrm>
    </dsp:sp>
    <dsp:sp modelId="{D429750D-40A7-40C7-B97C-5D91C8746A52}">
      <dsp:nvSpPr>
        <dsp:cNvPr id="0" name=""/>
        <dsp:cNvSpPr/>
      </dsp:nvSpPr>
      <dsp:spPr>
        <a:xfrm>
          <a:off x="362457" y="3025233"/>
          <a:ext cx="1439936" cy="86396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solidFill>
                <a:sysClr val="window" lastClr="FFFFFF"/>
              </a:solidFill>
              <a:latin typeface="Arial" panose="020B0604020202020204"/>
              <a:ea typeface="+mn-ea"/>
              <a:cs typeface="+mn-cs"/>
            </a:rPr>
            <a:t>Earth Observation &amp; Environmental Monitoring</a:t>
          </a:r>
        </a:p>
      </dsp:txBody>
      <dsp:txXfrm>
        <a:off x="362457" y="3025233"/>
        <a:ext cx="1439936" cy="863961"/>
      </dsp:txXfrm>
    </dsp:sp>
    <dsp:sp modelId="{16994ABD-257C-4BCD-94C3-DC0785FEBD60}">
      <dsp:nvSpPr>
        <dsp:cNvPr id="0" name=""/>
        <dsp:cNvSpPr/>
      </dsp:nvSpPr>
      <dsp:spPr>
        <a:xfrm>
          <a:off x="1946387" y="3025233"/>
          <a:ext cx="1439936" cy="86396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solidFill>
                <a:sysClr val="window" lastClr="FFFFFF"/>
              </a:solidFill>
              <a:latin typeface="Arial" panose="020B0604020202020204"/>
              <a:ea typeface="+mn-ea"/>
              <a:cs typeface="+mn-cs"/>
            </a:rPr>
            <a:t>Governmental Services</a:t>
          </a:r>
        </a:p>
      </dsp:txBody>
      <dsp:txXfrm>
        <a:off x="1946387" y="3025233"/>
        <a:ext cx="1439936" cy="863961"/>
      </dsp:txXfrm>
    </dsp:sp>
    <dsp:sp modelId="{6CD2158A-1FFB-455D-9069-5B08FDC63883}">
      <dsp:nvSpPr>
        <dsp:cNvPr id="0" name=""/>
        <dsp:cNvSpPr/>
      </dsp:nvSpPr>
      <dsp:spPr>
        <a:xfrm>
          <a:off x="3530317" y="3025233"/>
          <a:ext cx="1439936" cy="863961"/>
        </a:xfrm>
        <a:prstGeom prst="rect">
          <a:avLst/>
        </a:prstGeom>
        <a:gradFill rotWithShape="0">
          <a:gsLst>
            <a:gs pos="0">
              <a:srgbClr val="0D68B0">
                <a:hueOff val="0"/>
                <a:satOff val="0"/>
                <a:lumOff val="0"/>
                <a:alphaOff val="0"/>
                <a:satMod val="103000"/>
                <a:lumMod val="102000"/>
                <a:tint val="94000"/>
              </a:srgbClr>
            </a:gs>
            <a:gs pos="50000">
              <a:srgbClr val="0D68B0">
                <a:hueOff val="0"/>
                <a:satOff val="0"/>
                <a:lumOff val="0"/>
                <a:alphaOff val="0"/>
                <a:satMod val="110000"/>
                <a:lumMod val="100000"/>
                <a:shade val="100000"/>
              </a:srgbClr>
            </a:gs>
            <a:gs pos="100000">
              <a:srgbClr val="0D68B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solidFill>
                <a:sysClr val="window" lastClr="FFFFFF"/>
              </a:solidFill>
              <a:latin typeface="Arial" panose="020B0604020202020204"/>
              <a:ea typeface="+mn-ea"/>
              <a:cs typeface="+mn-cs"/>
            </a:rPr>
            <a:t>Stock Exchange Networks </a:t>
          </a:r>
          <a:br>
            <a:rPr lang="en-US" sz="1200" kern="1200">
              <a:solidFill>
                <a:sysClr val="window" lastClr="FFFFFF"/>
              </a:solidFill>
              <a:latin typeface="Arial" panose="020B0604020202020204"/>
              <a:ea typeface="+mn-ea"/>
              <a:cs typeface="+mn-cs"/>
            </a:rPr>
          </a:br>
          <a:r>
            <a:rPr lang="en-US" sz="1200" kern="1200">
              <a:solidFill>
                <a:sysClr val="window" lastClr="FFFFFF"/>
              </a:solidFill>
              <a:latin typeface="Arial" panose="020B0604020202020204"/>
              <a:ea typeface="+mn-ea"/>
              <a:cs typeface="+mn-cs"/>
            </a:rPr>
            <a:t>(Security)</a:t>
          </a:r>
        </a:p>
      </dsp:txBody>
      <dsp:txXfrm>
        <a:off x="3530317" y="3025233"/>
        <a:ext cx="1439936" cy="863961"/>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51BCD205-8F36-4A51-A59B-157273EF3EAD}"/>
              </a:ext>
            </a:extLst>
          </p:cNvPr>
          <p:cNvSpPr txBox="1">
            <a:spLocks noGrp="1"/>
          </p:cNvSpPr>
          <p:nvPr>
            <p:ph type="hdr" sz="quarter"/>
          </p:nvPr>
        </p:nvSpPr>
        <p:spPr>
          <a:xfrm>
            <a:off x="0" y="0"/>
            <a:ext cx="3280680" cy="534240"/>
          </a:xfrm>
          <a:prstGeom prst="rect">
            <a:avLst/>
          </a:prstGeom>
          <a:noFill/>
          <a:ln>
            <a:noFill/>
          </a:ln>
        </p:spPr>
        <p:txBody>
          <a:bodyPr vert="horz" wrap="none" lIns="90000" tIns="45000" rIns="90000" bIns="45000" anchorCtr="0" compatLnSpc="0">
            <a:noAutofit/>
          </a:bodyPr>
          <a:lstStyle/>
          <a:p>
            <a:pPr marL="0" marR="0" lvl="0" indent="0" rtl="0" hangingPunct="0">
              <a:lnSpc>
                <a:spcPct val="100000"/>
              </a:lnSpc>
              <a:spcBef>
                <a:spcPts val="0"/>
              </a:spcBef>
              <a:spcAft>
                <a:spcPts val="0"/>
              </a:spcAft>
              <a:buNone/>
              <a:tabLst/>
              <a:defRPr sz="1400"/>
            </a:pPr>
            <a:endParaRPr lang="en-GB" sz="1400" b="0" i="0" u="none" strike="noStrike" kern="1200">
              <a:ln>
                <a:noFill/>
              </a:ln>
              <a:latin typeface="Liberation Sans" pitchFamily="18"/>
              <a:ea typeface="Microsoft YaHei" pitchFamily="2"/>
              <a:cs typeface="Arial" pitchFamily="2"/>
            </a:endParaRPr>
          </a:p>
        </p:txBody>
      </p:sp>
      <p:sp>
        <p:nvSpPr>
          <p:cNvPr id="3" name="Datumsplatzhalter 2">
            <a:extLst>
              <a:ext uri="{FF2B5EF4-FFF2-40B4-BE49-F238E27FC236}">
                <a16:creationId xmlns:a16="http://schemas.microsoft.com/office/drawing/2014/main" id="{081507F7-4154-41C5-AD06-AAA53FD6CD8D}"/>
              </a:ext>
            </a:extLst>
          </p:cNvPr>
          <p:cNvSpPr txBox="1">
            <a:spLocks noGrp="1"/>
          </p:cNvSpPr>
          <p:nvPr>
            <p:ph type="dt" sz="quarter" idx="1"/>
          </p:nvPr>
        </p:nvSpPr>
        <p:spPr>
          <a:xfrm>
            <a:off x="4278960" y="0"/>
            <a:ext cx="3280680" cy="534240"/>
          </a:xfrm>
          <a:prstGeom prst="rect">
            <a:avLst/>
          </a:prstGeom>
          <a:noFill/>
          <a:ln>
            <a:noFill/>
          </a:ln>
        </p:spPr>
        <p:txBody>
          <a:bodyPr vert="horz" wrap="none" lIns="90000" tIns="45000" rIns="90000" bIns="45000" anchorCtr="0" compatLnSpc="0">
            <a:noAutofit/>
          </a:bodyPr>
          <a:lstStyle/>
          <a:p>
            <a:pPr marL="0" marR="0" lvl="0" indent="0" algn="r" rtl="0" hangingPunct="0">
              <a:lnSpc>
                <a:spcPct val="100000"/>
              </a:lnSpc>
              <a:spcBef>
                <a:spcPts val="0"/>
              </a:spcBef>
              <a:spcAft>
                <a:spcPts val="0"/>
              </a:spcAft>
              <a:buNone/>
              <a:tabLst/>
              <a:defRPr sz="1400"/>
            </a:pPr>
            <a:endParaRPr lang="en-GB" sz="1400" b="0" i="0" u="none" strike="noStrike" kern="1200">
              <a:ln>
                <a:noFill/>
              </a:ln>
              <a:latin typeface="Liberation Sans" pitchFamily="18"/>
              <a:ea typeface="Microsoft YaHei" pitchFamily="2"/>
              <a:cs typeface="Arial" pitchFamily="2"/>
            </a:endParaRPr>
          </a:p>
        </p:txBody>
      </p:sp>
      <p:sp>
        <p:nvSpPr>
          <p:cNvPr id="4" name="Fußzeilenplatzhalter 3">
            <a:extLst>
              <a:ext uri="{FF2B5EF4-FFF2-40B4-BE49-F238E27FC236}">
                <a16:creationId xmlns:a16="http://schemas.microsoft.com/office/drawing/2014/main" id="{439808F4-C0D0-4B79-B507-366129D9663E}"/>
              </a:ext>
            </a:extLst>
          </p:cNvPr>
          <p:cNvSpPr txBox="1">
            <a:spLocks noGrp="1"/>
          </p:cNvSpPr>
          <p:nvPr>
            <p:ph type="ftr" sz="quarter" idx="2"/>
          </p:nvPr>
        </p:nvSpPr>
        <p:spPr>
          <a:xfrm>
            <a:off x="0" y="10157400"/>
            <a:ext cx="3280680" cy="534240"/>
          </a:xfrm>
          <a:prstGeom prst="rect">
            <a:avLst/>
          </a:prstGeom>
          <a:noFill/>
          <a:ln>
            <a:noFill/>
          </a:ln>
        </p:spPr>
        <p:txBody>
          <a:bodyPr vert="horz" wrap="none" lIns="90000" tIns="45000" rIns="90000" bIns="45000" anchor="b" anchorCtr="0" compatLnSpc="0">
            <a:noAutofit/>
          </a:bodyPr>
          <a:lstStyle/>
          <a:p>
            <a:pPr marL="0" marR="0" lvl="0" indent="0" rtl="0" hangingPunct="0">
              <a:lnSpc>
                <a:spcPct val="100000"/>
              </a:lnSpc>
              <a:spcBef>
                <a:spcPts val="0"/>
              </a:spcBef>
              <a:spcAft>
                <a:spcPts val="0"/>
              </a:spcAft>
              <a:buNone/>
              <a:tabLst/>
              <a:defRPr sz="1400"/>
            </a:pPr>
            <a:r>
              <a:rPr lang="en-GB" sz="1400" b="0" i="0" u="none" strike="noStrike" kern="1200">
                <a:ln>
                  <a:noFill/>
                </a:ln>
                <a:latin typeface="Liberation Sans" pitchFamily="18"/>
                <a:ea typeface="Microsoft YaHei" pitchFamily="2"/>
                <a:cs typeface="Arial" pitchFamily="2"/>
              </a:rPr>
              <a:t>AInur Daurembekova</a:t>
            </a:r>
          </a:p>
        </p:txBody>
      </p:sp>
      <p:sp>
        <p:nvSpPr>
          <p:cNvPr id="5" name="Foliennummernplatzhalter 4">
            <a:extLst>
              <a:ext uri="{FF2B5EF4-FFF2-40B4-BE49-F238E27FC236}">
                <a16:creationId xmlns:a16="http://schemas.microsoft.com/office/drawing/2014/main" id="{A7B99BBD-E277-4A15-B6BE-FF65D6712B92}"/>
              </a:ext>
            </a:extLst>
          </p:cNvPr>
          <p:cNvSpPr txBox="1">
            <a:spLocks noGrp="1"/>
          </p:cNvSpPr>
          <p:nvPr>
            <p:ph type="sldNum" sz="quarter" idx="3"/>
          </p:nvPr>
        </p:nvSpPr>
        <p:spPr>
          <a:xfrm>
            <a:off x="4278960" y="10157400"/>
            <a:ext cx="3280680" cy="534240"/>
          </a:xfrm>
          <a:prstGeom prst="rect">
            <a:avLst/>
          </a:prstGeom>
          <a:noFill/>
          <a:ln>
            <a:noFill/>
          </a:ln>
        </p:spPr>
        <p:txBody>
          <a:bodyPr vert="horz" wrap="none" lIns="90000" tIns="45000" rIns="90000" bIns="45000" anchor="b" anchorCtr="0" compatLnSpc="0">
            <a:noAutofit/>
          </a:bodyPr>
          <a:lstStyle/>
          <a:p>
            <a:pPr marL="0" marR="0" lvl="0" indent="0" algn="r" rtl="0" hangingPunct="0">
              <a:lnSpc>
                <a:spcPct val="100000"/>
              </a:lnSpc>
              <a:spcBef>
                <a:spcPts val="0"/>
              </a:spcBef>
              <a:spcAft>
                <a:spcPts val="0"/>
              </a:spcAft>
              <a:buNone/>
              <a:tabLst/>
              <a:defRPr sz="1400"/>
            </a:pPr>
            <a:fld id="{282DABF2-69F3-4754-81F2-D76D56CBB13B}" type="slidenum">
              <a:t>‹#›</a:t>
            </a:fld>
            <a:endParaRPr lang="en-GB" sz="1400" b="0" i="0" u="none" strike="noStrike" kern="1200">
              <a:ln>
                <a:noFill/>
              </a:ln>
              <a:latin typeface="Liberation Sans" pitchFamily="18"/>
              <a:ea typeface="Microsoft YaHei" pitchFamily="2"/>
              <a:cs typeface="Arial" pitchFamily="2"/>
            </a:endParaRPr>
          </a:p>
        </p:txBody>
      </p:sp>
    </p:spTree>
    <p:extLst>
      <p:ext uri="{BB962C8B-B14F-4D97-AF65-F5344CB8AC3E}">
        <p14:creationId xmlns:p14="http://schemas.microsoft.com/office/powerpoint/2010/main" val="310280789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13C32813-D077-456C-9BA7-7BEBD6A9ACE2}"/>
              </a:ext>
            </a:extLst>
          </p:cNvPr>
          <p:cNvSpPr>
            <a:spLocks noGrp="1" noRot="1" noChangeAspect="1"/>
          </p:cNvSpPr>
          <p:nvPr>
            <p:ph type="sldImg" idx="2"/>
          </p:nvPr>
        </p:nvSpPr>
        <p:spPr>
          <a:xfrm>
            <a:off x="217488" y="812800"/>
            <a:ext cx="7123112" cy="4008438"/>
          </a:xfrm>
          <a:prstGeom prst="rect">
            <a:avLst/>
          </a:prstGeom>
          <a:noFill/>
          <a:ln>
            <a:noFill/>
            <a:prstDash val="solid"/>
          </a:ln>
        </p:spPr>
      </p:sp>
      <p:sp>
        <p:nvSpPr>
          <p:cNvPr id="3" name="Notizenplatzhalter 2">
            <a:extLst>
              <a:ext uri="{FF2B5EF4-FFF2-40B4-BE49-F238E27FC236}">
                <a16:creationId xmlns:a16="http://schemas.microsoft.com/office/drawing/2014/main" id="{29A666E8-F8B3-4D81-8866-E0B3FFF15083}"/>
              </a:ext>
            </a:extLst>
          </p:cNvPr>
          <p:cNvSpPr txBox="1">
            <a:spLocks noGrp="1"/>
          </p:cNvSpPr>
          <p:nvPr>
            <p:ph type="body" sz="quarter" idx="3"/>
          </p:nvPr>
        </p:nvSpPr>
        <p:spPr>
          <a:xfrm>
            <a:off x="756000" y="5078520"/>
            <a:ext cx="6047640" cy="4811040"/>
          </a:xfrm>
          <a:prstGeom prst="rect">
            <a:avLst/>
          </a:prstGeom>
          <a:noFill/>
          <a:ln>
            <a:noFill/>
          </a:ln>
        </p:spPr>
        <p:txBody>
          <a:bodyPr lIns="0" tIns="0" rIns="0" bIns="0"/>
          <a:lstStyle/>
          <a:p>
            <a:endParaRPr lang="en-GB"/>
          </a:p>
        </p:txBody>
      </p:sp>
      <p:sp>
        <p:nvSpPr>
          <p:cNvPr id="4" name="Kopfzeilenplatzhalter 3">
            <a:extLst>
              <a:ext uri="{FF2B5EF4-FFF2-40B4-BE49-F238E27FC236}">
                <a16:creationId xmlns:a16="http://schemas.microsoft.com/office/drawing/2014/main" id="{0CDFAF95-D67D-475F-9A45-AFCA9C4146D0}"/>
              </a:ext>
            </a:extLst>
          </p:cNvPr>
          <p:cNvSpPr txBox="1">
            <a:spLocks noGrp="1"/>
          </p:cNvSpPr>
          <p:nvPr>
            <p:ph type="hdr" sz="quarter"/>
          </p:nvPr>
        </p:nvSpPr>
        <p:spPr>
          <a:xfrm>
            <a:off x="0" y="0"/>
            <a:ext cx="3280680" cy="534240"/>
          </a:xfrm>
          <a:prstGeom prst="rect">
            <a:avLst/>
          </a:prstGeom>
          <a:noFill/>
          <a:ln>
            <a:noFill/>
          </a:ln>
        </p:spPr>
        <p:txBody>
          <a:bodyPr lIns="0" tIns="0" rIns="0" bIns="0" anchorCtr="0">
            <a:noAutofit/>
          </a:bodyPr>
          <a:lstStyle>
            <a:lvl1pPr lvl="0" rtl="0" hangingPunct="0">
              <a:buNone/>
              <a:tabLst/>
              <a:defRPr lang="en-GB" sz="1400" kern="1200">
                <a:latin typeface="Times New Roman" pitchFamily="18"/>
                <a:ea typeface="Lucida Sans Unicode" pitchFamily="2"/>
                <a:cs typeface="Tahoma" pitchFamily="2"/>
              </a:defRPr>
            </a:lvl1pPr>
          </a:lstStyle>
          <a:p>
            <a:pPr lvl="0"/>
            <a:endParaRPr lang="en-GB"/>
          </a:p>
        </p:txBody>
      </p:sp>
      <p:sp>
        <p:nvSpPr>
          <p:cNvPr id="5" name="Datumsplatzhalter 4">
            <a:extLst>
              <a:ext uri="{FF2B5EF4-FFF2-40B4-BE49-F238E27FC236}">
                <a16:creationId xmlns:a16="http://schemas.microsoft.com/office/drawing/2014/main" id="{ED16ADFE-3571-4723-B9A1-94A3B41636CA}"/>
              </a:ext>
            </a:extLst>
          </p:cNvPr>
          <p:cNvSpPr txBox="1">
            <a:spLocks noGrp="1"/>
          </p:cNvSpPr>
          <p:nvPr>
            <p:ph type="dt" idx="1"/>
          </p:nvPr>
        </p:nvSpPr>
        <p:spPr>
          <a:xfrm>
            <a:off x="4278960" y="0"/>
            <a:ext cx="3280680" cy="534240"/>
          </a:xfrm>
          <a:prstGeom prst="rect">
            <a:avLst/>
          </a:prstGeom>
          <a:noFill/>
          <a:ln>
            <a:noFill/>
          </a:ln>
        </p:spPr>
        <p:txBody>
          <a:bodyPr lIns="0" tIns="0" rIns="0" bIns="0" anchorCtr="0">
            <a:noAutofit/>
          </a:bodyPr>
          <a:lstStyle>
            <a:lvl1pPr lvl="0" algn="r" rtl="0" hangingPunct="0">
              <a:buNone/>
              <a:tabLst/>
              <a:defRPr lang="en-GB" sz="1400" kern="1200">
                <a:latin typeface="Times New Roman" pitchFamily="18"/>
                <a:ea typeface="Lucida Sans Unicode" pitchFamily="2"/>
                <a:cs typeface="Tahoma" pitchFamily="2"/>
              </a:defRPr>
            </a:lvl1pPr>
          </a:lstStyle>
          <a:p>
            <a:pPr lvl="0"/>
            <a:endParaRPr lang="en-GB"/>
          </a:p>
        </p:txBody>
      </p:sp>
      <p:sp>
        <p:nvSpPr>
          <p:cNvPr id="6" name="Fußzeilenplatzhalter 5">
            <a:extLst>
              <a:ext uri="{FF2B5EF4-FFF2-40B4-BE49-F238E27FC236}">
                <a16:creationId xmlns:a16="http://schemas.microsoft.com/office/drawing/2014/main" id="{52DB79A2-4250-4BF2-95FB-C3FF4D792A94}"/>
              </a:ext>
            </a:extLst>
          </p:cNvPr>
          <p:cNvSpPr txBox="1">
            <a:spLocks noGrp="1"/>
          </p:cNvSpPr>
          <p:nvPr>
            <p:ph type="ftr" sz="quarter" idx="4"/>
          </p:nvPr>
        </p:nvSpPr>
        <p:spPr>
          <a:xfrm>
            <a:off x="0" y="10157400"/>
            <a:ext cx="3280680" cy="534240"/>
          </a:xfrm>
          <a:prstGeom prst="rect">
            <a:avLst/>
          </a:prstGeom>
          <a:noFill/>
          <a:ln>
            <a:noFill/>
          </a:ln>
        </p:spPr>
        <p:txBody>
          <a:bodyPr lIns="0" tIns="0" rIns="0" bIns="0" anchor="b" anchorCtr="0">
            <a:noAutofit/>
          </a:bodyPr>
          <a:lstStyle>
            <a:lvl1pPr lvl="0" rtl="0" hangingPunct="0">
              <a:buNone/>
              <a:tabLst/>
              <a:defRPr lang="en-GB" sz="1400" kern="1200">
                <a:latin typeface="Times New Roman" pitchFamily="18"/>
                <a:ea typeface="Lucida Sans Unicode" pitchFamily="2"/>
                <a:cs typeface="Tahoma" pitchFamily="2"/>
              </a:defRPr>
            </a:lvl1pPr>
          </a:lstStyle>
          <a:p>
            <a:pPr lvl="0"/>
            <a:r>
              <a:rPr lang="en-GB"/>
              <a:t>AInur Daurembekova</a:t>
            </a:r>
          </a:p>
        </p:txBody>
      </p:sp>
      <p:sp>
        <p:nvSpPr>
          <p:cNvPr id="7" name="Foliennummernplatzhalter 6">
            <a:extLst>
              <a:ext uri="{FF2B5EF4-FFF2-40B4-BE49-F238E27FC236}">
                <a16:creationId xmlns:a16="http://schemas.microsoft.com/office/drawing/2014/main" id="{3DD5AB1E-1F6B-4182-BD5E-5F512A80E8F7}"/>
              </a:ext>
            </a:extLst>
          </p:cNvPr>
          <p:cNvSpPr txBox="1">
            <a:spLocks noGrp="1"/>
          </p:cNvSpPr>
          <p:nvPr>
            <p:ph type="sldNum" sz="quarter" idx="5"/>
          </p:nvPr>
        </p:nvSpPr>
        <p:spPr>
          <a:xfrm>
            <a:off x="4278960" y="10157400"/>
            <a:ext cx="3280680" cy="534240"/>
          </a:xfrm>
          <a:prstGeom prst="rect">
            <a:avLst/>
          </a:prstGeom>
          <a:noFill/>
          <a:ln>
            <a:noFill/>
          </a:ln>
        </p:spPr>
        <p:txBody>
          <a:bodyPr lIns="0" tIns="0" rIns="0" bIns="0" anchor="b" anchorCtr="0">
            <a:noAutofit/>
          </a:bodyPr>
          <a:lstStyle>
            <a:lvl1pPr lvl="0" algn="r" rtl="0" hangingPunct="0">
              <a:buNone/>
              <a:tabLst/>
              <a:defRPr lang="en-GB" sz="1400" kern="1200">
                <a:latin typeface="Times New Roman" pitchFamily="18"/>
                <a:ea typeface="Lucida Sans Unicode" pitchFamily="2"/>
                <a:cs typeface="Tahoma" pitchFamily="2"/>
              </a:defRPr>
            </a:lvl1pPr>
          </a:lstStyle>
          <a:p>
            <a:pPr lvl="0"/>
            <a:fld id="{DADF0CDE-BCA0-4297-85A7-EF2D740CF921}" type="slidenum">
              <a:t>‹#›</a:t>
            </a:fld>
            <a:endParaRPr lang="en-GB"/>
          </a:p>
        </p:txBody>
      </p:sp>
    </p:spTree>
    <p:extLst>
      <p:ext uri="{BB962C8B-B14F-4D97-AF65-F5344CB8AC3E}">
        <p14:creationId xmlns:p14="http://schemas.microsoft.com/office/powerpoint/2010/main" val="3432836603"/>
      </p:ext>
    </p:extLst>
  </p:cSld>
  <p:clrMap bg1="lt1" tx1="dk1" bg2="lt2" tx2="dk2" accent1="accent1" accent2="accent2" accent3="accent3" accent4="accent4" accent5="accent5" accent6="accent6" hlink="hlink" folHlink="folHlink"/>
  <p:hf sldNum="0" hdr="0" ftr="0" dt="0"/>
  <p:notesStyle>
    <a:lvl1pPr marL="216000" marR="0" indent="-216000" rtl="0" hangingPunct="0">
      <a:tabLst/>
      <a:defRPr lang="en-GB" sz="2000" b="0" i="0" u="none" strike="noStrike" kern="1200">
        <a:ln>
          <a:noFill/>
        </a:ln>
        <a:latin typeface="Liberation Sans" pitchFamily="18"/>
        <a:ea typeface="Microsoft YaHei" pitchFamily="2"/>
        <a:cs typeface="Arial" pitchFamily="2"/>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dlr.de/de/rb/forschung-betrieb/missionen/kommunikation/edrs"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pixabay.com/de/illustrations/ai-generiert-internet-technologie-8166816/"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deere.ch/de/campaigns/20-jahre-autotrac/"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unsplash.com/de/fotos/grunes-und-gelbes-zelt-in-der-nahe-von-grunen-baumen-und-bergen-unter-weissen-wolken-und-blauem-himmel-wahrend-ADKiS6V2Za8"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pixabay.com/de/photos/stromleitungen-oberleitungen-503936/" TargetMode="External"/><Relationship Id="rId2" Type="http://schemas.openxmlformats.org/officeDocument/2006/relationships/slide" Target="../slides/slide8.xml"/><Relationship Id="rId1" Type="http://schemas.openxmlformats.org/officeDocument/2006/relationships/notesMaster" Target="../notesMasters/notesMaster1.xml"/><Relationship Id="rId5" Type="http://schemas.openxmlformats.org/officeDocument/2006/relationships/hyperlink" Target="https://rhein-erft-kreis.polizei.nrw/sites/default/files/2020-02/IMNRW-200219-012.jpg" TargetMode="External"/><Relationship Id="rId4" Type="http://schemas.openxmlformats.org/officeDocument/2006/relationships/hyperlink" Target="https://unsplash.com/de/fotos/eine-person-die-einen-geldautomaten-benutzt-um-geld-zu-bezahlen-OnRPps1wPus"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mediamag.mediamarkt.at/detail/smartphone-ai-ki-huawei-p20-pro.html"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DA00D12-BBAD-46C5-BC85-D55C7E008DDA}"/>
              </a:ext>
            </a:extLst>
          </p:cNvPr>
          <p:cNvSpPr>
            <a:spLocks noGrp="1" noRot="1" noChangeAspect="1" noResize="1"/>
          </p:cNvSpPr>
          <p:nvPr>
            <p:ph type="sldImg"/>
          </p:nvPr>
        </p:nvSpPr>
        <p:spPr>
          <a:xfrm>
            <a:off x="217488" y="812800"/>
            <a:ext cx="7123112" cy="4008438"/>
          </a:xfrm>
          <a:solidFill>
            <a:srgbClr val="729FCF"/>
          </a:solidFill>
          <a:ln w="25400">
            <a:solidFill>
              <a:srgbClr val="3465A4"/>
            </a:solidFill>
            <a:prstDash val="solid"/>
          </a:ln>
        </p:spPr>
      </p:sp>
      <p:sp>
        <p:nvSpPr>
          <p:cNvPr id="3" name="Notizenplatzhalter 2">
            <a:extLst>
              <a:ext uri="{FF2B5EF4-FFF2-40B4-BE49-F238E27FC236}">
                <a16:creationId xmlns:a16="http://schemas.microsoft.com/office/drawing/2014/main" id="{DB4B1AF4-8726-48C9-B44E-C2D2C8707C61}"/>
              </a:ext>
            </a:extLst>
          </p:cNvPr>
          <p:cNvSpPr txBox="1">
            <a:spLocks noGrp="1"/>
          </p:cNvSpPr>
          <p:nvPr>
            <p:ph type="body" sz="quarter" idx="1"/>
          </p:nvPr>
        </p:nvSpPr>
        <p:spPr/>
        <p:txBody>
          <a:bodyPr>
            <a:spAutoFit/>
          </a:bodyPr>
          <a:lstStyle/>
          <a:p>
            <a:endParaRPr lang="en-GB"/>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5900" indent="-215900"/>
            <a:r>
              <a:rPr lang="en-US" err="1">
                <a:latin typeface="Calibri"/>
                <a:ea typeface="Calibri"/>
                <a:cs typeface="Calibri"/>
              </a:rPr>
              <a:t>Bildquelle</a:t>
            </a:r>
            <a:r>
              <a:rPr lang="en-US">
                <a:latin typeface="Calibri"/>
                <a:ea typeface="Calibri"/>
                <a:cs typeface="Calibri"/>
              </a:rPr>
              <a:t>:</a:t>
            </a:r>
          </a:p>
          <a:p>
            <a:pPr marL="215900" marR="0" lvl="0" indent="-215900" defTabSz="914400" rtl="0" eaLnBrk="1" fontAlgn="auto" latinLnBrk="0" hangingPunct="0">
              <a:lnSpc>
                <a:spcPct val="100000"/>
              </a:lnSpc>
              <a:spcBef>
                <a:spcPts val="0"/>
              </a:spcBef>
              <a:spcAft>
                <a:spcPts val="0"/>
              </a:spcAft>
              <a:buClrTx/>
              <a:buSzTx/>
              <a:buFontTx/>
              <a:buNone/>
              <a:tabLst/>
              <a:defRPr/>
            </a:pPr>
            <a:r>
              <a:rPr lang="en-US">
                <a:latin typeface="Liberation Sans"/>
                <a:ea typeface="Microsoft YaHei"/>
                <a:hlinkClick r:id="rId3"/>
              </a:rPr>
              <a:t>https://www.dlr.de/de/rb/forschung-betrieb/missionen/kommunikation/edrs  </a:t>
            </a:r>
            <a:r>
              <a:rPr lang="en-US">
                <a:latin typeface="Liberation Sans"/>
                <a:ea typeface="Microsoft YaHei"/>
                <a:sym typeface="Wingdings" panose="05000000000000000000" pitchFamily="2" charset="2"/>
                <a:hlinkClick r:id="rId3"/>
              </a:rPr>
              <a:t> ESA</a:t>
            </a:r>
            <a:endParaRPr lang="en-US">
              <a:latin typeface="Liberation Sans"/>
              <a:ea typeface="Microsoft YaHei"/>
              <a:hlinkClick r:id="rId3"/>
            </a:endParaRPr>
          </a:p>
          <a:p>
            <a:pPr marL="215900" indent="-215900"/>
            <a:r>
              <a:rPr lang="en-US">
                <a:latin typeface="Liberation Sans"/>
                <a:ea typeface="Microsoft YaHei"/>
                <a:hlinkClick r:id="rId4"/>
              </a:rPr>
              <a:t>https://pixabay.com/de/illustrations/ai-generiert-internet-technologie-8166816/  &lt;&lt;&lt;- </a:t>
            </a:r>
            <a:r>
              <a:rPr lang="en-US" err="1">
                <a:latin typeface="Liberation Sans"/>
                <a:ea typeface="Microsoft YaHei"/>
                <a:hlinkClick r:id="rId4"/>
              </a:rPr>
              <a:t>Kostenlos</a:t>
            </a:r>
            <a:endParaRPr lang="en-US">
              <a:latin typeface="Liberation Sans"/>
              <a:ea typeface="Microsoft YaHei"/>
              <a:hlinkClick r:id="rId4"/>
            </a:endParaRPr>
          </a:p>
          <a:p>
            <a:pPr marL="215900" indent="-215900"/>
            <a:endParaRPr lang="en-US">
              <a:latin typeface="Liberation Sans"/>
              <a:ea typeface="Microsoft YaHei"/>
            </a:endParaRPr>
          </a:p>
        </p:txBody>
      </p:sp>
    </p:spTree>
    <p:extLst>
      <p:ext uri="{BB962C8B-B14F-4D97-AF65-F5344CB8AC3E}">
        <p14:creationId xmlns:p14="http://schemas.microsoft.com/office/powerpoint/2010/main" val="7832593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C9E38D-4588-8616-A8D1-9C63932686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0BD3DA-3E09-0543-C5AB-6559CA5A8C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14455E-7435-D9D3-F77D-02FFE02C1817}"/>
              </a:ext>
            </a:extLst>
          </p:cNvPr>
          <p:cNvSpPr>
            <a:spLocks noGrp="1"/>
          </p:cNvSpPr>
          <p:nvPr>
            <p:ph type="body" idx="1"/>
          </p:nvPr>
        </p:nvSpPr>
        <p:spPr/>
        <p:txBody>
          <a:bodyPr/>
          <a:lstStyle/>
          <a:p>
            <a:pPr marL="215900" indent="-215900"/>
            <a:r>
              <a:rPr lang="en-US">
                <a:latin typeface="Liberation Sans"/>
                <a:ea typeface="Microsoft YaHei"/>
              </a:rPr>
              <a:t>First scenario: UE is connected to a terrestrial network covered area. The UPF and </a:t>
            </a:r>
            <a:r>
              <a:rPr lang="en-US" err="1">
                <a:latin typeface="Liberation Sans"/>
                <a:ea typeface="Microsoft YaHei"/>
              </a:rPr>
              <a:t>gNB</a:t>
            </a:r>
            <a:r>
              <a:rPr lang="en-US">
                <a:latin typeface="Liberation Sans"/>
                <a:ea typeface="Microsoft YaHei"/>
              </a:rPr>
              <a:t> are virtualized instances on the local terrestrial network</a:t>
            </a:r>
            <a:endParaRPr lang="en-US">
              <a:solidFill>
                <a:srgbClr val="000000"/>
              </a:solidFill>
              <a:latin typeface="Liberation Sans"/>
              <a:ea typeface="Microsoft YaHei"/>
            </a:endParaRPr>
          </a:p>
        </p:txBody>
      </p:sp>
    </p:spTree>
    <p:extLst>
      <p:ext uri="{BB962C8B-B14F-4D97-AF65-F5344CB8AC3E}">
        <p14:creationId xmlns:p14="http://schemas.microsoft.com/office/powerpoint/2010/main" val="21408738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674528-03FF-BC4E-E662-F823DE0408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C8C58F-0990-A72C-8F75-4E590FC78B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35A683-AFD3-4EE5-733B-AC94C75C4190}"/>
              </a:ext>
            </a:extLst>
          </p:cNvPr>
          <p:cNvSpPr>
            <a:spLocks noGrp="1"/>
          </p:cNvSpPr>
          <p:nvPr>
            <p:ph type="body" idx="1"/>
          </p:nvPr>
        </p:nvSpPr>
        <p:spPr/>
        <p:txBody>
          <a:bodyPr/>
          <a:lstStyle/>
          <a:p>
            <a:pPr marL="215900" indent="-215900"/>
            <a:r>
              <a:rPr lang="en-US">
                <a:latin typeface="Liberation Sans"/>
                <a:ea typeface="Microsoft YaHei"/>
              </a:rPr>
              <a:t>This slide introduces the concept of 3D communication networks in 6G which integrate terrestrial, aerial and space-based networks. In this scenario, the UE is now moving to a remote/rural area not covered by Terrestrial Networks.</a:t>
            </a:r>
          </a:p>
          <a:p>
            <a:pPr marL="215900" indent="-215900"/>
            <a:r>
              <a:rPr lang="en-US">
                <a:latin typeface="Liberation Sans"/>
                <a:ea typeface="Microsoft YaHei"/>
              </a:rPr>
              <a:t>As this approach ensures global coverage and enhances network capacity to guarantee seamless connectivity, now, the UE is accessing a non-terrestrial network via one visible satellite connection. This satellite, in turn, links to another visible satellite via Inter-Satellite link that is connected to a ground station linked to the core network.</a:t>
            </a:r>
          </a:p>
          <a:p>
            <a:pPr marL="215900" indent="-215900"/>
            <a:r>
              <a:rPr lang="en-US">
                <a:latin typeface="Liberation Sans"/>
                <a:ea typeface="Microsoft YaHei"/>
              </a:rPr>
              <a:t>The </a:t>
            </a:r>
            <a:r>
              <a:rPr lang="en-US" err="1">
                <a:latin typeface="Liberation Sans"/>
                <a:ea typeface="Microsoft YaHei"/>
              </a:rPr>
              <a:t>virtul</a:t>
            </a:r>
            <a:r>
              <a:rPr lang="en-US">
                <a:latin typeface="Liberation Sans"/>
                <a:ea typeface="Microsoft YaHei"/>
              </a:rPr>
              <a:t> sessions of the 3GPP network functions are handed over to the NTN from the TN to maintain the user experience.</a:t>
            </a:r>
          </a:p>
        </p:txBody>
      </p:sp>
    </p:spTree>
    <p:extLst>
      <p:ext uri="{BB962C8B-B14F-4D97-AF65-F5344CB8AC3E}">
        <p14:creationId xmlns:p14="http://schemas.microsoft.com/office/powerpoint/2010/main" val="42777085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248CCC-3C75-44A7-A7C3-AB93873C44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1FB9DD-5BC4-D7E7-011A-403CE413AD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EC5EB7-1BF0-29CC-E169-BF8F447295DA}"/>
              </a:ext>
            </a:extLst>
          </p:cNvPr>
          <p:cNvSpPr>
            <a:spLocks noGrp="1"/>
          </p:cNvSpPr>
          <p:nvPr>
            <p:ph type="body" idx="1"/>
          </p:nvPr>
        </p:nvSpPr>
        <p:spPr/>
        <p:txBody>
          <a:bodyPr/>
          <a:lstStyle/>
          <a:p>
            <a:pPr marL="215900" indent="-215900"/>
            <a:r>
              <a:rPr lang="en-US">
                <a:latin typeface="Liberation Sans"/>
                <a:ea typeface="Microsoft YaHei"/>
              </a:rPr>
              <a:t>Next, as the UE and the satellite are moving, the UE is connecting to the core network via the second satellite as it is now visible from the UE</a:t>
            </a:r>
          </a:p>
        </p:txBody>
      </p:sp>
    </p:spTree>
    <p:extLst>
      <p:ext uri="{BB962C8B-B14F-4D97-AF65-F5344CB8AC3E}">
        <p14:creationId xmlns:p14="http://schemas.microsoft.com/office/powerpoint/2010/main" val="28084521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B303C0-48DD-2259-DA93-E66F177DE9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1808540-2B88-0D3A-63DD-663E8D14D4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A9547D-A3D2-F53C-91DC-2D38EC3AA1A6}"/>
              </a:ext>
            </a:extLst>
          </p:cNvPr>
          <p:cNvSpPr>
            <a:spLocks noGrp="1"/>
          </p:cNvSpPr>
          <p:nvPr>
            <p:ph type="body" idx="1"/>
          </p:nvPr>
        </p:nvSpPr>
        <p:spPr/>
        <p:txBody>
          <a:bodyPr/>
          <a:lstStyle/>
          <a:p>
            <a:pPr marL="215900" indent="-215900"/>
            <a:r>
              <a:rPr lang="en-US">
                <a:latin typeface="Liberation Sans"/>
                <a:ea typeface="Microsoft YaHei"/>
              </a:rPr>
              <a:t>Again, the UE is moving and the satellite 2 is out of its line of sight so it is connecting to a High Altitude Platform (HAP), in this case a balloon that is offering access to the core network via terrestrial base station. As we can see in this schematic, there are several non-terrestrial nodes interconnected between them that ensure always uninterrupted seamless service.</a:t>
            </a:r>
          </a:p>
          <a:p>
            <a:pPr marL="215900" indent="-215900"/>
            <a:r>
              <a:rPr lang="en-US">
                <a:latin typeface="Liberation Sans"/>
                <a:ea typeface="Microsoft YaHei"/>
              </a:rPr>
              <a:t>Highlight also, in this case, that whereas the </a:t>
            </a:r>
            <a:r>
              <a:rPr lang="en-US" err="1">
                <a:latin typeface="Liberation Sans"/>
                <a:ea typeface="Microsoft YaHei"/>
              </a:rPr>
              <a:t>gNB</a:t>
            </a:r>
            <a:r>
              <a:rPr lang="en-US">
                <a:latin typeface="Liberation Sans"/>
                <a:ea typeface="Microsoft YaHei"/>
              </a:rPr>
              <a:t> function is located in the NTN HAP, the UPF function can be placed, for instance, on ground. This is a key aspect of the 3D network deployment as the UPF and </a:t>
            </a:r>
            <a:r>
              <a:rPr lang="en-US" err="1">
                <a:latin typeface="Liberation Sans"/>
                <a:ea typeface="Microsoft YaHei"/>
              </a:rPr>
              <a:t>gNB</a:t>
            </a:r>
            <a:r>
              <a:rPr lang="en-US">
                <a:latin typeface="Liberation Sans"/>
                <a:ea typeface="Microsoft YaHei"/>
              </a:rPr>
              <a:t> are virtualized Network functions that are moving with the UE to maintain the user experience. This functions virtualization basically consist in distributing the computing and processing tasks between terrestrial and non-terrestrial nodes in order to optimize network performance, improve efficiency and reduce the dependence of just terrestrial or non-terrestrial networks. </a:t>
            </a:r>
          </a:p>
        </p:txBody>
      </p:sp>
    </p:spTree>
    <p:extLst>
      <p:ext uri="{BB962C8B-B14F-4D97-AF65-F5344CB8AC3E}">
        <p14:creationId xmlns:p14="http://schemas.microsoft.com/office/powerpoint/2010/main" val="20266469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C80700-69E3-4A9A-148D-5FEEE6C9B2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C47C28-5530-6994-F0CF-32817BFE12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32BF1D-317E-8E5B-D2B1-DC3764DCF25C}"/>
              </a:ext>
            </a:extLst>
          </p:cNvPr>
          <p:cNvSpPr>
            <a:spLocks noGrp="1"/>
          </p:cNvSpPr>
          <p:nvPr>
            <p:ph type="body" idx="1"/>
          </p:nvPr>
        </p:nvSpPr>
        <p:spPr/>
        <p:txBody>
          <a:bodyPr/>
          <a:lstStyle/>
          <a:p>
            <a:pPr marL="215900" indent="-215900"/>
            <a:r>
              <a:rPr lang="en-US">
                <a:latin typeface="Calibri"/>
                <a:ea typeface="Calibri"/>
                <a:cs typeface="Calibri"/>
              </a:rPr>
              <a:t>In the last scenario, the UE is connecting back to a terrestrial network covered area. Again, in this scenario, the </a:t>
            </a:r>
            <a:r>
              <a:rPr lang="en-US" err="1">
                <a:latin typeface="Calibri"/>
                <a:ea typeface="Calibri"/>
                <a:cs typeface="Calibri"/>
              </a:rPr>
              <a:t>gNB</a:t>
            </a:r>
            <a:r>
              <a:rPr lang="en-US">
                <a:latin typeface="Calibri"/>
                <a:ea typeface="Calibri"/>
                <a:cs typeface="Calibri"/>
              </a:rPr>
              <a:t> function is moving with the UE and in this case this function will be provided by the terrestrial base station.</a:t>
            </a:r>
            <a:endParaRPr lang="en-US">
              <a:latin typeface="Liberation Sans"/>
              <a:ea typeface="Microsoft YaHei"/>
            </a:endParaRPr>
          </a:p>
        </p:txBody>
      </p:sp>
    </p:spTree>
    <p:extLst>
      <p:ext uri="{BB962C8B-B14F-4D97-AF65-F5344CB8AC3E}">
        <p14:creationId xmlns:p14="http://schemas.microsoft.com/office/powerpoint/2010/main" val="4405596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C80700-69E3-4A9A-148D-5FEEE6C9B2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C47C28-5530-6994-F0CF-32817BFE12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32BF1D-317E-8E5B-D2B1-DC3764DCF25C}"/>
              </a:ext>
            </a:extLst>
          </p:cNvPr>
          <p:cNvSpPr>
            <a:spLocks noGrp="1"/>
          </p:cNvSpPr>
          <p:nvPr>
            <p:ph type="body" idx="1"/>
          </p:nvPr>
        </p:nvSpPr>
        <p:spPr/>
        <p:txBody>
          <a:bodyPr/>
          <a:lstStyle/>
          <a:p>
            <a:pPr marL="215900" indent="-215900"/>
            <a:r>
              <a:rPr lang="en-US">
                <a:latin typeface="Liberation Sans"/>
                <a:ea typeface="Microsoft YaHei"/>
              </a:rPr>
              <a:t>Signal disruption: Wireless signals can be intentionally disrupted using jamming attacks. Attackers can use radio interference to degrade or completely block communication. This can be particularly critical in NTNs where links rely on satellite connection.</a:t>
            </a:r>
          </a:p>
          <a:p>
            <a:pPr marL="215900" indent="-215900"/>
            <a:r>
              <a:rPr lang="en-US">
                <a:latin typeface="Liberation Sans"/>
                <a:ea typeface="Microsoft YaHei"/>
              </a:rPr>
              <a:t>Interception &amp; Manipulation: Wireless communication is inherently more vulnerable to eavesdropping than wired networks. Unencrypted data transmission can be captured by attackers. Even if data is encrypted, they can be stored for later cryptanalysis, so strong encryption algorithms are key.</a:t>
            </a:r>
          </a:p>
          <a:p>
            <a:pPr marL="215900" indent="-215900"/>
            <a:r>
              <a:rPr lang="en-US">
                <a:latin typeface="Liberation Sans"/>
                <a:ea typeface="Microsoft YaHei"/>
              </a:rPr>
              <a:t>Supply Chain Risks: Many wireless networks depend on complex software stacks, which can introduce vulnerabilities. Examples include backdoors in network equipment, firmware vulnerabilities, or insecure software updates. Since satellites are also harder to access, fixing issues might also be difficult.</a:t>
            </a:r>
          </a:p>
        </p:txBody>
      </p:sp>
    </p:spTree>
    <p:extLst>
      <p:ext uri="{BB962C8B-B14F-4D97-AF65-F5344CB8AC3E}">
        <p14:creationId xmlns:p14="http://schemas.microsoft.com/office/powerpoint/2010/main" val="40162825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5D00EA-B199-2242-A430-F27461F558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74647B-8C17-041D-ED5C-89A3340888B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1295CA-632F-35E9-48F6-3B765C6321FC}"/>
              </a:ext>
            </a:extLst>
          </p:cNvPr>
          <p:cNvSpPr>
            <a:spLocks noGrp="1"/>
          </p:cNvSpPr>
          <p:nvPr>
            <p:ph type="body" idx="1"/>
          </p:nvPr>
        </p:nvSpPr>
        <p:spPr/>
        <p:txBody>
          <a:bodyPr/>
          <a:lstStyle/>
          <a:p>
            <a:pPr marL="215900" indent="-215900"/>
            <a:r>
              <a:rPr lang="en-US">
                <a:latin typeface="Liberation Sans"/>
                <a:ea typeface="Microsoft YaHei"/>
              </a:rPr>
              <a:t>Security must be integrated throughout the entire lifecycle of hardware and software: Design Phase, Deployment Phase, Operation &amp; Maintenance, End-of-Life Management.</a:t>
            </a:r>
          </a:p>
          <a:p>
            <a:pPr marL="215900" indent="-215900"/>
            <a:r>
              <a:rPr lang="en-US">
                <a:latin typeface="Liberation Sans"/>
                <a:ea typeface="Microsoft YaHei"/>
              </a:rPr>
              <a:t>Automated Security Assessments: Continuous security monitoring using automated tools to detect threats.</a:t>
            </a:r>
            <a:br>
              <a:rPr lang="en-US">
                <a:latin typeface="Liberation Sans"/>
                <a:ea typeface="Microsoft YaHei"/>
              </a:rPr>
            </a:br>
            <a:r>
              <a:rPr lang="en-US">
                <a:latin typeface="Liberation Sans"/>
                <a:ea typeface="Microsoft YaHei"/>
              </a:rPr>
              <a:t>Penetration Tests: Simulated cyberattacks to uncover vulnerabilities. </a:t>
            </a:r>
            <a:br>
              <a:rPr lang="en-US">
                <a:latin typeface="Liberation Sans"/>
                <a:ea typeface="Microsoft YaHei"/>
              </a:rPr>
            </a:br>
            <a:r>
              <a:rPr lang="en-US">
                <a:latin typeface="Liberation Sans"/>
                <a:ea typeface="Microsoft YaHei"/>
              </a:rPr>
              <a:t>Vulnerability Scans: Automated scanning tools to identify software and network vulnerabilities.</a:t>
            </a:r>
          </a:p>
          <a:p>
            <a:pPr marL="215900" indent="-215900"/>
            <a:r>
              <a:rPr lang="en-US">
                <a:latin typeface="Liberation Sans"/>
                <a:ea typeface="Microsoft YaHei"/>
              </a:rPr>
              <a:t>Cyber-Resilience: AI-driven security systems to detect unusual behavior in networks, flagging potential attacks. AI models can learn normal traffic patterns and identify deviations, such as sudden spikes in data transmission(DDoS) or unexpected network reconfigurations (possible intrusion)</a:t>
            </a:r>
          </a:p>
          <a:p>
            <a:pPr marL="215900" indent="-215900"/>
            <a:endParaRPr lang="en-US">
              <a:latin typeface="Liberation Sans"/>
              <a:ea typeface="Microsoft YaHei"/>
            </a:endParaRPr>
          </a:p>
        </p:txBody>
      </p:sp>
    </p:spTree>
    <p:extLst>
      <p:ext uri="{BB962C8B-B14F-4D97-AF65-F5344CB8AC3E}">
        <p14:creationId xmlns:p14="http://schemas.microsoft.com/office/powerpoint/2010/main" val="13526023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0968700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458059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lgn="l"/>
            <a:fld id="{6F450DBC-90BB-49B2-91E4-AABCC1357725}" type="slidenum">
              <a:rPr lang="de-DE" sz="900" smtClean="0"/>
              <a:pPr algn="l"/>
              <a:t>3</a:t>
            </a:fld>
            <a:endParaRPr lang="de-DE" sz="900"/>
          </a:p>
        </p:txBody>
      </p:sp>
    </p:spTree>
    <p:extLst>
      <p:ext uri="{BB962C8B-B14F-4D97-AF65-F5344CB8AC3E}">
        <p14:creationId xmlns:p14="http://schemas.microsoft.com/office/powerpoint/2010/main" val="36204537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Tree>
    <p:extLst>
      <p:ext uri="{BB962C8B-B14F-4D97-AF65-F5344CB8AC3E}">
        <p14:creationId xmlns:p14="http://schemas.microsoft.com/office/powerpoint/2010/main" val="39035057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Customer </a:t>
            </a:r>
            <a:r>
              <a:rPr lang="de-DE" err="1"/>
              <a:t>has</a:t>
            </a:r>
            <a:r>
              <a:rPr lang="de-DE"/>
              <a:t> a UE/</a:t>
            </a:r>
            <a:r>
              <a:rPr lang="de-DE" err="1"/>
              <a:t>chip</a:t>
            </a:r>
            <a:r>
              <a:rPr lang="de-DE"/>
              <a:t>, </a:t>
            </a:r>
            <a:r>
              <a:rPr lang="de-DE" err="1"/>
              <a:t>we</a:t>
            </a:r>
            <a:r>
              <a:rPr lang="de-DE"/>
              <a:t> </a:t>
            </a:r>
            <a:r>
              <a:rPr lang="de-DE" err="1"/>
              <a:t>offer</a:t>
            </a:r>
            <a:r>
              <a:rPr lang="de-DE"/>
              <a:t> </a:t>
            </a:r>
            <a:r>
              <a:rPr lang="de-DE" err="1"/>
              <a:t>the</a:t>
            </a:r>
            <a:r>
              <a:rPr lang="de-DE"/>
              <a:t> </a:t>
            </a:r>
            <a:r>
              <a:rPr lang="de-DE" err="1"/>
              <a:t>rest</a:t>
            </a:r>
            <a:r>
              <a:rPr lang="de-DE"/>
              <a:t> (all in </a:t>
            </a:r>
            <a:r>
              <a:rPr lang="de-DE" err="1"/>
              <a:t>the</a:t>
            </a:r>
            <a:r>
              <a:rPr lang="de-DE"/>
              <a:t> CMX)</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620C28-1F57-4AC3-BC38-27FE91AD92B7}" type="slidenum">
              <a:rPr kumimoji="0" lang="en-US" sz="1200" b="0" i="0" u="none" strike="noStrike" kern="1200" cap="none" spc="0" normalizeH="0" baseline="0" noProof="0" smtClean="0">
                <a:ln>
                  <a:noFill/>
                </a:ln>
                <a:solidFill>
                  <a:srgbClr val="000000"/>
                </a:solidFill>
                <a:effectLst/>
                <a:uLnTx/>
                <a:uFillTx/>
                <a:latin typeface="Arial"/>
                <a:ea typeface="メイリオ"/>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srgbClr val="000000"/>
              </a:solidFill>
              <a:effectLst/>
              <a:uLnTx/>
              <a:uFillTx/>
              <a:latin typeface="Arial"/>
              <a:ea typeface="メイリオ"/>
            </a:endParaRPr>
          </a:p>
        </p:txBody>
      </p:sp>
    </p:spTree>
    <p:extLst>
      <p:ext uri="{BB962C8B-B14F-4D97-AF65-F5344CB8AC3E}">
        <p14:creationId xmlns:p14="http://schemas.microsoft.com/office/powerpoint/2010/main" val="1056459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Automotive Driving:  https://bmdv.bund.de/SharedDocs/DE/Bilder/DG/autonomes-fahren-2.jpg?__blob=normal</a:t>
            </a:r>
          </a:p>
          <a:p>
            <a:r>
              <a:rPr lang="en-US"/>
              <a:t>Coverage of (terrestrial): https://unsplash.com/de/fotos/landschaft-der-berge-oMneOBYhJxY</a:t>
            </a:r>
          </a:p>
          <a:p>
            <a:r>
              <a:rPr lang="en-US" err="1"/>
              <a:t>Martitime</a:t>
            </a:r>
            <a:r>
              <a:rPr lang="en-US"/>
              <a:t>: </a:t>
            </a:r>
            <a:r>
              <a:rPr lang="de-DE"/>
              <a:t>https://stockarch.com/images/transport/container-ship-3823</a:t>
            </a:r>
          </a:p>
          <a:p>
            <a:r>
              <a:rPr lang="en-US"/>
              <a:t>Aerospace: </a:t>
            </a:r>
            <a:r>
              <a:rPr lang="de-DE"/>
              <a:t>https://unsplash.com/de/fotos/weisses-passagierflugzeug-fliegt-tagsuber-uber-schneebedeckte-berge-ze09IQjOZhk</a:t>
            </a:r>
            <a:endParaRPr lang="en-US"/>
          </a:p>
        </p:txBody>
      </p:sp>
    </p:spTree>
    <p:extLst>
      <p:ext uri="{BB962C8B-B14F-4D97-AF65-F5344CB8AC3E}">
        <p14:creationId xmlns:p14="http://schemas.microsoft.com/office/powerpoint/2010/main" val="3659708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5900" indent="-215900"/>
            <a:r>
              <a:rPr lang="en-US" err="1">
                <a:latin typeface="Calibri"/>
                <a:ea typeface="Calibri"/>
                <a:cs typeface="Calibri"/>
              </a:rPr>
              <a:t>Bildquellen</a:t>
            </a:r>
            <a:r>
              <a:rPr lang="en-US">
                <a:latin typeface="Calibri"/>
                <a:ea typeface="Calibri"/>
                <a:cs typeface="Calibri"/>
              </a:rPr>
              <a:t>:</a:t>
            </a:r>
          </a:p>
          <a:p>
            <a:pPr marL="215900" indent="-215900"/>
            <a:r>
              <a:rPr lang="en-US">
                <a:solidFill>
                  <a:srgbClr val="000000"/>
                </a:solidFill>
                <a:latin typeface="Calibri"/>
                <a:ea typeface="Calibri"/>
                <a:cs typeface="Calibri"/>
              </a:rPr>
              <a:t>Agriculture: </a:t>
            </a:r>
            <a:r>
              <a:rPr lang="de-DE" err="1">
                <a:hlinkClick r:id="rId3"/>
              </a:rPr>
              <a:t>AutoTrac</a:t>
            </a:r>
            <a:r>
              <a:rPr lang="de-DE">
                <a:hlinkClick r:id="rId3"/>
              </a:rPr>
              <a:t>™: 20 </a:t>
            </a:r>
            <a:r>
              <a:rPr lang="de-DE">
                <a:highlight>
                  <a:srgbClr val="FFFF00"/>
                </a:highlight>
                <a:hlinkClick r:id="rId3"/>
              </a:rPr>
              <a:t>Jahre Präzisionslenkung</a:t>
            </a:r>
            <a:r>
              <a:rPr lang="de-DE">
                <a:highlight>
                  <a:srgbClr val="FFFF00"/>
                </a:highlight>
              </a:rPr>
              <a:t>  -- John Deere</a:t>
            </a:r>
            <a:endParaRPr lang="en-US">
              <a:solidFill>
                <a:srgbClr val="000000"/>
              </a:solidFill>
              <a:highlight>
                <a:srgbClr val="FFFF00"/>
              </a:highlight>
              <a:latin typeface="Calibri"/>
              <a:ea typeface="Calibri"/>
              <a:cs typeface="Calibri"/>
            </a:endParaRPr>
          </a:p>
          <a:p>
            <a:pPr marL="215900" marR="0" lvl="0" indent="-215900" defTabSz="914400" rtl="0" eaLnBrk="1" fontAlgn="auto" latinLnBrk="0" hangingPunct="0">
              <a:lnSpc>
                <a:spcPct val="100000"/>
              </a:lnSpc>
              <a:spcBef>
                <a:spcPts val="0"/>
              </a:spcBef>
              <a:spcAft>
                <a:spcPts val="0"/>
              </a:spcAft>
              <a:buClrTx/>
              <a:buSzTx/>
              <a:buFontTx/>
              <a:buNone/>
              <a:tabLst/>
              <a:defRPr/>
            </a:pPr>
            <a:r>
              <a:rPr lang="en-US" baseline="0">
                <a:solidFill>
                  <a:srgbClr val="FF0000"/>
                </a:solidFill>
                <a:highlight>
                  <a:srgbClr val="FFFF00"/>
                </a:highlight>
                <a:latin typeface="Calibri"/>
                <a:ea typeface="Calibri"/>
                <a:cs typeface="Calibri"/>
              </a:rPr>
              <a:t>Cultural: </a:t>
            </a:r>
          </a:p>
          <a:p>
            <a:pPr marL="215900" marR="0" lvl="0" indent="-215900" defTabSz="914400" rtl="0" eaLnBrk="1" fontAlgn="auto" latinLnBrk="0" hangingPunct="0">
              <a:lnSpc>
                <a:spcPct val="100000"/>
              </a:lnSpc>
              <a:spcBef>
                <a:spcPts val="0"/>
              </a:spcBef>
              <a:spcAft>
                <a:spcPts val="0"/>
              </a:spcAft>
              <a:buClrTx/>
              <a:buSzTx/>
              <a:buFontTx/>
              <a:buNone/>
              <a:tabLst/>
              <a:defRPr/>
            </a:pPr>
            <a:r>
              <a:rPr lang="en-US" baseline="0">
                <a:solidFill>
                  <a:srgbClr val="FF0000"/>
                </a:solidFill>
                <a:highlight>
                  <a:srgbClr val="FFFF00"/>
                </a:highlight>
                <a:latin typeface="Calibri"/>
                <a:ea typeface="Calibri"/>
                <a:cs typeface="Calibri"/>
              </a:rPr>
              <a:t>https://stock.adobe.com/search/images?filters%5Bcontent_type%3Aphoto%5D=1&amp;filters%5Bcontent_type%3Aillustration%5D=1&amp;filters%5Bcontent_type%3Azip_vector%5D=1&amp;filters%5Bcontent_type%3Avideo%5D=0&amp;filters%5Bcontent_type%3Atemplate%5D=0&amp;filters%5Bcontent_type%3A3d%5D=0&amp;filters%5Bcontent_type%3Aaudio%5D=0&amp;filters%5Bcontent_type%3Aimage%5D=1&amp;filters%5Bfree_collection%5D=0&amp;filters%5Border%5D=relevance&amp;filters%5Binclude_stock_enterprise%5D=0&amp;filters%5Bis_editorial%5D=0&amp;order=relevance&amp;serie_id=&amp;native_visual_search=67e43ffa3a57c&amp;similar_content_id=&amp;model_id=&amp;find_similar_by=all&amp;k=&amp;search_page=1&amp;search_type=visual-search-browse&amp;get_facets=0&amp;asset_id=884239426  &lt;&lt;&lt;&lt; Free trial</a:t>
            </a:r>
          </a:p>
          <a:p>
            <a:pPr marL="215900" marR="0" lvl="0" indent="-215900" defTabSz="914400" rtl="0" eaLnBrk="1" fontAlgn="auto" latinLnBrk="0" hangingPunct="0">
              <a:lnSpc>
                <a:spcPct val="100000"/>
              </a:lnSpc>
              <a:spcBef>
                <a:spcPts val="0"/>
              </a:spcBef>
              <a:spcAft>
                <a:spcPts val="0"/>
              </a:spcAft>
              <a:buClrTx/>
              <a:buSzTx/>
              <a:buFontTx/>
              <a:buNone/>
              <a:tabLst/>
              <a:defRPr/>
            </a:pPr>
            <a:endParaRPr lang="en-US" baseline="0">
              <a:solidFill>
                <a:srgbClr val="FF0000"/>
              </a:solidFill>
              <a:highlight>
                <a:srgbClr val="FFFF00"/>
              </a:highlight>
              <a:latin typeface="Calibri"/>
              <a:ea typeface="Calibri"/>
              <a:cs typeface="Calibri"/>
            </a:endParaRPr>
          </a:p>
          <a:p>
            <a:pPr marL="215900" marR="0" lvl="0" indent="-215900" defTabSz="914400" rtl="0" eaLnBrk="1" fontAlgn="auto" latinLnBrk="0" hangingPunct="0">
              <a:lnSpc>
                <a:spcPct val="100000"/>
              </a:lnSpc>
              <a:spcBef>
                <a:spcPts val="0"/>
              </a:spcBef>
              <a:spcAft>
                <a:spcPts val="0"/>
              </a:spcAft>
              <a:buClrTx/>
              <a:buSzTx/>
              <a:buFontTx/>
              <a:buNone/>
              <a:tabLst/>
              <a:defRPr/>
            </a:pPr>
            <a:r>
              <a:rPr lang="de-DE" baseline="0">
                <a:solidFill>
                  <a:srgbClr val="FF0000"/>
                </a:solidFill>
                <a:highlight>
                  <a:srgbClr val="FFFF00"/>
                </a:highlight>
              </a:rPr>
              <a:t>https://www.festivall-app.com/en/festivals/open-air-frauenfeld</a:t>
            </a:r>
          </a:p>
          <a:p>
            <a:pPr marL="215900" marR="0" lvl="0" indent="-215900" defTabSz="914400" rtl="0" eaLnBrk="1" fontAlgn="auto" latinLnBrk="0" hangingPunct="0">
              <a:lnSpc>
                <a:spcPct val="100000"/>
              </a:lnSpc>
              <a:spcBef>
                <a:spcPts val="0"/>
              </a:spcBef>
              <a:spcAft>
                <a:spcPts val="0"/>
              </a:spcAft>
              <a:buClrTx/>
              <a:buSzTx/>
              <a:buFontTx/>
              <a:buNone/>
              <a:tabLst/>
              <a:defRPr/>
            </a:pPr>
            <a:r>
              <a:rPr lang="de-DE" baseline="0">
                <a:solidFill>
                  <a:srgbClr val="FF0000"/>
                </a:solidFill>
                <a:highlight>
                  <a:srgbClr val="FFFF00"/>
                </a:highlight>
              </a:rPr>
              <a:t>https://www.magentamusik.de/wacken/woa-2024-livestream</a:t>
            </a:r>
          </a:p>
          <a:p>
            <a:pPr marL="215900" marR="0" lvl="0" indent="-215900" defTabSz="914400" rtl="0" eaLnBrk="1" fontAlgn="auto" latinLnBrk="0" hangingPunct="0">
              <a:lnSpc>
                <a:spcPct val="100000"/>
              </a:lnSpc>
              <a:spcBef>
                <a:spcPts val="0"/>
              </a:spcBef>
              <a:spcAft>
                <a:spcPts val="0"/>
              </a:spcAft>
              <a:buClrTx/>
              <a:buSzTx/>
              <a:buFontTx/>
              <a:buNone/>
              <a:tabLst/>
              <a:defRPr/>
            </a:pPr>
            <a:r>
              <a:rPr lang="de-DE" baseline="0">
                <a:solidFill>
                  <a:srgbClr val="FF0000"/>
                </a:solidFill>
                <a:highlight>
                  <a:srgbClr val="FFFF00"/>
                </a:highlight>
              </a:rPr>
              <a:t>https://stock.adobe.com/search?filters%5Bcontent_type%3Aphoto%5D=1&amp;filters%5Bcontent_type%3Aillustration%5D=1&amp;filters%5Bcontent_type%3Azip_vector%5D=1&amp;filters%5Bcontent_type%3Aimage%5D=1&amp;filters%5Bfree_collection%5D=0&amp;filters%5Border%5D=relevance&amp;k=&amp;order=relevance&amp;limit=100&amp;search_page=1&amp;search_type=usertyped&amp;acp=&amp;aco=music+festival+stage+crowd&amp;serie_id=286942893</a:t>
            </a:r>
          </a:p>
          <a:p>
            <a:pPr marL="215900" indent="-215900"/>
            <a:endParaRPr lang="de-DE">
              <a:solidFill>
                <a:srgbClr val="000000"/>
              </a:solidFill>
              <a:highlight>
                <a:srgbClr val="FFFF00"/>
              </a:highlight>
              <a:latin typeface="Calibri"/>
              <a:ea typeface="Calibri"/>
              <a:cs typeface="Calibri"/>
            </a:endParaRPr>
          </a:p>
          <a:p>
            <a:pPr marL="215900" indent="-215900"/>
            <a:r>
              <a:rPr lang="de-DE">
                <a:solidFill>
                  <a:srgbClr val="000000"/>
                </a:solidFill>
                <a:highlight>
                  <a:srgbClr val="FFFF00"/>
                </a:highlight>
                <a:latin typeface="Calibri"/>
                <a:ea typeface="Calibri"/>
                <a:cs typeface="Calibri"/>
              </a:rPr>
              <a:t>Construction Area   https://en.wikipedia.org/wiki/File:STDP-SRI_LANKA-DINESH_ALWIS-RDC.jpg</a:t>
            </a:r>
            <a:endParaRPr lang="en-US">
              <a:solidFill>
                <a:srgbClr val="000000"/>
              </a:solidFill>
              <a:highlight>
                <a:srgbClr val="FFFF00"/>
              </a:highlight>
              <a:latin typeface="Calibri"/>
              <a:ea typeface="Calibri"/>
              <a:cs typeface="Calibri"/>
            </a:endParaRPr>
          </a:p>
          <a:p>
            <a:pPr marL="215900" indent="-215900"/>
            <a:r>
              <a:rPr lang="en-US">
                <a:solidFill>
                  <a:srgbClr val="000000"/>
                </a:solidFill>
                <a:latin typeface="Calibri"/>
                <a:ea typeface="Calibri"/>
                <a:cs typeface="Calibri"/>
              </a:rPr>
              <a:t>Camping: </a:t>
            </a:r>
            <a:r>
              <a:rPr lang="en-US">
                <a:latin typeface="Liberation Sans"/>
                <a:ea typeface="Microsoft YaHei"/>
                <a:hlinkClick r:id="rId4"/>
              </a:rPr>
              <a:t>https://unsplash.com/de/fotos/grunes-und-gelbes-zelt-in-der-nahe-von-grunen-baumen-und-bergen-unter-weissen-wolken-und-blauem-himmel-wahrend-ADKiS6V2Za8</a:t>
            </a:r>
            <a:endParaRPr lang="en-US">
              <a:latin typeface="Calibri"/>
              <a:ea typeface="Calibri"/>
              <a:cs typeface="Calibri"/>
            </a:endParaRPr>
          </a:p>
          <a:p>
            <a:pPr marL="215900" indent="-215900"/>
            <a:endParaRPr lang="en-US">
              <a:solidFill>
                <a:srgbClr val="000000"/>
              </a:solidFill>
              <a:latin typeface="Liberation Sans"/>
              <a:ea typeface="Microsoft YaHei"/>
              <a:cs typeface="Calibri"/>
            </a:endParaRPr>
          </a:p>
          <a:p>
            <a:pPr marL="215900" indent="-215900"/>
            <a:endParaRPr lang="en-US">
              <a:solidFill>
                <a:srgbClr val="000000"/>
              </a:solidFill>
              <a:latin typeface="Liberation Sans"/>
              <a:ea typeface="Microsoft YaHei"/>
              <a:cs typeface="Calibri"/>
            </a:endParaRPr>
          </a:p>
        </p:txBody>
      </p:sp>
    </p:spTree>
    <p:extLst>
      <p:ext uri="{BB962C8B-B14F-4D97-AF65-F5344CB8AC3E}">
        <p14:creationId xmlns:p14="http://schemas.microsoft.com/office/powerpoint/2010/main" val="13407155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5900" indent="-215900"/>
            <a:r>
              <a:rPr lang="en-US" err="1">
                <a:latin typeface="Liberation Sans"/>
                <a:ea typeface="Microsoft YaHei"/>
              </a:rPr>
              <a:t>Bildquellen</a:t>
            </a:r>
            <a:r>
              <a:rPr lang="en-US">
                <a:latin typeface="Liberation Sans"/>
                <a:ea typeface="Microsoft YaHei"/>
              </a:rPr>
              <a:t>:</a:t>
            </a:r>
          </a:p>
          <a:p>
            <a:pPr marL="215900" indent="-215900"/>
            <a:r>
              <a:rPr lang="en-US" err="1">
                <a:latin typeface="Liberation Sans"/>
                <a:ea typeface="Microsoft YaHei"/>
              </a:rPr>
              <a:t>Stromnetz</a:t>
            </a:r>
            <a:r>
              <a:rPr lang="en-US">
                <a:latin typeface="Liberation Sans"/>
                <a:ea typeface="Microsoft YaHei"/>
              </a:rPr>
              <a:t>: </a:t>
            </a:r>
            <a:r>
              <a:rPr lang="en-US">
                <a:latin typeface="Liberation Sans"/>
                <a:ea typeface="Microsoft YaHei"/>
                <a:hlinkClick r:id="rId3"/>
              </a:rPr>
              <a:t>https://pixabay.com/de/photos/stromleitungen-oberleitungen-503936/</a:t>
            </a:r>
          </a:p>
          <a:p>
            <a:pPr marL="215900" indent="-215900"/>
            <a:r>
              <a:rPr lang="en-US" err="1">
                <a:latin typeface="Liberation Sans"/>
                <a:ea typeface="Microsoft YaHei"/>
              </a:rPr>
              <a:t>Geldautomat</a:t>
            </a:r>
            <a:r>
              <a:rPr lang="en-US">
                <a:latin typeface="Liberation Sans"/>
                <a:ea typeface="Microsoft YaHei"/>
              </a:rPr>
              <a:t>: </a:t>
            </a:r>
            <a:r>
              <a:rPr lang="en-US">
                <a:latin typeface="Liberation Sans"/>
                <a:ea typeface="Microsoft YaHei"/>
                <a:hlinkClick r:id="rId4"/>
              </a:rPr>
              <a:t>https://unsplash.com/de/fotos/eine-person-die-einen-geldautomaten-benutzt-um-geld-zu-bezahlen-OnRPps1wPus</a:t>
            </a:r>
            <a:endParaRPr lang="en-US">
              <a:latin typeface="Liberation Sans"/>
              <a:ea typeface="Microsoft YaHei"/>
            </a:endParaRPr>
          </a:p>
          <a:p>
            <a:pPr marL="215900" indent="-215900"/>
            <a:r>
              <a:rPr lang="en-US" err="1">
                <a:latin typeface="Liberation Sans"/>
                <a:ea typeface="Microsoft YaHei"/>
              </a:rPr>
              <a:t>Polizei</a:t>
            </a:r>
            <a:r>
              <a:rPr lang="en-US">
                <a:latin typeface="Liberation Sans"/>
                <a:ea typeface="Microsoft YaHei"/>
              </a:rPr>
              <a:t>: </a:t>
            </a:r>
            <a:r>
              <a:rPr lang="en-US">
                <a:latin typeface="Liberation Sans"/>
                <a:ea typeface="Microsoft YaHei"/>
                <a:hlinkClick r:id="rId5"/>
              </a:rPr>
              <a:t>https://rhein-erft-kreis.polizei.nrw/sites/default/files/2020-02/IMNRW-200219-012.jpg</a:t>
            </a:r>
            <a:endParaRPr lang="en-US">
              <a:latin typeface="Liberation Sans"/>
              <a:ea typeface="Microsoft YaHei"/>
            </a:endParaRPr>
          </a:p>
          <a:p>
            <a:pPr marL="215900" indent="-215900"/>
            <a:endParaRPr lang="en-US">
              <a:latin typeface="Liberation Sans"/>
              <a:ea typeface="Microsoft YaHei"/>
            </a:endParaRPr>
          </a:p>
          <a:p>
            <a:pPr marL="215900" indent="-215900"/>
            <a:endParaRPr lang="en-US">
              <a:latin typeface="Liberation Sans"/>
              <a:ea typeface="Microsoft YaHei"/>
            </a:endParaRPr>
          </a:p>
        </p:txBody>
      </p:sp>
    </p:spTree>
    <p:extLst>
      <p:ext uri="{BB962C8B-B14F-4D97-AF65-F5344CB8AC3E}">
        <p14:creationId xmlns:p14="http://schemas.microsoft.com/office/powerpoint/2010/main" val="4033892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err="1"/>
              <a:t>Bildquelle</a:t>
            </a:r>
            <a:r>
              <a:rPr lang="en-GB"/>
              <a:t>:</a:t>
            </a:r>
          </a:p>
          <a:p>
            <a:r>
              <a:rPr lang="en-GB"/>
              <a:t>https://stock.adobe.com/search?filters%5Bcontent_type%3Aphoto%5D=1&amp;filters%5Bcontent_type%3Aillustration%5D=1&amp;filters%5Bcontent_type%3Azip_vector%5D=1&amp;filters%5Bfree_collection%5D=0&amp;filters%5Bcontent_type%3Aimage%5D=1&amp;filters%5Border%5D=relevance&amp;k=satellite+communication&amp;order=relevance&amp;limit=100&amp;search_page=1&amp;search_type=freebr-asset-click&amp;acp=0&amp;aco=satellite+communication&amp;asset_id=121901299</a:t>
            </a:r>
          </a:p>
          <a:p>
            <a:endParaRPr lang="en-GB"/>
          </a:p>
          <a:p>
            <a:endParaRPr lang="en-GB"/>
          </a:p>
        </p:txBody>
      </p:sp>
    </p:spTree>
    <p:extLst>
      <p:ext uri="{BB962C8B-B14F-4D97-AF65-F5344CB8AC3E}">
        <p14:creationId xmlns:p14="http://schemas.microsoft.com/office/powerpoint/2010/main" val="24606640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err="1"/>
              <a:t>Bildquellen</a:t>
            </a:r>
            <a:r>
              <a:rPr lang="en-GB"/>
              <a:t>:</a:t>
            </a:r>
          </a:p>
          <a:p>
            <a:r>
              <a:rPr lang="en-GB" err="1"/>
              <a:t>Mobilfunkantenne</a:t>
            </a:r>
            <a:r>
              <a:rPr lang="en-GB"/>
              <a:t>: https://commons.wikimedia.org/wiki/File:Mobilfunkantennenanlage.jpg</a:t>
            </a:r>
          </a:p>
          <a:p>
            <a:r>
              <a:rPr lang="en-GB"/>
              <a:t>UAV: https://www.airbus.com/en/products-services/defence/uas/zephyr</a:t>
            </a:r>
          </a:p>
          <a:p>
            <a:r>
              <a:rPr lang="en-GB" err="1"/>
              <a:t>Satellit</a:t>
            </a:r>
            <a:r>
              <a:rPr lang="en-GB"/>
              <a:t>: https://www.airbus.com/en/newsroom/press-releases/2022-07-airbus-to-provide-42-satellite-platforms-and-services-to-northrop</a:t>
            </a:r>
          </a:p>
          <a:p>
            <a:endParaRPr lang="en-GB"/>
          </a:p>
        </p:txBody>
      </p:sp>
    </p:spTree>
    <p:extLst>
      <p:ext uri="{BB962C8B-B14F-4D97-AF65-F5344CB8AC3E}">
        <p14:creationId xmlns:p14="http://schemas.microsoft.com/office/powerpoint/2010/main" val="10370686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0653D5-5BDD-46D4-393A-95298D8E84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E9F121-B82E-5B71-6AC6-499892EB1C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698D96-09BB-1F58-F64A-695F7F4A9522}"/>
              </a:ext>
            </a:extLst>
          </p:cNvPr>
          <p:cNvSpPr>
            <a:spLocks noGrp="1"/>
          </p:cNvSpPr>
          <p:nvPr>
            <p:ph type="body" idx="1"/>
          </p:nvPr>
        </p:nvSpPr>
        <p:spPr/>
        <p:txBody>
          <a:bodyPr/>
          <a:lstStyle/>
          <a:p>
            <a:pPr marL="215900" indent="-215900"/>
            <a:r>
              <a:rPr lang="en-US" err="1">
                <a:latin typeface="Calibri"/>
                <a:ea typeface="Calibri"/>
                <a:cs typeface="Calibri"/>
              </a:rPr>
              <a:t>Bildquellen</a:t>
            </a:r>
            <a:r>
              <a:rPr lang="en-US">
                <a:latin typeface="Calibri"/>
                <a:ea typeface="Calibri"/>
                <a:cs typeface="Calibri"/>
              </a:rPr>
              <a:t>: </a:t>
            </a:r>
          </a:p>
          <a:p>
            <a:pPr marL="215900" indent="-215900"/>
            <a:r>
              <a:rPr lang="en-US">
                <a:solidFill>
                  <a:srgbClr val="000000"/>
                </a:solidFill>
                <a:latin typeface="Liberation Sans"/>
                <a:ea typeface="Microsoft YaHei"/>
                <a:hlinkClick r:id="rId3"/>
              </a:rPr>
              <a:t>https://mediamag.mediamarkt.at/detail/smartphone-ai-ki-huawei-p20-pro.html</a:t>
            </a:r>
            <a:r>
              <a:rPr lang="en-US">
                <a:solidFill>
                  <a:srgbClr val="000000"/>
                </a:solidFill>
                <a:latin typeface="Liberation Sans"/>
                <a:ea typeface="Microsoft YaHei"/>
              </a:rPr>
              <a:t>  ---&gt; iStock https://www.istockphoto.com/de/foto/ki-und-smart-factory-abstrakte-mischtechnik-gm875477964-244408680?searchscope=image%2Cfilm</a:t>
            </a:r>
          </a:p>
          <a:p>
            <a:pPr marL="215900" indent="-215900"/>
            <a:endParaRPr lang="en-US">
              <a:solidFill>
                <a:srgbClr val="000000"/>
              </a:solidFill>
              <a:latin typeface="Liberation Sans"/>
              <a:ea typeface="Microsoft YaHei"/>
              <a:cs typeface="Calibri"/>
            </a:endParaRPr>
          </a:p>
          <a:p>
            <a:pPr marL="215900" indent="-215900"/>
            <a:endParaRPr lang="en-US">
              <a:solidFill>
                <a:srgbClr val="000000"/>
              </a:solidFill>
            </a:endParaRPr>
          </a:p>
        </p:txBody>
      </p:sp>
    </p:spTree>
    <p:extLst>
      <p:ext uri="{BB962C8B-B14F-4D97-AF65-F5344CB8AC3E}">
        <p14:creationId xmlns:p14="http://schemas.microsoft.com/office/powerpoint/2010/main" val="8585014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5900" indent="-215900"/>
            <a:r>
              <a:rPr lang="en-US" err="1">
                <a:latin typeface="Calibri"/>
                <a:ea typeface="Calibri"/>
                <a:cs typeface="Calibri"/>
              </a:rPr>
              <a:t>Bildquellen</a:t>
            </a:r>
            <a:endParaRPr lang="en-US">
              <a:latin typeface="Calibri"/>
              <a:ea typeface="Calibri"/>
              <a:cs typeface="Calibri"/>
            </a:endParaRPr>
          </a:p>
          <a:p>
            <a:pPr marL="215900" marR="0" lvl="0" indent="-215900" defTabSz="914400" rtl="0" eaLnBrk="1" fontAlgn="auto" latinLnBrk="0" hangingPunct="0">
              <a:lnSpc>
                <a:spcPct val="100000"/>
              </a:lnSpc>
              <a:spcBef>
                <a:spcPts val="0"/>
              </a:spcBef>
              <a:spcAft>
                <a:spcPts val="0"/>
              </a:spcAft>
              <a:buClrTx/>
              <a:buSzTx/>
              <a:buFontTx/>
              <a:buNone/>
              <a:tabLst/>
              <a:defRPr/>
            </a:pPr>
            <a:r>
              <a:rPr lang="en-US">
                <a:latin typeface="Calibri"/>
                <a:ea typeface="Calibri"/>
                <a:cs typeface="Calibri"/>
              </a:rPr>
              <a:t>Latency: https://stock.adobe.com/search?creator_id=204731649&amp;filters%5Bcontent_type%3Aphoto%5D=1&amp;filters%5Bcontent_type%3Aillustration%5D=1&amp;filters%5Bcontent_type%3Azip_vector%5D=1&amp;filters%5Bcontent_type%3Avideo%5D=1&amp;filters%5Bcontent_type%3Atemplate%5D=1&amp;filters%5Bcontent_type%3A3d%5D=1&amp;filters%5Bcontent_type%3Aaudio%5D=0&amp;filters%5Binclude_stock_enterprise%5D=0&amp;filters%5Bis_editorial%5D=0&amp;filters%5Bfetch_excluded_assets%5D=1&amp;filters%5Bcontent_type%3Aimage%5D=1&amp;order=relevance&amp;limit=100&amp;search_page=3&amp;search_type=pagination&amp;get_facets=0&amp;asset_id=63005787      </a:t>
            </a:r>
            <a:r>
              <a:rPr lang="en-US">
                <a:solidFill>
                  <a:srgbClr val="000000"/>
                </a:solidFill>
                <a:latin typeface="Liberation Sans"/>
                <a:ea typeface="Microsoft YaHei"/>
                <a:cs typeface="Calibri"/>
              </a:rPr>
              <a:t>&lt;&lt;&lt;&lt; Free trial license</a:t>
            </a:r>
          </a:p>
          <a:p>
            <a:pPr marL="215900" indent="-215900"/>
            <a:r>
              <a:rPr lang="en-US" err="1">
                <a:solidFill>
                  <a:srgbClr val="000000"/>
                </a:solidFill>
                <a:latin typeface="Liberation Sans"/>
                <a:ea typeface="Microsoft YaHei"/>
                <a:cs typeface="Calibri"/>
              </a:rPr>
              <a:t>Strahlung</a:t>
            </a:r>
            <a:r>
              <a:rPr lang="en-US">
                <a:solidFill>
                  <a:srgbClr val="000000"/>
                </a:solidFill>
                <a:latin typeface="Liberation Sans"/>
                <a:ea typeface="Microsoft YaHei"/>
                <a:cs typeface="Calibri"/>
              </a:rPr>
              <a:t>:  https://stock.adobe.com/search/images?filters%5Bcontent_type%3Aphoto%5D=1&amp;filters%5Bcontent_type%3Aillustration%5D=1&amp;filters%5Bcontent_type%3Aimage%5D=1&amp;filters%5Border%5D=relevance&amp;k=space+solar+radiation+particle&amp;order=relevance&amp;limit=100&amp;search_page=1&amp;search_type=usertyped&amp;acp=&amp;aco=space+solar+radiation+particle&amp;get_facets=1&amp;asset_id=1303083848    &lt;&lt;&lt;&lt; Free trial license</a:t>
            </a:r>
          </a:p>
          <a:p>
            <a:r>
              <a:rPr lang="en-GB" err="1"/>
              <a:t>Energie</a:t>
            </a:r>
            <a:r>
              <a:rPr lang="en-GB"/>
              <a:t>: </a:t>
            </a:r>
          </a:p>
          <a:p>
            <a:r>
              <a:rPr lang="en-GB"/>
              <a:t>https://stock.adobe.com/search?filters%5Bcontent_type%3Aphoto%5D=1&amp;filters%5Bcontent_type%3Aillustration%5D=1&amp;filters%5Bfree_collection%5D=0&amp;filters%5Bcontent_type%3Aimage%5D=1&amp;filters%5Border%5D=relevance&amp;k=satellite+sunlight&amp;order=relevance&amp;limit=100&amp;search_type=freebr-asset-click&amp;search_page=1&amp;acp=&amp;aco=satellite+sunlight&amp;asset_id=921229559   &lt;&lt;&lt; Free trial license</a:t>
            </a:r>
          </a:p>
          <a:p>
            <a:r>
              <a:rPr lang="en-GB"/>
              <a:t>https://www.istockphoto.com/de/foto/satelliten-in-den-strahlen-der-aufgehenden-sonne-gm680511642-124724223</a:t>
            </a:r>
          </a:p>
          <a:p>
            <a:r>
              <a:rPr lang="en-GB"/>
              <a:t>https://www.istockphoto.com/de/foto/raum-satelliten-%C3%BCber-den-planet-earth-gm485707614-72212023</a:t>
            </a:r>
          </a:p>
          <a:p>
            <a:r>
              <a:rPr lang="en-GB" err="1"/>
              <a:t>Frequenzen</a:t>
            </a:r>
            <a:r>
              <a:rPr lang="en-GB"/>
              <a:t>: </a:t>
            </a:r>
          </a:p>
          <a:p>
            <a:r>
              <a:rPr lang="en-GB"/>
              <a:t>https://stock.adobe.com/search/images?filters%5Bcontent_type%3Aphoto%5D=1&amp;filters%5Bcontent_type%3Aillustration%5D=1&amp;filters%5Bcontent_type%3Azip_vector%5D=1&amp;filters%5Bcontent_type%3Avideo%5D=0&amp;filters%5Bcontent_type%3Atemplate%5D=0&amp;filters%5Bcontent_type%3A3d%5D=0&amp;filters%5Bcontent_type%3Aaudio%5D=0&amp;filters%5Bfree_collection%5D=0&amp;filters%5Bcontent_type%3Aimage%5D=1&amp;filters%5Binclude_stock_enterprise%5D=0&amp;filters%5Bis_editorial%5D=0&amp;order=relevance&amp;serie_id=216979468&amp;search_page=2&amp;get_facets=0&amp;search_type=pagination&amp;asset_id=220166364   &lt;&lt;&lt; Free trial license</a:t>
            </a:r>
          </a:p>
          <a:p>
            <a:endParaRPr lang="en-GB"/>
          </a:p>
          <a:p>
            <a:r>
              <a:rPr lang="en-GB"/>
              <a:t>https://www.jammer-welt.com/interferenz-von-alarmen-auf-frequenzen-433-868MHz.html</a:t>
            </a:r>
          </a:p>
          <a:p>
            <a:endParaRPr lang="en-GB"/>
          </a:p>
        </p:txBody>
      </p:sp>
    </p:spTree>
    <p:extLst>
      <p:ext uri="{BB962C8B-B14F-4D97-AF65-F5344CB8AC3E}">
        <p14:creationId xmlns:p14="http://schemas.microsoft.com/office/powerpoint/2010/main" val="40286580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tags" Target="../tags/tag381.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Master" Target="../slideMasters/slideMaster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28CBF-B7ED-4F53-7D3E-9100FAF64B62}"/>
              </a:ext>
            </a:extLst>
          </p:cNvPr>
          <p:cNvSpPr>
            <a:spLocks noGrp="1"/>
          </p:cNvSpPr>
          <p:nvPr>
            <p:ph type="ctrTitle"/>
          </p:nvPr>
        </p:nvSpPr>
        <p:spPr>
          <a:xfrm>
            <a:off x="1382713" y="1019175"/>
            <a:ext cx="8297862" cy="2166938"/>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0A99890-A7FD-5914-F9D9-DAC555EBB243}"/>
              </a:ext>
            </a:extLst>
          </p:cNvPr>
          <p:cNvSpPr>
            <a:spLocks noGrp="1"/>
          </p:cNvSpPr>
          <p:nvPr>
            <p:ph type="subTitle" idx="1"/>
          </p:nvPr>
        </p:nvSpPr>
        <p:spPr>
          <a:xfrm>
            <a:off x="1382713" y="3268663"/>
            <a:ext cx="8297862" cy="1503362"/>
          </a:xfrm>
        </p:spPr>
        <p:txBody>
          <a:bodyPr/>
          <a:lstStyle>
            <a:lvl1pPr marL="0" indent="0" algn="ctr">
              <a:buNone/>
              <a:defRPr sz="2400"/>
            </a:lvl1pPr>
            <a:lvl2pPr marL="457200" indent="0" algn="ctr">
              <a:buNone/>
              <a:defRPr sz="2000"/>
            </a:lvl2pPr>
            <a:lvl3pPr marL="914400" indent="0" algn="ctr">
              <a:buNone/>
              <a:defRPr sz="1800"/>
            </a:lvl3pPr>
            <a:lvl4pPr marL="1371598"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598"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BCE27D6-FA99-EBB3-FB34-E64C6A2C47D3}"/>
              </a:ext>
            </a:extLst>
          </p:cNvPr>
          <p:cNvSpPr>
            <a:spLocks noGrp="1"/>
          </p:cNvSpPr>
          <p:nvPr>
            <p:ph type="dt" sz="half" idx="10"/>
          </p:nvPr>
        </p:nvSpPr>
        <p:spPr/>
        <p:txBody>
          <a:bodyPr/>
          <a:lstStyle/>
          <a:p>
            <a:pPr lvl="0"/>
            <a:endParaRPr lang="en-GB"/>
          </a:p>
        </p:txBody>
      </p:sp>
      <p:sp>
        <p:nvSpPr>
          <p:cNvPr id="5" name="Footer Placeholder 4">
            <a:extLst>
              <a:ext uri="{FF2B5EF4-FFF2-40B4-BE49-F238E27FC236}">
                <a16:creationId xmlns:a16="http://schemas.microsoft.com/office/drawing/2014/main" id="{6F75C24C-848D-7F69-5564-1D18593AEF4D}"/>
              </a:ext>
            </a:extLst>
          </p:cNvPr>
          <p:cNvSpPr>
            <a:spLocks noGrp="1"/>
          </p:cNvSpPr>
          <p:nvPr>
            <p:ph type="ftr" sz="quarter" idx="11"/>
          </p:nvPr>
        </p:nvSpPr>
        <p:spPr/>
        <p:txBody>
          <a:bodyPr/>
          <a:lstStyle/>
          <a:p>
            <a:pPr lvl="0"/>
            <a:endParaRPr lang="en-GB"/>
          </a:p>
        </p:txBody>
      </p:sp>
      <p:sp>
        <p:nvSpPr>
          <p:cNvPr id="6" name="Slide Number Placeholder 5">
            <a:extLst>
              <a:ext uri="{FF2B5EF4-FFF2-40B4-BE49-F238E27FC236}">
                <a16:creationId xmlns:a16="http://schemas.microsoft.com/office/drawing/2014/main" id="{9F30E9B8-AAC8-25B4-2730-90EFF7757DD5}"/>
              </a:ext>
            </a:extLst>
          </p:cNvPr>
          <p:cNvSpPr>
            <a:spLocks noGrp="1"/>
          </p:cNvSpPr>
          <p:nvPr>
            <p:ph type="sldNum" sz="quarter" idx="12"/>
          </p:nvPr>
        </p:nvSpPr>
        <p:spPr/>
        <p:txBody>
          <a:bodyPr/>
          <a:lstStyle/>
          <a:p>
            <a:pPr lvl="0"/>
            <a:fld id="{7358BA10-E82C-4CCF-BBE5-D2D9B685475D}" type="slidenum">
              <a:t>‹#›</a:t>
            </a:fld>
            <a:endParaRPr lang="en-GB"/>
          </a:p>
        </p:txBody>
      </p:sp>
    </p:spTree>
    <p:extLst>
      <p:ext uri="{BB962C8B-B14F-4D97-AF65-F5344CB8AC3E}">
        <p14:creationId xmlns:p14="http://schemas.microsoft.com/office/powerpoint/2010/main" val="2588954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030D7-2412-064C-9FC8-4E656066A69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4326A8A-3A79-A927-9723-F4DF5F1273D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5E229B-7930-0DC0-8786-CB07D5406899}"/>
              </a:ext>
            </a:extLst>
          </p:cNvPr>
          <p:cNvSpPr>
            <a:spLocks noGrp="1"/>
          </p:cNvSpPr>
          <p:nvPr>
            <p:ph type="dt" sz="half" idx="10"/>
          </p:nvPr>
        </p:nvSpPr>
        <p:spPr/>
        <p:txBody>
          <a:bodyPr/>
          <a:lstStyle/>
          <a:p>
            <a:pPr lvl="0"/>
            <a:endParaRPr lang="en-GB"/>
          </a:p>
        </p:txBody>
      </p:sp>
      <p:sp>
        <p:nvSpPr>
          <p:cNvPr id="5" name="Footer Placeholder 4">
            <a:extLst>
              <a:ext uri="{FF2B5EF4-FFF2-40B4-BE49-F238E27FC236}">
                <a16:creationId xmlns:a16="http://schemas.microsoft.com/office/drawing/2014/main" id="{0B08189F-E605-1CC8-66CE-D45F548CBD26}"/>
              </a:ext>
            </a:extLst>
          </p:cNvPr>
          <p:cNvSpPr>
            <a:spLocks noGrp="1"/>
          </p:cNvSpPr>
          <p:nvPr>
            <p:ph type="ftr" sz="quarter" idx="11"/>
          </p:nvPr>
        </p:nvSpPr>
        <p:spPr/>
        <p:txBody>
          <a:bodyPr/>
          <a:lstStyle/>
          <a:p>
            <a:pPr lvl="0"/>
            <a:endParaRPr lang="en-GB"/>
          </a:p>
        </p:txBody>
      </p:sp>
      <p:sp>
        <p:nvSpPr>
          <p:cNvPr id="6" name="Slide Number Placeholder 5">
            <a:extLst>
              <a:ext uri="{FF2B5EF4-FFF2-40B4-BE49-F238E27FC236}">
                <a16:creationId xmlns:a16="http://schemas.microsoft.com/office/drawing/2014/main" id="{D4084B96-929D-903A-CD8D-7F58E535621C}"/>
              </a:ext>
            </a:extLst>
          </p:cNvPr>
          <p:cNvSpPr>
            <a:spLocks noGrp="1"/>
          </p:cNvSpPr>
          <p:nvPr>
            <p:ph type="sldNum" sz="quarter" idx="12"/>
          </p:nvPr>
        </p:nvSpPr>
        <p:spPr/>
        <p:txBody>
          <a:bodyPr/>
          <a:lstStyle/>
          <a:p>
            <a:pPr lvl="0"/>
            <a:fld id="{31EEBC4F-EBEB-41BD-94BC-58BD0226BF17}" type="slidenum">
              <a:t>‹#›</a:t>
            </a:fld>
            <a:endParaRPr lang="en-GB"/>
          </a:p>
        </p:txBody>
      </p:sp>
    </p:spTree>
    <p:extLst>
      <p:ext uri="{BB962C8B-B14F-4D97-AF65-F5344CB8AC3E}">
        <p14:creationId xmlns:p14="http://schemas.microsoft.com/office/powerpoint/2010/main" val="29566364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ECB46F0-CCD7-CCBD-A1A9-AC8B8B6076CC}"/>
              </a:ext>
            </a:extLst>
          </p:cNvPr>
          <p:cNvSpPr>
            <a:spLocks noGrp="1"/>
          </p:cNvSpPr>
          <p:nvPr>
            <p:ph type="title" orient="vert"/>
          </p:nvPr>
        </p:nvSpPr>
        <p:spPr>
          <a:xfrm>
            <a:off x="8020050" y="392113"/>
            <a:ext cx="2489200" cy="467360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8073DCB-BF98-2E75-FB7D-64CD69889150}"/>
              </a:ext>
            </a:extLst>
          </p:cNvPr>
          <p:cNvSpPr>
            <a:spLocks noGrp="1"/>
          </p:cNvSpPr>
          <p:nvPr>
            <p:ph type="body" orient="vert" idx="1"/>
          </p:nvPr>
        </p:nvSpPr>
        <p:spPr>
          <a:xfrm>
            <a:off x="552453" y="392113"/>
            <a:ext cx="7315200" cy="4673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2838BC-8908-38AD-BB3C-7BE5BDE11DC8}"/>
              </a:ext>
            </a:extLst>
          </p:cNvPr>
          <p:cNvSpPr>
            <a:spLocks noGrp="1"/>
          </p:cNvSpPr>
          <p:nvPr>
            <p:ph type="dt" sz="half" idx="10"/>
          </p:nvPr>
        </p:nvSpPr>
        <p:spPr/>
        <p:txBody>
          <a:bodyPr/>
          <a:lstStyle/>
          <a:p>
            <a:pPr lvl="0"/>
            <a:endParaRPr lang="en-GB"/>
          </a:p>
        </p:txBody>
      </p:sp>
      <p:sp>
        <p:nvSpPr>
          <p:cNvPr id="5" name="Footer Placeholder 4">
            <a:extLst>
              <a:ext uri="{FF2B5EF4-FFF2-40B4-BE49-F238E27FC236}">
                <a16:creationId xmlns:a16="http://schemas.microsoft.com/office/drawing/2014/main" id="{2953E571-063F-1781-1AB2-CCA53F0AD7E9}"/>
              </a:ext>
            </a:extLst>
          </p:cNvPr>
          <p:cNvSpPr>
            <a:spLocks noGrp="1"/>
          </p:cNvSpPr>
          <p:nvPr>
            <p:ph type="ftr" sz="quarter" idx="11"/>
          </p:nvPr>
        </p:nvSpPr>
        <p:spPr/>
        <p:txBody>
          <a:bodyPr/>
          <a:lstStyle/>
          <a:p>
            <a:pPr lvl="0"/>
            <a:endParaRPr lang="en-GB"/>
          </a:p>
        </p:txBody>
      </p:sp>
      <p:sp>
        <p:nvSpPr>
          <p:cNvPr id="6" name="Slide Number Placeholder 5">
            <a:extLst>
              <a:ext uri="{FF2B5EF4-FFF2-40B4-BE49-F238E27FC236}">
                <a16:creationId xmlns:a16="http://schemas.microsoft.com/office/drawing/2014/main" id="{5EE54CAB-DACA-AB42-80E3-C53B579515A6}"/>
              </a:ext>
            </a:extLst>
          </p:cNvPr>
          <p:cNvSpPr>
            <a:spLocks noGrp="1"/>
          </p:cNvSpPr>
          <p:nvPr>
            <p:ph type="sldNum" sz="quarter" idx="12"/>
          </p:nvPr>
        </p:nvSpPr>
        <p:spPr/>
        <p:txBody>
          <a:bodyPr/>
          <a:lstStyle/>
          <a:p>
            <a:pPr lvl="0"/>
            <a:fld id="{8F4A19F6-A764-4ACB-8719-008549792934}" type="slidenum">
              <a:t>‹#›</a:t>
            </a:fld>
            <a:endParaRPr lang="en-GB"/>
          </a:p>
        </p:txBody>
      </p:sp>
    </p:spTree>
    <p:extLst>
      <p:ext uri="{BB962C8B-B14F-4D97-AF65-F5344CB8AC3E}">
        <p14:creationId xmlns:p14="http://schemas.microsoft.com/office/powerpoint/2010/main" val="35719904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835155"/>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259AC-E69B-AA54-DFAE-D8D1D7D16AB7}"/>
              </a:ext>
            </a:extLst>
          </p:cNvPr>
          <p:cNvSpPr>
            <a:spLocks noGrp="1"/>
          </p:cNvSpPr>
          <p:nvPr>
            <p:ph type="ctrTitle"/>
          </p:nvPr>
        </p:nvSpPr>
        <p:spPr>
          <a:xfrm>
            <a:off x="490538" y="1019175"/>
            <a:ext cx="10082212" cy="2166938"/>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DB49AA4-4208-ECFB-D0F7-F922F6DF6DA0}"/>
              </a:ext>
            </a:extLst>
          </p:cNvPr>
          <p:cNvSpPr>
            <a:spLocks noGrp="1"/>
          </p:cNvSpPr>
          <p:nvPr>
            <p:ph type="subTitle" idx="1"/>
          </p:nvPr>
        </p:nvSpPr>
        <p:spPr>
          <a:xfrm>
            <a:off x="490538" y="3268663"/>
            <a:ext cx="10082212" cy="1503362"/>
          </a:xfrm>
        </p:spPr>
        <p:txBody>
          <a:bodyPr/>
          <a:lstStyle>
            <a:lvl1pPr marL="0" indent="0" algn="ctr">
              <a:buNone/>
              <a:defRPr sz="2400"/>
            </a:lvl1pPr>
            <a:lvl2pPr marL="457200" indent="0" algn="ctr">
              <a:buNone/>
              <a:defRPr sz="2000"/>
            </a:lvl2pPr>
            <a:lvl3pPr marL="914400" indent="0" algn="ctr">
              <a:buNone/>
              <a:defRPr sz="1800"/>
            </a:lvl3pPr>
            <a:lvl4pPr marL="1371598"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598"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707BF03-08FF-6A69-E6F0-EC4DB96FD12B}"/>
              </a:ext>
            </a:extLst>
          </p:cNvPr>
          <p:cNvSpPr>
            <a:spLocks noGrp="1"/>
          </p:cNvSpPr>
          <p:nvPr>
            <p:ph type="dt" sz="half" idx="10"/>
          </p:nvPr>
        </p:nvSpPr>
        <p:spPr/>
        <p:txBody>
          <a:bodyPr/>
          <a:lstStyle/>
          <a:p>
            <a:pPr lvl="0"/>
            <a:endParaRPr lang="en-GB"/>
          </a:p>
        </p:txBody>
      </p:sp>
      <p:sp>
        <p:nvSpPr>
          <p:cNvPr id="5" name="Footer Placeholder 4">
            <a:extLst>
              <a:ext uri="{FF2B5EF4-FFF2-40B4-BE49-F238E27FC236}">
                <a16:creationId xmlns:a16="http://schemas.microsoft.com/office/drawing/2014/main" id="{3DCA489A-609D-9968-33C3-5D57A7EB9EAC}"/>
              </a:ext>
            </a:extLst>
          </p:cNvPr>
          <p:cNvSpPr>
            <a:spLocks noGrp="1"/>
          </p:cNvSpPr>
          <p:nvPr>
            <p:ph type="ftr" sz="quarter" idx="11"/>
          </p:nvPr>
        </p:nvSpPr>
        <p:spPr/>
        <p:txBody>
          <a:bodyPr/>
          <a:lstStyle/>
          <a:p>
            <a:pPr lvl="0"/>
            <a:endParaRPr lang="en-GB"/>
          </a:p>
        </p:txBody>
      </p:sp>
      <p:sp>
        <p:nvSpPr>
          <p:cNvPr id="6" name="Slide Number Placeholder 5">
            <a:extLst>
              <a:ext uri="{FF2B5EF4-FFF2-40B4-BE49-F238E27FC236}">
                <a16:creationId xmlns:a16="http://schemas.microsoft.com/office/drawing/2014/main" id="{C54C39CC-FD0B-AA0A-553C-49002B7F24F8}"/>
              </a:ext>
            </a:extLst>
          </p:cNvPr>
          <p:cNvSpPr>
            <a:spLocks noGrp="1"/>
          </p:cNvSpPr>
          <p:nvPr>
            <p:ph type="sldNum" sz="quarter" idx="12"/>
          </p:nvPr>
        </p:nvSpPr>
        <p:spPr/>
        <p:txBody>
          <a:bodyPr/>
          <a:lstStyle/>
          <a:p>
            <a:pPr lvl="0"/>
            <a:fld id="{ABB7A29D-DF07-4326-A525-6C924A206378}" type="slidenum">
              <a:t>‹#›</a:t>
            </a:fld>
            <a:endParaRPr lang="en-GB"/>
          </a:p>
        </p:txBody>
      </p:sp>
    </p:spTree>
    <p:extLst>
      <p:ext uri="{BB962C8B-B14F-4D97-AF65-F5344CB8AC3E}">
        <p14:creationId xmlns:p14="http://schemas.microsoft.com/office/powerpoint/2010/main" val="18386163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05ABA-49D6-D597-5E91-C51F3861DF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7FEFA66-5C01-CEB0-6F54-72573C56B3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18DFC72-2E6F-2A7A-A8D2-6156EE2F45E7}"/>
              </a:ext>
            </a:extLst>
          </p:cNvPr>
          <p:cNvSpPr>
            <a:spLocks noGrp="1"/>
          </p:cNvSpPr>
          <p:nvPr>
            <p:ph type="dt" sz="half" idx="10"/>
          </p:nvPr>
        </p:nvSpPr>
        <p:spPr/>
        <p:txBody>
          <a:bodyPr/>
          <a:lstStyle/>
          <a:p>
            <a:pPr lvl="0"/>
            <a:endParaRPr lang="en-GB"/>
          </a:p>
        </p:txBody>
      </p:sp>
      <p:sp>
        <p:nvSpPr>
          <p:cNvPr id="5" name="Footer Placeholder 4">
            <a:extLst>
              <a:ext uri="{FF2B5EF4-FFF2-40B4-BE49-F238E27FC236}">
                <a16:creationId xmlns:a16="http://schemas.microsoft.com/office/drawing/2014/main" id="{F89ED3BA-707B-0318-3EC0-4F4BC9071B2B}"/>
              </a:ext>
            </a:extLst>
          </p:cNvPr>
          <p:cNvSpPr>
            <a:spLocks noGrp="1"/>
          </p:cNvSpPr>
          <p:nvPr>
            <p:ph type="ftr" sz="quarter" idx="11"/>
          </p:nvPr>
        </p:nvSpPr>
        <p:spPr/>
        <p:txBody>
          <a:bodyPr/>
          <a:lstStyle/>
          <a:p>
            <a:pPr lvl="0"/>
            <a:endParaRPr lang="en-GB"/>
          </a:p>
        </p:txBody>
      </p:sp>
      <p:sp>
        <p:nvSpPr>
          <p:cNvPr id="6" name="Slide Number Placeholder 5">
            <a:extLst>
              <a:ext uri="{FF2B5EF4-FFF2-40B4-BE49-F238E27FC236}">
                <a16:creationId xmlns:a16="http://schemas.microsoft.com/office/drawing/2014/main" id="{5688908F-069D-24A8-6732-46B678B4150D}"/>
              </a:ext>
            </a:extLst>
          </p:cNvPr>
          <p:cNvSpPr>
            <a:spLocks noGrp="1"/>
          </p:cNvSpPr>
          <p:nvPr>
            <p:ph type="sldNum" sz="quarter" idx="12"/>
          </p:nvPr>
        </p:nvSpPr>
        <p:spPr/>
        <p:txBody>
          <a:bodyPr/>
          <a:lstStyle/>
          <a:p>
            <a:pPr lvl="0"/>
            <a:fld id="{DC528484-4018-430D-89F2-2834E8D3BD57}" type="slidenum">
              <a:t>‹#›</a:t>
            </a:fld>
            <a:endParaRPr lang="en-GB"/>
          </a:p>
        </p:txBody>
      </p:sp>
    </p:spTree>
    <p:extLst>
      <p:ext uri="{BB962C8B-B14F-4D97-AF65-F5344CB8AC3E}">
        <p14:creationId xmlns:p14="http://schemas.microsoft.com/office/powerpoint/2010/main" val="10870752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AFD47-3DC5-1702-FEB1-F7B98E56E861}"/>
              </a:ext>
            </a:extLst>
          </p:cNvPr>
          <p:cNvSpPr>
            <a:spLocks noGrp="1"/>
          </p:cNvSpPr>
          <p:nvPr>
            <p:ph type="title"/>
          </p:nvPr>
        </p:nvSpPr>
        <p:spPr>
          <a:xfrm>
            <a:off x="490538" y="1552581"/>
            <a:ext cx="10082212" cy="2589213"/>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2B03650-40F1-FDE2-5B12-49B4ECEDEC4F}"/>
              </a:ext>
            </a:extLst>
          </p:cNvPr>
          <p:cNvSpPr>
            <a:spLocks noGrp="1"/>
          </p:cNvSpPr>
          <p:nvPr>
            <p:ph type="body" idx="1"/>
          </p:nvPr>
        </p:nvSpPr>
        <p:spPr>
          <a:xfrm>
            <a:off x="490538" y="4165606"/>
            <a:ext cx="10082212" cy="1362075"/>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598"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598"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9450461-D32D-30B0-2920-2F4B89E6A0A4}"/>
              </a:ext>
            </a:extLst>
          </p:cNvPr>
          <p:cNvSpPr>
            <a:spLocks noGrp="1"/>
          </p:cNvSpPr>
          <p:nvPr>
            <p:ph type="dt" sz="half" idx="10"/>
          </p:nvPr>
        </p:nvSpPr>
        <p:spPr/>
        <p:txBody>
          <a:bodyPr/>
          <a:lstStyle/>
          <a:p>
            <a:pPr lvl="0"/>
            <a:endParaRPr lang="en-GB"/>
          </a:p>
        </p:txBody>
      </p:sp>
      <p:sp>
        <p:nvSpPr>
          <p:cNvPr id="5" name="Footer Placeholder 4">
            <a:extLst>
              <a:ext uri="{FF2B5EF4-FFF2-40B4-BE49-F238E27FC236}">
                <a16:creationId xmlns:a16="http://schemas.microsoft.com/office/drawing/2014/main" id="{7BDDD44D-D27B-1917-2373-110960D5012E}"/>
              </a:ext>
            </a:extLst>
          </p:cNvPr>
          <p:cNvSpPr>
            <a:spLocks noGrp="1"/>
          </p:cNvSpPr>
          <p:nvPr>
            <p:ph type="ftr" sz="quarter" idx="11"/>
          </p:nvPr>
        </p:nvSpPr>
        <p:spPr/>
        <p:txBody>
          <a:bodyPr/>
          <a:lstStyle/>
          <a:p>
            <a:pPr lvl="0"/>
            <a:endParaRPr lang="en-GB"/>
          </a:p>
        </p:txBody>
      </p:sp>
      <p:sp>
        <p:nvSpPr>
          <p:cNvPr id="6" name="Slide Number Placeholder 5">
            <a:extLst>
              <a:ext uri="{FF2B5EF4-FFF2-40B4-BE49-F238E27FC236}">
                <a16:creationId xmlns:a16="http://schemas.microsoft.com/office/drawing/2014/main" id="{16C9E475-7243-A3B1-A2BC-C230DE247F43}"/>
              </a:ext>
            </a:extLst>
          </p:cNvPr>
          <p:cNvSpPr>
            <a:spLocks noGrp="1"/>
          </p:cNvSpPr>
          <p:nvPr>
            <p:ph type="sldNum" sz="quarter" idx="12"/>
          </p:nvPr>
        </p:nvSpPr>
        <p:spPr/>
        <p:txBody>
          <a:bodyPr/>
          <a:lstStyle/>
          <a:p>
            <a:pPr lvl="0"/>
            <a:fld id="{E3789837-DF59-4A28-A983-535CCBAF88B8}" type="slidenum">
              <a:t>‹#›</a:t>
            </a:fld>
            <a:endParaRPr lang="en-GB"/>
          </a:p>
        </p:txBody>
      </p:sp>
    </p:spTree>
    <p:extLst>
      <p:ext uri="{BB962C8B-B14F-4D97-AF65-F5344CB8AC3E}">
        <p14:creationId xmlns:p14="http://schemas.microsoft.com/office/powerpoint/2010/main" val="34710197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FD8002-6A78-D0F0-411B-804B495E064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0C590C-4438-B491-08B4-EAE9F34A0BB3}"/>
              </a:ext>
            </a:extLst>
          </p:cNvPr>
          <p:cNvSpPr>
            <a:spLocks noGrp="1"/>
          </p:cNvSpPr>
          <p:nvPr>
            <p:ph sz="half" idx="1"/>
          </p:nvPr>
        </p:nvSpPr>
        <p:spPr>
          <a:xfrm>
            <a:off x="490541" y="1131888"/>
            <a:ext cx="4964112" cy="4608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35569FF-B7BD-02BC-4D1B-05FA1FC189CC}"/>
              </a:ext>
            </a:extLst>
          </p:cNvPr>
          <p:cNvSpPr>
            <a:spLocks noGrp="1"/>
          </p:cNvSpPr>
          <p:nvPr>
            <p:ph sz="half" idx="2"/>
          </p:nvPr>
        </p:nvSpPr>
        <p:spPr>
          <a:xfrm>
            <a:off x="5607050" y="1131888"/>
            <a:ext cx="4965700" cy="4608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734C93A-50A6-05DD-87A4-0E215A1239EA}"/>
              </a:ext>
            </a:extLst>
          </p:cNvPr>
          <p:cNvSpPr>
            <a:spLocks noGrp="1"/>
          </p:cNvSpPr>
          <p:nvPr>
            <p:ph type="dt" sz="half" idx="10"/>
          </p:nvPr>
        </p:nvSpPr>
        <p:spPr/>
        <p:txBody>
          <a:bodyPr/>
          <a:lstStyle/>
          <a:p>
            <a:pPr lvl="0"/>
            <a:endParaRPr lang="en-GB"/>
          </a:p>
        </p:txBody>
      </p:sp>
      <p:sp>
        <p:nvSpPr>
          <p:cNvPr id="6" name="Footer Placeholder 5">
            <a:extLst>
              <a:ext uri="{FF2B5EF4-FFF2-40B4-BE49-F238E27FC236}">
                <a16:creationId xmlns:a16="http://schemas.microsoft.com/office/drawing/2014/main" id="{3C85D4EC-7433-D26A-D32C-872E009A8CFA}"/>
              </a:ext>
            </a:extLst>
          </p:cNvPr>
          <p:cNvSpPr>
            <a:spLocks noGrp="1"/>
          </p:cNvSpPr>
          <p:nvPr>
            <p:ph type="ftr" sz="quarter" idx="11"/>
          </p:nvPr>
        </p:nvSpPr>
        <p:spPr/>
        <p:txBody>
          <a:bodyPr/>
          <a:lstStyle/>
          <a:p>
            <a:pPr lvl="0"/>
            <a:endParaRPr lang="en-GB"/>
          </a:p>
        </p:txBody>
      </p:sp>
      <p:sp>
        <p:nvSpPr>
          <p:cNvPr id="7" name="Slide Number Placeholder 6">
            <a:extLst>
              <a:ext uri="{FF2B5EF4-FFF2-40B4-BE49-F238E27FC236}">
                <a16:creationId xmlns:a16="http://schemas.microsoft.com/office/drawing/2014/main" id="{BF9E283A-472D-2252-D5A7-7872FCD0A92A}"/>
              </a:ext>
            </a:extLst>
          </p:cNvPr>
          <p:cNvSpPr>
            <a:spLocks noGrp="1"/>
          </p:cNvSpPr>
          <p:nvPr>
            <p:ph type="sldNum" sz="quarter" idx="12"/>
          </p:nvPr>
        </p:nvSpPr>
        <p:spPr/>
        <p:txBody>
          <a:bodyPr/>
          <a:lstStyle/>
          <a:p>
            <a:pPr lvl="0"/>
            <a:fld id="{32D2D119-840C-4323-97B3-46B117AB9D57}" type="slidenum">
              <a:t>‹#›</a:t>
            </a:fld>
            <a:endParaRPr lang="en-GB"/>
          </a:p>
        </p:txBody>
      </p:sp>
    </p:spTree>
    <p:extLst>
      <p:ext uri="{BB962C8B-B14F-4D97-AF65-F5344CB8AC3E}">
        <p14:creationId xmlns:p14="http://schemas.microsoft.com/office/powerpoint/2010/main" val="22114336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8DF235-6A07-CD10-8992-28424C6ABBB5}"/>
              </a:ext>
            </a:extLst>
          </p:cNvPr>
          <p:cNvSpPr>
            <a:spLocks noGrp="1"/>
          </p:cNvSpPr>
          <p:nvPr>
            <p:ph type="title"/>
          </p:nvPr>
        </p:nvSpPr>
        <p:spPr>
          <a:xfrm>
            <a:off x="490538" y="231776"/>
            <a:ext cx="10082212" cy="720724"/>
          </a:xfrm>
        </p:spPr>
        <p:txBody>
          <a:bodyPr/>
          <a:lstStyle/>
          <a:p>
            <a:r>
              <a:rPr lang="en-US"/>
              <a:t>Click to edit Master title style</a:t>
            </a:r>
          </a:p>
        </p:txBody>
      </p:sp>
      <p:sp>
        <p:nvSpPr>
          <p:cNvPr id="3" name="Text Placeholder 2">
            <a:extLst>
              <a:ext uri="{FF2B5EF4-FFF2-40B4-BE49-F238E27FC236}">
                <a16:creationId xmlns:a16="http://schemas.microsoft.com/office/drawing/2014/main" id="{1699FF6D-1A83-F25A-29DE-7326AB8B12EC}"/>
              </a:ext>
            </a:extLst>
          </p:cNvPr>
          <p:cNvSpPr>
            <a:spLocks noGrp="1"/>
          </p:cNvSpPr>
          <p:nvPr>
            <p:ph type="body" idx="1" hasCustomPrompt="1"/>
          </p:nvPr>
        </p:nvSpPr>
        <p:spPr>
          <a:xfrm>
            <a:off x="490541" y="1140292"/>
            <a:ext cx="4972048" cy="648000"/>
          </a:xfrm>
        </p:spPr>
        <p:txBody>
          <a:bodyPr anchor="t"/>
          <a:lstStyle>
            <a:lvl1pPr marL="0" indent="0">
              <a:buNone/>
              <a:defRPr sz="2400" b="1"/>
            </a:lvl1pPr>
            <a:lvl2pPr marL="457200" indent="0">
              <a:buNone/>
              <a:defRPr sz="2000" b="1"/>
            </a:lvl2pPr>
            <a:lvl3pPr marL="914400" indent="0">
              <a:buNone/>
              <a:defRPr sz="1800" b="1"/>
            </a:lvl3pPr>
            <a:lvl4pPr marL="1371598"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598"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5AE3AA4-BE4A-585D-3805-E32B6F62ED94}"/>
              </a:ext>
            </a:extLst>
          </p:cNvPr>
          <p:cNvSpPr>
            <a:spLocks noGrp="1"/>
          </p:cNvSpPr>
          <p:nvPr>
            <p:ph sz="half" idx="2"/>
          </p:nvPr>
        </p:nvSpPr>
        <p:spPr>
          <a:xfrm>
            <a:off x="490541" y="1930400"/>
            <a:ext cx="4972048" cy="381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5D086C8-F70D-A077-BA97-503D7B5339D1}"/>
              </a:ext>
            </a:extLst>
          </p:cNvPr>
          <p:cNvSpPr>
            <a:spLocks noGrp="1"/>
          </p:cNvSpPr>
          <p:nvPr>
            <p:ph type="body" sz="quarter" idx="3" hasCustomPrompt="1"/>
          </p:nvPr>
        </p:nvSpPr>
        <p:spPr>
          <a:xfrm>
            <a:off x="5600700" y="1140292"/>
            <a:ext cx="4972050" cy="648000"/>
          </a:xfrm>
        </p:spPr>
        <p:txBody>
          <a:bodyPr anchor="t"/>
          <a:lstStyle>
            <a:lvl1pPr marL="0" indent="0">
              <a:buNone/>
              <a:defRPr sz="2400" b="1"/>
            </a:lvl1pPr>
            <a:lvl2pPr marL="457200" indent="0">
              <a:buNone/>
              <a:defRPr sz="2000" b="1"/>
            </a:lvl2pPr>
            <a:lvl3pPr marL="914400" indent="0">
              <a:buNone/>
              <a:defRPr sz="1800" b="1"/>
            </a:lvl3pPr>
            <a:lvl4pPr marL="1371598"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598"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09928DC-2B92-4864-F45C-65B65885D1B4}"/>
              </a:ext>
            </a:extLst>
          </p:cNvPr>
          <p:cNvSpPr>
            <a:spLocks noGrp="1"/>
          </p:cNvSpPr>
          <p:nvPr>
            <p:ph sz="quarter" idx="4"/>
          </p:nvPr>
        </p:nvSpPr>
        <p:spPr>
          <a:xfrm>
            <a:off x="5600700" y="1930400"/>
            <a:ext cx="4972050" cy="381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7DB6551-AD66-CC84-132E-55F366D38E94}"/>
              </a:ext>
            </a:extLst>
          </p:cNvPr>
          <p:cNvSpPr>
            <a:spLocks noGrp="1"/>
          </p:cNvSpPr>
          <p:nvPr>
            <p:ph type="dt" sz="half" idx="10"/>
          </p:nvPr>
        </p:nvSpPr>
        <p:spPr/>
        <p:txBody>
          <a:bodyPr/>
          <a:lstStyle/>
          <a:p>
            <a:pPr lvl="0"/>
            <a:endParaRPr lang="en-GB"/>
          </a:p>
        </p:txBody>
      </p:sp>
      <p:sp>
        <p:nvSpPr>
          <p:cNvPr id="8" name="Footer Placeholder 7">
            <a:extLst>
              <a:ext uri="{FF2B5EF4-FFF2-40B4-BE49-F238E27FC236}">
                <a16:creationId xmlns:a16="http://schemas.microsoft.com/office/drawing/2014/main" id="{E9DD7A02-152E-06C0-254D-E1606D4EA0E9}"/>
              </a:ext>
            </a:extLst>
          </p:cNvPr>
          <p:cNvSpPr>
            <a:spLocks noGrp="1"/>
          </p:cNvSpPr>
          <p:nvPr>
            <p:ph type="ftr" sz="quarter" idx="11"/>
          </p:nvPr>
        </p:nvSpPr>
        <p:spPr/>
        <p:txBody>
          <a:bodyPr/>
          <a:lstStyle/>
          <a:p>
            <a:pPr lvl="0"/>
            <a:endParaRPr lang="en-GB"/>
          </a:p>
        </p:txBody>
      </p:sp>
      <p:sp>
        <p:nvSpPr>
          <p:cNvPr id="9" name="Slide Number Placeholder 8">
            <a:extLst>
              <a:ext uri="{FF2B5EF4-FFF2-40B4-BE49-F238E27FC236}">
                <a16:creationId xmlns:a16="http://schemas.microsoft.com/office/drawing/2014/main" id="{B21DB758-6B9D-7416-3F37-D6F91C4164AC}"/>
              </a:ext>
            </a:extLst>
          </p:cNvPr>
          <p:cNvSpPr>
            <a:spLocks noGrp="1"/>
          </p:cNvSpPr>
          <p:nvPr>
            <p:ph type="sldNum" sz="quarter" idx="12"/>
          </p:nvPr>
        </p:nvSpPr>
        <p:spPr/>
        <p:txBody>
          <a:bodyPr/>
          <a:lstStyle/>
          <a:p>
            <a:pPr lvl="0"/>
            <a:fld id="{1EAC05C0-5277-4972-ACCA-F5DD98C736AE}" type="slidenum">
              <a:t>‹#›</a:t>
            </a:fld>
            <a:endParaRPr lang="en-GB"/>
          </a:p>
        </p:txBody>
      </p:sp>
    </p:spTree>
    <p:extLst>
      <p:ext uri="{BB962C8B-B14F-4D97-AF65-F5344CB8AC3E}">
        <p14:creationId xmlns:p14="http://schemas.microsoft.com/office/powerpoint/2010/main" val="4128125505"/>
      </p:ext>
    </p:extLst>
  </p:cSld>
  <p:clrMapOvr>
    <a:masterClrMapping/>
  </p:clrMapOvr>
  <p:extLst>
    <p:ext uri="{DCECCB84-F9BA-43D5-87BE-67443E8EF086}">
      <p15:sldGuideLst xmlns:p15="http://schemas.microsoft.com/office/powerpoint/2012/main">
        <p15:guide id="1" pos="3439" userDrawn="1">
          <p15:clr>
            <a:srgbClr val="FBAE40"/>
          </p15:clr>
        </p15:guide>
        <p15:guide id="2" pos="353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8DF235-6A07-CD10-8992-28424C6ABBB5}"/>
              </a:ext>
            </a:extLst>
          </p:cNvPr>
          <p:cNvSpPr>
            <a:spLocks noGrp="1"/>
          </p:cNvSpPr>
          <p:nvPr>
            <p:ph type="title"/>
          </p:nvPr>
        </p:nvSpPr>
        <p:spPr>
          <a:xfrm>
            <a:off x="490538" y="231776"/>
            <a:ext cx="10082212" cy="720724"/>
          </a:xfrm>
        </p:spPr>
        <p:txBody>
          <a:bodyPr/>
          <a:lstStyle/>
          <a:p>
            <a:r>
              <a:rPr lang="en-US"/>
              <a:t>Click to edit Master title style</a:t>
            </a:r>
          </a:p>
        </p:txBody>
      </p:sp>
      <p:sp>
        <p:nvSpPr>
          <p:cNvPr id="7" name="Date Placeholder 6">
            <a:extLst>
              <a:ext uri="{FF2B5EF4-FFF2-40B4-BE49-F238E27FC236}">
                <a16:creationId xmlns:a16="http://schemas.microsoft.com/office/drawing/2014/main" id="{F7DB6551-AD66-CC84-132E-55F366D38E94}"/>
              </a:ext>
            </a:extLst>
          </p:cNvPr>
          <p:cNvSpPr>
            <a:spLocks noGrp="1"/>
          </p:cNvSpPr>
          <p:nvPr>
            <p:ph type="dt" sz="half" idx="10"/>
          </p:nvPr>
        </p:nvSpPr>
        <p:spPr/>
        <p:txBody>
          <a:bodyPr/>
          <a:lstStyle/>
          <a:p>
            <a:pPr lvl="0"/>
            <a:endParaRPr lang="en-GB"/>
          </a:p>
        </p:txBody>
      </p:sp>
      <p:sp>
        <p:nvSpPr>
          <p:cNvPr id="8" name="Footer Placeholder 7">
            <a:extLst>
              <a:ext uri="{FF2B5EF4-FFF2-40B4-BE49-F238E27FC236}">
                <a16:creationId xmlns:a16="http://schemas.microsoft.com/office/drawing/2014/main" id="{E9DD7A02-152E-06C0-254D-E1606D4EA0E9}"/>
              </a:ext>
            </a:extLst>
          </p:cNvPr>
          <p:cNvSpPr>
            <a:spLocks noGrp="1"/>
          </p:cNvSpPr>
          <p:nvPr>
            <p:ph type="ftr" sz="quarter" idx="11"/>
          </p:nvPr>
        </p:nvSpPr>
        <p:spPr/>
        <p:txBody>
          <a:bodyPr/>
          <a:lstStyle/>
          <a:p>
            <a:pPr lvl="0"/>
            <a:endParaRPr lang="en-GB"/>
          </a:p>
        </p:txBody>
      </p:sp>
      <p:sp>
        <p:nvSpPr>
          <p:cNvPr id="9" name="Slide Number Placeholder 8">
            <a:extLst>
              <a:ext uri="{FF2B5EF4-FFF2-40B4-BE49-F238E27FC236}">
                <a16:creationId xmlns:a16="http://schemas.microsoft.com/office/drawing/2014/main" id="{B21DB758-6B9D-7416-3F37-D6F91C4164AC}"/>
              </a:ext>
            </a:extLst>
          </p:cNvPr>
          <p:cNvSpPr>
            <a:spLocks noGrp="1"/>
          </p:cNvSpPr>
          <p:nvPr>
            <p:ph type="sldNum" sz="quarter" idx="12"/>
          </p:nvPr>
        </p:nvSpPr>
        <p:spPr/>
        <p:txBody>
          <a:bodyPr/>
          <a:lstStyle/>
          <a:p>
            <a:pPr lvl="0"/>
            <a:fld id="{1EAC05C0-5277-4972-ACCA-F5DD98C736AE}" type="slidenum">
              <a:t>‹#›</a:t>
            </a:fld>
            <a:endParaRPr lang="en-GB"/>
          </a:p>
        </p:txBody>
      </p:sp>
      <p:sp>
        <p:nvSpPr>
          <p:cNvPr id="10" name="Textplatzhalter 8">
            <a:extLst>
              <a:ext uri="{FF2B5EF4-FFF2-40B4-BE49-F238E27FC236}">
                <a16:creationId xmlns:a16="http://schemas.microsoft.com/office/drawing/2014/main" id="{58779CA9-595B-49F4-A6BC-329B2A63A4AC}"/>
              </a:ext>
            </a:extLst>
          </p:cNvPr>
          <p:cNvSpPr>
            <a:spLocks noGrp="1"/>
          </p:cNvSpPr>
          <p:nvPr>
            <p:ph type="body" sz="quarter" idx="13"/>
          </p:nvPr>
        </p:nvSpPr>
        <p:spPr>
          <a:xfrm>
            <a:off x="495618" y="1135393"/>
            <a:ext cx="4769410" cy="261400"/>
          </a:xfrm>
        </p:spPr>
        <p:txBody>
          <a:bodyPr lIns="0" bIns="0" anchor="b" anchorCtr="0"/>
          <a:lstStyle>
            <a:lvl1pPr marL="0" indent="0">
              <a:buNone/>
              <a:defRPr/>
            </a:lvl1pPr>
          </a:lstStyle>
          <a:p>
            <a:pPr lvl="0"/>
            <a:r>
              <a:rPr lang="de-DE"/>
              <a:t>Mastertextformat bearbeiten</a:t>
            </a:r>
          </a:p>
        </p:txBody>
      </p:sp>
      <p:sp>
        <p:nvSpPr>
          <p:cNvPr id="11" name="Bildplatzhalter 10">
            <a:extLst>
              <a:ext uri="{FF2B5EF4-FFF2-40B4-BE49-F238E27FC236}">
                <a16:creationId xmlns:a16="http://schemas.microsoft.com/office/drawing/2014/main" id="{B66DEC57-A7A6-4086-94CF-6D17C419997C}"/>
              </a:ext>
            </a:extLst>
          </p:cNvPr>
          <p:cNvSpPr>
            <a:spLocks noGrp="1" noChangeAspect="1"/>
          </p:cNvSpPr>
          <p:nvPr>
            <p:ph type="pic" sz="quarter" idx="14"/>
          </p:nvPr>
        </p:nvSpPr>
        <p:spPr>
          <a:xfrm>
            <a:off x="495618" y="1413327"/>
            <a:ext cx="4428000" cy="2062849"/>
          </a:xfrm>
        </p:spPr>
        <p:txBody>
          <a:bodyPr/>
          <a:lstStyle>
            <a:lvl1pPr marL="0" indent="0">
              <a:buNone/>
              <a:defRPr/>
            </a:lvl1pPr>
          </a:lstStyle>
          <a:p>
            <a:endParaRPr lang="en-US"/>
          </a:p>
        </p:txBody>
      </p:sp>
      <p:sp>
        <p:nvSpPr>
          <p:cNvPr id="12" name="Textplatzhalter 8">
            <a:extLst>
              <a:ext uri="{FF2B5EF4-FFF2-40B4-BE49-F238E27FC236}">
                <a16:creationId xmlns:a16="http://schemas.microsoft.com/office/drawing/2014/main" id="{16D8DD3C-A7D7-44AB-8CB9-3B51E2A7EDBB}"/>
              </a:ext>
            </a:extLst>
          </p:cNvPr>
          <p:cNvSpPr>
            <a:spLocks noGrp="1"/>
          </p:cNvSpPr>
          <p:nvPr>
            <p:ph type="body" sz="quarter" idx="15"/>
          </p:nvPr>
        </p:nvSpPr>
        <p:spPr>
          <a:xfrm>
            <a:off x="499248" y="3513879"/>
            <a:ext cx="4769410" cy="261400"/>
          </a:xfrm>
        </p:spPr>
        <p:txBody>
          <a:bodyPr lIns="0" bIns="0" anchor="b" anchorCtr="0"/>
          <a:lstStyle>
            <a:lvl1pPr marL="0" indent="0">
              <a:buNone/>
              <a:defRPr/>
            </a:lvl1pPr>
          </a:lstStyle>
          <a:p>
            <a:pPr lvl="0"/>
            <a:r>
              <a:rPr lang="de-DE"/>
              <a:t>Mastertextformat bearbeiten</a:t>
            </a:r>
          </a:p>
        </p:txBody>
      </p:sp>
      <p:sp>
        <p:nvSpPr>
          <p:cNvPr id="13" name="Bildplatzhalter 10">
            <a:extLst>
              <a:ext uri="{FF2B5EF4-FFF2-40B4-BE49-F238E27FC236}">
                <a16:creationId xmlns:a16="http://schemas.microsoft.com/office/drawing/2014/main" id="{E1E4B99D-6BC1-43CC-816B-C36BB6BB7414}"/>
              </a:ext>
            </a:extLst>
          </p:cNvPr>
          <p:cNvSpPr>
            <a:spLocks noGrp="1" noChangeAspect="1"/>
          </p:cNvSpPr>
          <p:nvPr>
            <p:ph type="pic" sz="quarter" idx="16"/>
          </p:nvPr>
        </p:nvSpPr>
        <p:spPr>
          <a:xfrm>
            <a:off x="499248" y="3779090"/>
            <a:ext cx="4428000" cy="2062849"/>
          </a:xfrm>
        </p:spPr>
        <p:txBody>
          <a:bodyPr/>
          <a:lstStyle>
            <a:lvl1pPr marL="0" indent="0">
              <a:buNone/>
              <a:defRPr/>
            </a:lvl1pPr>
          </a:lstStyle>
          <a:p>
            <a:endParaRPr lang="en-US"/>
          </a:p>
        </p:txBody>
      </p:sp>
      <p:sp>
        <p:nvSpPr>
          <p:cNvPr id="14" name="Textplatzhalter 8">
            <a:extLst>
              <a:ext uri="{FF2B5EF4-FFF2-40B4-BE49-F238E27FC236}">
                <a16:creationId xmlns:a16="http://schemas.microsoft.com/office/drawing/2014/main" id="{44DFED23-CC00-41A1-896B-D47242D71C6F}"/>
              </a:ext>
            </a:extLst>
          </p:cNvPr>
          <p:cNvSpPr>
            <a:spLocks noGrp="1"/>
          </p:cNvSpPr>
          <p:nvPr>
            <p:ph type="body" sz="quarter" idx="17"/>
          </p:nvPr>
        </p:nvSpPr>
        <p:spPr>
          <a:xfrm>
            <a:off x="6055791" y="1135566"/>
            <a:ext cx="4769410" cy="261400"/>
          </a:xfrm>
        </p:spPr>
        <p:txBody>
          <a:bodyPr lIns="0" bIns="0" anchor="b" anchorCtr="0"/>
          <a:lstStyle>
            <a:lvl1pPr marL="0" indent="0">
              <a:buNone/>
              <a:defRPr/>
            </a:lvl1pPr>
          </a:lstStyle>
          <a:p>
            <a:pPr lvl="0"/>
            <a:r>
              <a:rPr lang="de-DE"/>
              <a:t>Mastertextformat bearbeiten</a:t>
            </a:r>
          </a:p>
        </p:txBody>
      </p:sp>
      <p:sp>
        <p:nvSpPr>
          <p:cNvPr id="15" name="Bildplatzhalter 10">
            <a:extLst>
              <a:ext uri="{FF2B5EF4-FFF2-40B4-BE49-F238E27FC236}">
                <a16:creationId xmlns:a16="http://schemas.microsoft.com/office/drawing/2014/main" id="{66AA4418-7009-4085-8DEB-87326FE74631}"/>
              </a:ext>
            </a:extLst>
          </p:cNvPr>
          <p:cNvSpPr>
            <a:spLocks noGrp="1" noChangeAspect="1"/>
          </p:cNvSpPr>
          <p:nvPr>
            <p:ph type="pic" sz="quarter" idx="18"/>
          </p:nvPr>
        </p:nvSpPr>
        <p:spPr>
          <a:xfrm>
            <a:off x="6055791" y="1413500"/>
            <a:ext cx="4428000" cy="2062849"/>
          </a:xfrm>
        </p:spPr>
        <p:txBody>
          <a:bodyPr/>
          <a:lstStyle>
            <a:lvl1pPr marL="0" indent="0">
              <a:buNone/>
              <a:defRPr/>
            </a:lvl1pPr>
          </a:lstStyle>
          <a:p>
            <a:endParaRPr lang="en-US"/>
          </a:p>
        </p:txBody>
      </p:sp>
      <p:sp>
        <p:nvSpPr>
          <p:cNvPr id="16" name="Textplatzhalter 8">
            <a:extLst>
              <a:ext uri="{FF2B5EF4-FFF2-40B4-BE49-F238E27FC236}">
                <a16:creationId xmlns:a16="http://schemas.microsoft.com/office/drawing/2014/main" id="{2AC6389D-BD3A-460F-8798-0D605320A6E0}"/>
              </a:ext>
            </a:extLst>
          </p:cNvPr>
          <p:cNvSpPr>
            <a:spLocks noGrp="1"/>
          </p:cNvSpPr>
          <p:nvPr>
            <p:ph type="body" sz="quarter" idx="19"/>
          </p:nvPr>
        </p:nvSpPr>
        <p:spPr>
          <a:xfrm>
            <a:off x="6055791" y="3511534"/>
            <a:ext cx="4769410" cy="261400"/>
          </a:xfrm>
        </p:spPr>
        <p:txBody>
          <a:bodyPr lIns="0" bIns="0" anchor="b" anchorCtr="0"/>
          <a:lstStyle>
            <a:lvl1pPr marL="0" indent="0">
              <a:buNone/>
              <a:defRPr/>
            </a:lvl1pPr>
          </a:lstStyle>
          <a:p>
            <a:pPr lvl="0"/>
            <a:r>
              <a:rPr lang="de-DE"/>
              <a:t>Mastertextformat bearbeiten</a:t>
            </a:r>
          </a:p>
        </p:txBody>
      </p:sp>
      <p:sp>
        <p:nvSpPr>
          <p:cNvPr id="17" name="Bildplatzhalter 10">
            <a:extLst>
              <a:ext uri="{FF2B5EF4-FFF2-40B4-BE49-F238E27FC236}">
                <a16:creationId xmlns:a16="http://schemas.microsoft.com/office/drawing/2014/main" id="{62B7242D-9D05-48A0-80A4-BC7D66CC2187}"/>
              </a:ext>
            </a:extLst>
          </p:cNvPr>
          <p:cNvSpPr>
            <a:spLocks noGrp="1" noChangeAspect="1"/>
          </p:cNvSpPr>
          <p:nvPr>
            <p:ph type="pic" sz="quarter" idx="20"/>
          </p:nvPr>
        </p:nvSpPr>
        <p:spPr>
          <a:xfrm>
            <a:off x="6055791" y="3776745"/>
            <a:ext cx="4428000" cy="2062849"/>
          </a:xfrm>
        </p:spPr>
        <p:txBody>
          <a:bodyPr/>
          <a:lstStyle>
            <a:lvl1pPr marL="0" indent="0">
              <a:buNone/>
              <a:defRPr/>
            </a:lvl1pPr>
          </a:lstStyle>
          <a:p>
            <a:endParaRPr lang="en-US"/>
          </a:p>
        </p:txBody>
      </p:sp>
    </p:spTree>
    <p:extLst>
      <p:ext uri="{BB962C8B-B14F-4D97-AF65-F5344CB8AC3E}">
        <p14:creationId xmlns:p14="http://schemas.microsoft.com/office/powerpoint/2010/main" val="348352934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Le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E10681C-83B8-4223-A620-408004B1CA81}"/>
              </a:ext>
            </a:extLst>
          </p:cNvPr>
          <p:cNvSpPr>
            <a:spLocks noGrp="1"/>
          </p:cNvSpPr>
          <p:nvPr>
            <p:ph type="title"/>
          </p:nvPr>
        </p:nvSpPr>
        <p:spPr>
          <a:xfrm>
            <a:off x="490538" y="231776"/>
            <a:ext cx="10082212" cy="720724"/>
          </a:xfrm>
        </p:spPr>
        <p:txBody>
          <a:bodyPr/>
          <a:lstStyle/>
          <a:p>
            <a:r>
              <a:rPr lang="en-US"/>
              <a:t>Click to edit Master title style</a:t>
            </a:r>
          </a:p>
        </p:txBody>
      </p:sp>
      <p:sp>
        <p:nvSpPr>
          <p:cNvPr id="5" name="Date Placeholder 6">
            <a:extLst>
              <a:ext uri="{FF2B5EF4-FFF2-40B4-BE49-F238E27FC236}">
                <a16:creationId xmlns:a16="http://schemas.microsoft.com/office/drawing/2014/main" id="{17B69E67-EC49-49C9-8A86-FCC806717A0A}"/>
              </a:ext>
            </a:extLst>
          </p:cNvPr>
          <p:cNvSpPr>
            <a:spLocks noGrp="1"/>
          </p:cNvSpPr>
          <p:nvPr>
            <p:ph type="dt" sz="half" idx="10"/>
          </p:nvPr>
        </p:nvSpPr>
        <p:spPr>
          <a:xfrm>
            <a:off x="490538" y="5920213"/>
            <a:ext cx="2639662" cy="251130"/>
          </a:xfrm>
        </p:spPr>
        <p:txBody>
          <a:bodyPr/>
          <a:lstStyle/>
          <a:p>
            <a:pPr lvl="0"/>
            <a:endParaRPr lang="en-GB"/>
          </a:p>
        </p:txBody>
      </p:sp>
      <p:sp>
        <p:nvSpPr>
          <p:cNvPr id="6" name="Footer Placeholder 7">
            <a:extLst>
              <a:ext uri="{FF2B5EF4-FFF2-40B4-BE49-F238E27FC236}">
                <a16:creationId xmlns:a16="http://schemas.microsoft.com/office/drawing/2014/main" id="{47A98DBB-C0FF-4F22-80AD-A0FDD70D5FE0}"/>
              </a:ext>
            </a:extLst>
          </p:cNvPr>
          <p:cNvSpPr>
            <a:spLocks noGrp="1"/>
          </p:cNvSpPr>
          <p:nvPr>
            <p:ph type="ftr" sz="quarter" idx="11"/>
          </p:nvPr>
        </p:nvSpPr>
        <p:spPr>
          <a:xfrm>
            <a:off x="3783243" y="5920213"/>
            <a:ext cx="3506399" cy="251130"/>
          </a:xfrm>
        </p:spPr>
        <p:txBody>
          <a:bodyPr/>
          <a:lstStyle/>
          <a:p>
            <a:pPr lvl="0"/>
            <a:endParaRPr lang="en-GB"/>
          </a:p>
        </p:txBody>
      </p:sp>
      <p:sp>
        <p:nvSpPr>
          <p:cNvPr id="7" name="Slide Number Placeholder 8">
            <a:extLst>
              <a:ext uri="{FF2B5EF4-FFF2-40B4-BE49-F238E27FC236}">
                <a16:creationId xmlns:a16="http://schemas.microsoft.com/office/drawing/2014/main" id="{455A1E03-CA2B-4582-830B-FDBE33BA02B8}"/>
              </a:ext>
            </a:extLst>
          </p:cNvPr>
          <p:cNvSpPr>
            <a:spLocks noGrp="1"/>
          </p:cNvSpPr>
          <p:nvPr>
            <p:ph type="sldNum" sz="quarter" idx="12"/>
          </p:nvPr>
        </p:nvSpPr>
        <p:spPr>
          <a:xfrm>
            <a:off x="7931880" y="5920213"/>
            <a:ext cx="2640870" cy="251130"/>
          </a:xfrm>
        </p:spPr>
        <p:txBody>
          <a:bodyPr/>
          <a:lstStyle/>
          <a:p>
            <a:pPr lvl="0"/>
            <a:fld id="{1EAC05C0-5277-4972-ACCA-F5DD98C736AE}" type="slidenum">
              <a:t>‹#›</a:t>
            </a:fld>
            <a:endParaRPr lang="en-GB"/>
          </a:p>
        </p:txBody>
      </p:sp>
    </p:spTree>
    <p:extLst>
      <p:ext uri="{BB962C8B-B14F-4D97-AF65-F5344CB8AC3E}">
        <p14:creationId xmlns:p14="http://schemas.microsoft.com/office/powerpoint/2010/main" val="2092867627"/>
      </p:ext>
    </p:extLst>
  </p:cSld>
  <p:clrMapOvr>
    <a:masterClrMapping/>
  </p:clrMapOvr>
  <p:extLst>
    <p:ext uri="{DCECCB84-F9BA-43D5-87BE-67443E8EF086}">
      <p15:sldGuideLst xmlns:p15="http://schemas.microsoft.com/office/powerpoint/2012/main">
        <p15:guide id="2" orient="horz" pos="89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8BA6A-ADFD-5746-AD56-0607602AB94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34ADA6-E5E4-D76C-85B8-4B14B5ECE08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302E8CB-BBA9-E4E7-E7AD-C68512A6F2BD}"/>
              </a:ext>
            </a:extLst>
          </p:cNvPr>
          <p:cNvSpPr>
            <a:spLocks noGrp="1"/>
          </p:cNvSpPr>
          <p:nvPr>
            <p:ph type="dt" sz="half" idx="10"/>
          </p:nvPr>
        </p:nvSpPr>
        <p:spPr/>
        <p:txBody>
          <a:bodyPr/>
          <a:lstStyle/>
          <a:p>
            <a:pPr lvl="0"/>
            <a:endParaRPr lang="en-GB"/>
          </a:p>
        </p:txBody>
      </p:sp>
      <p:sp>
        <p:nvSpPr>
          <p:cNvPr id="5" name="Footer Placeholder 4">
            <a:extLst>
              <a:ext uri="{FF2B5EF4-FFF2-40B4-BE49-F238E27FC236}">
                <a16:creationId xmlns:a16="http://schemas.microsoft.com/office/drawing/2014/main" id="{C9E9F313-D734-5D15-4BB3-BE35DFD15C4E}"/>
              </a:ext>
            </a:extLst>
          </p:cNvPr>
          <p:cNvSpPr>
            <a:spLocks noGrp="1"/>
          </p:cNvSpPr>
          <p:nvPr>
            <p:ph type="ftr" sz="quarter" idx="11"/>
          </p:nvPr>
        </p:nvSpPr>
        <p:spPr/>
        <p:txBody>
          <a:bodyPr/>
          <a:lstStyle/>
          <a:p>
            <a:pPr lvl="0"/>
            <a:endParaRPr lang="en-GB"/>
          </a:p>
        </p:txBody>
      </p:sp>
      <p:sp>
        <p:nvSpPr>
          <p:cNvPr id="6" name="Slide Number Placeholder 5">
            <a:extLst>
              <a:ext uri="{FF2B5EF4-FFF2-40B4-BE49-F238E27FC236}">
                <a16:creationId xmlns:a16="http://schemas.microsoft.com/office/drawing/2014/main" id="{3419AA86-8E39-E594-A7D5-14CF166D2377}"/>
              </a:ext>
            </a:extLst>
          </p:cNvPr>
          <p:cNvSpPr>
            <a:spLocks noGrp="1"/>
          </p:cNvSpPr>
          <p:nvPr>
            <p:ph type="sldNum" sz="quarter" idx="12"/>
          </p:nvPr>
        </p:nvSpPr>
        <p:spPr/>
        <p:txBody>
          <a:bodyPr/>
          <a:lstStyle/>
          <a:p>
            <a:pPr lvl="0"/>
            <a:fld id="{E18FEB96-846B-47EB-BD7E-A0EE8E908D28}" type="slidenum">
              <a:t>‹#›</a:t>
            </a:fld>
            <a:endParaRPr lang="en-GB"/>
          </a:p>
        </p:txBody>
      </p:sp>
    </p:spTree>
    <p:extLst>
      <p:ext uri="{BB962C8B-B14F-4D97-AF65-F5344CB8AC3E}">
        <p14:creationId xmlns:p14="http://schemas.microsoft.com/office/powerpoint/2010/main" val="42759600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E6C4EDD-2D4E-9BAE-3CB5-274647AB7CE7}"/>
              </a:ext>
            </a:extLst>
          </p:cNvPr>
          <p:cNvSpPr>
            <a:spLocks noGrp="1"/>
          </p:cNvSpPr>
          <p:nvPr>
            <p:ph type="dt" sz="half" idx="10"/>
          </p:nvPr>
        </p:nvSpPr>
        <p:spPr/>
        <p:txBody>
          <a:bodyPr/>
          <a:lstStyle/>
          <a:p>
            <a:pPr lvl="0"/>
            <a:endParaRPr lang="en-GB"/>
          </a:p>
        </p:txBody>
      </p:sp>
      <p:sp>
        <p:nvSpPr>
          <p:cNvPr id="3" name="Footer Placeholder 2">
            <a:extLst>
              <a:ext uri="{FF2B5EF4-FFF2-40B4-BE49-F238E27FC236}">
                <a16:creationId xmlns:a16="http://schemas.microsoft.com/office/drawing/2014/main" id="{F9D79380-F896-1CD9-B009-E9E58E724695}"/>
              </a:ext>
            </a:extLst>
          </p:cNvPr>
          <p:cNvSpPr>
            <a:spLocks noGrp="1"/>
          </p:cNvSpPr>
          <p:nvPr>
            <p:ph type="ftr" sz="quarter" idx="11"/>
          </p:nvPr>
        </p:nvSpPr>
        <p:spPr/>
        <p:txBody>
          <a:bodyPr/>
          <a:lstStyle/>
          <a:p>
            <a:pPr lvl="0"/>
            <a:endParaRPr lang="en-GB"/>
          </a:p>
        </p:txBody>
      </p:sp>
      <p:sp>
        <p:nvSpPr>
          <p:cNvPr id="4" name="Slide Number Placeholder 3">
            <a:extLst>
              <a:ext uri="{FF2B5EF4-FFF2-40B4-BE49-F238E27FC236}">
                <a16:creationId xmlns:a16="http://schemas.microsoft.com/office/drawing/2014/main" id="{F0E5768C-7590-5724-EE0A-C363089B183B}"/>
              </a:ext>
            </a:extLst>
          </p:cNvPr>
          <p:cNvSpPr>
            <a:spLocks noGrp="1"/>
          </p:cNvSpPr>
          <p:nvPr>
            <p:ph type="sldNum" sz="quarter" idx="12"/>
          </p:nvPr>
        </p:nvSpPr>
        <p:spPr/>
        <p:txBody>
          <a:bodyPr/>
          <a:lstStyle/>
          <a:p>
            <a:pPr lvl="0"/>
            <a:fld id="{FF672866-6824-4397-AA60-F116069CE422}" type="slidenum">
              <a:t>‹#›</a:t>
            </a:fld>
            <a:endParaRPr lang="en-GB"/>
          </a:p>
        </p:txBody>
      </p:sp>
    </p:spTree>
    <p:extLst>
      <p:ext uri="{BB962C8B-B14F-4D97-AF65-F5344CB8AC3E}">
        <p14:creationId xmlns:p14="http://schemas.microsoft.com/office/powerpoint/2010/main" val="20225255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4537631-9594-BC3E-4586-4D50BEF0CFA7}"/>
              </a:ext>
            </a:extLst>
          </p:cNvPr>
          <p:cNvSpPr>
            <a:spLocks noGrp="1"/>
          </p:cNvSpPr>
          <p:nvPr>
            <p:ph idx="1"/>
          </p:nvPr>
        </p:nvSpPr>
        <p:spPr>
          <a:xfrm>
            <a:off x="4703765" y="1131888"/>
            <a:ext cx="5868987" cy="4608512"/>
          </a:xfrm>
        </p:spPr>
        <p:txBody>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C4B0D6B-5BC9-8C02-5474-FFED5F0C7702}"/>
              </a:ext>
            </a:extLst>
          </p:cNvPr>
          <p:cNvSpPr>
            <a:spLocks noGrp="1"/>
          </p:cNvSpPr>
          <p:nvPr>
            <p:ph type="body" sz="half" idx="2"/>
          </p:nvPr>
        </p:nvSpPr>
        <p:spPr>
          <a:xfrm>
            <a:off x="490538" y="1131894"/>
            <a:ext cx="4112724" cy="4608511"/>
          </a:xfrm>
        </p:spPr>
        <p:txBody>
          <a:bodyPr/>
          <a:lstStyle>
            <a:lvl1pPr marL="0" indent="0">
              <a:buNone/>
              <a:defRPr sz="1600"/>
            </a:lvl1pPr>
            <a:lvl2pPr marL="457200" indent="0">
              <a:buNone/>
              <a:defRPr sz="1400"/>
            </a:lvl2pPr>
            <a:lvl3pPr marL="914400" indent="0">
              <a:buNone/>
              <a:defRPr sz="1200"/>
            </a:lvl3pPr>
            <a:lvl4pPr marL="1371598"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598"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906F381-7133-CF0C-A649-186F358A88AF}"/>
              </a:ext>
            </a:extLst>
          </p:cNvPr>
          <p:cNvSpPr>
            <a:spLocks noGrp="1"/>
          </p:cNvSpPr>
          <p:nvPr>
            <p:ph type="dt" sz="half" idx="10"/>
          </p:nvPr>
        </p:nvSpPr>
        <p:spPr/>
        <p:txBody>
          <a:bodyPr/>
          <a:lstStyle/>
          <a:p>
            <a:pPr lvl="0"/>
            <a:endParaRPr lang="en-GB"/>
          </a:p>
        </p:txBody>
      </p:sp>
      <p:sp>
        <p:nvSpPr>
          <p:cNvPr id="6" name="Footer Placeholder 5">
            <a:extLst>
              <a:ext uri="{FF2B5EF4-FFF2-40B4-BE49-F238E27FC236}">
                <a16:creationId xmlns:a16="http://schemas.microsoft.com/office/drawing/2014/main" id="{9CB45C93-5B74-6566-2CAE-7BA02AAC9FA4}"/>
              </a:ext>
            </a:extLst>
          </p:cNvPr>
          <p:cNvSpPr>
            <a:spLocks noGrp="1"/>
          </p:cNvSpPr>
          <p:nvPr>
            <p:ph type="ftr" sz="quarter" idx="11"/>
          </p:nvPr>
        </p:nvSpPr>
        <p:spPr/>
        <p:txBody>
          <a:bodyPr/>
          <a:lstStyle/>
          <a:p>
            <a:pPr lvl="0"/>
            <a:endParaRPr lang="en-GB"/>
          </a:p>
        </p:txBody>
      </p:sp>
      <p:sp>
        <p:nvSpPr>
          <p:cNvPr id="7" name="Slide Number Placeholder 6">
            <a:extLst>
              <a:ext uri="{FF2B5EF4-FFF2-40B4-BE49-F238E27FC236}">
                <a16:creationId xmlns:a16="http://schemas.microsoft.com/office/drawing/2014/main" id="{C9FA4CEF-C263-AD0B-5787-42C6260ADEF4}"/>
              </a:ext>
            </a:extLst>
          </p:cNvPr>
          <p:cNvSpPr>
            <a:spLocks noGrp="1"/>
          </p:cNvSpPr>
          <p:nvPr>
            <p:ph type="sldNum" sz="quarter" idx="12"/>
          </p:nvPr>
        </p:nvSpPr>
        <p:spPr/>
        <p:txBody>
          <a:bodyPr/>
          <a:lstStyle/>
          <a:p>
            <a:pPr lvl="0"/>
            <a:fld id="{615B0671-F74C-4507-95AA-89B4024F699B}" type="slidenum">
              <a:t>‹#›</a:t>
            </a:fld>
            <a:endParaRPr lang="en-GB"/>
          </a:p>
        </p:txBody>
      </p:sp>
      <p:sp>
        <p:nvSpPr>
          <p:cNvPr id="8" name="Title 1">
            <a:extLst>
              <a:ext uri="{FF2B5EF4-FFF2-40B4-BE49-F238E27FC236}">
                <a16:creationId xmlns:a16="http://schemas.microsoft.com/office/drawing/2014/main" id="{89C794A3-01C1-4FA9-A63C-AE0BCEAF4791}"/>
              </a:ext>
            </a:extLst>
          </p:cNvPr>
          <p:cNvSpPr>
            <a:spLocks noGrp="1"/>
          </p:cNvSpPr>
          <p:nvPr>
            <p:ph type="title"/>
          </p:nvPr>
        </p:nvSpPr>
        <p:spPr>
          <a:xfrm>
            <a:off x="490538" y="231776"/>
            <a:ext cx="10082212" cy="720724"/>
          </a:xfrm>
        </p:spPr>
        <p:txBody>
          <a:bodyPr/>
          <a:lstStyle/>
          <a:p>
            <a:r>
              <a:rPr lang="en-US"/>
              <a:t>Click to edit Master title style</a:t>
            </a:r>
          </a:p>
        </p:txBody>
      </p:sp>
    </p:spTree>
    <p:extLst>
      <p:ext uri="{BB962C8B-B14F-4D97-AF65-F5344CB8AC3E}">
        <p14:creationId xmlns:p14="http://schemas.microsoft.com/office/powerpoint/2010/main" val="31789423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C7911-9488-784A-9372-94033F599EC4}"/>
              </a:ext>
            </a:extLst>
          </p:cNvPr>
          <p:cNvSpPr>
            <a:spLocks noGrp="1"/>
          </p:cNvSpPr>
          <p:nvPr>
            <p:ph type="title" hasCustomPrompt="1"/>
          </p:nvPr>
        </p:nvSpPr>
        <p:spPr>
          <a:xfrm>
            <a:off x="491273" y="231776"/>
            <a:ext cx="10081479" cy="720299"/>
          </a:xfrm>
        </p:spPr>
        <p:txBody>
          <a:bodyPr anchor="t"/>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11440CE-A593-A41B-8DA9-5AAA00FFAC91}"/>
              </a:ext>
            </a:extLst>
          </p:cNvPr>
          <p:cNvSpPr>
            <a:spLocks noGrp="1"/>
          </p:cNvSpPr>
          <p:nvPr>
            <p:ph type="pic" idx="1"/>
          </p:nvPr>
        </p:nvSpPr>
        <p:spPr>
          <a:xfrm>
            <a:off x="4972050" y="1131888"/>
            <a:ext cx="5600700" cy="4608512"/>
          </a:xfrm>
        </p:spPr>
        <p:txBody>
          <a:bodyPr/>
          <a:lstStyle>
            <a:lvl1pPr marL="0" indent="0">
              <a:buNone/>
              <a:defRPr sz="3200"/>
            </a:lvl1pPr>
            <a:lvl2pPr marL="457200" indent="0">
              <a:buNone/>
              <a:defRPr sz="2800"/>
            </a:lvl2pPr>
            <a:lvl3pPr marL="914400" indent="0">
              <a:buNone/>
              <a:defRPr sz="2400"/>
            </a:lvl3pPr>
            <a:lvl4pPr marL="1371598"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598" indent="0">
              <a:buNone/>
              <a:defRPr sz="2000"/>
            </a:lvl9pPr>
          </a:lstStyle>
          <a:p>
            <a:endParaRPr lang="en-US"/>
          </a:p>
        </p:txBody>
      </p:sp>
      <p:sp>
        <p:nvSpPr>
          <p:cNvPr id="4" name="Text Placeholder 3">
            <a:extLst>
              <a:ext uri="{FF2B5EF4-FFF2-40B4-BE49-F238E27FC236}">
                <a16:creationId xmlns:a16="http://schemas.microsoft.com/office/drawing/2014/main" id="{EE7D49E0-69C0-EAB9-5051-6C06F2EF315D}"/>
              </a:ext>
            </a:extLst>
          </p:cNvPr>
          <p:cNvSpPr>
            <a:spLocks noGrp="1"/>
          </p:cNvSpPr>
          <p:nvPr>
            <p:ph type="body" sz="half" idx="2"/>
          </p:nvPr>
        </p:nvSpPr>
        <p:spPr>
          <a:xfrm>
            <a:off x="491271" y="1131888"/>
            <a:ext cx="4041652" cy="4608513"/>
          </a:xfrm>
        </p:spPr>
        <p:txBody>
          <a:bodyPr/>
          <a:lstStyle>
            <a:lvl1pPr marL="0" indent="0">
              <a:buNone/>
              <a:defRPr sz="1600"/>
            </a:lvl1pPr>
            <a:lvl2pPr marL="457200" indent="0">
              <a:buNone/>
              <a:defRPr sz="1400"/>
            </a:lvl2pPr>
            <a:lvl3pPr marL="914400" indent="0">
              <a:buNone/>
              <a:defRPr sz="1200"/>
            </a:lvl3pPr>
            <a:lvl4pPr marL="1371598"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598"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77F7933-42B4-5636-6F3F-DB80E5894EE7}"/>
              </a:ext>
            </a:extLst>
          </p:cNvPr>
          <p:cNvSpPr>
            <a:spLocks noGrp="1"/>
          </p:cNvSpPr>
          <p:nvPr>
            <p:ph type="dt" sz="half" idx="10"/>
          </p:nvPr>
        </p:nvSpPr>
        <p:spPr/>
        <p:txBody>
          <a:bodyPr/>
          <a:lstStyle/>
          <a:p>
            <a:pPr lvl="0"/>
            <a:endParaRPr lang="en-GB"/>
          </a:p>
        </p:txBody>
      </p:sp>
      <p:sp>
        <p:nvSpPr>
          <p:cNvPr id="6" name="Footer Placeholder 5">
            <a:extLst>
              <a:ext uri="{FF2B5EF4-FFF2-40B4-BE49-F238E27FC236}">
                <a16:creationId xmlns:a16="http://schemas.microsoft.com/office/drawing/2014/main" id="{54D07A04-B5C1-75CA-5137-254B207A41AE}"/>
              </a:ext>
            </a:extLst>
          </p:cNvPr>
          <p:cNvSpPr>
            <a:spLocks noGrp="1"/>
          </p:cNvSpPr>
          <p:nvPr>
            <p:ph type="ftr" sz="quarter" idx="11"/>
          </p:nvPr>
        </p:nvSpPr>
        <p:spPr/>
        <p:txBody>
          <a:bodyPr/>
          <a:lstStyle/>
          <a:p>
            <a:pPr lvl="0"/>
            <a:endParaRPr lang="en-GB"/>
          </a:p>
        </p:txBody>
      </p:sp>
      <p:sp>
        <p:nvSpPr>
          <p:cNvPr id="7" name="Slide Number Placeholder 6">
            <a:extLst>
              <a:ext uri="{FF2B5EF4-FFF2-40B4-BE49-F238E27FC236}">
                <a16:creationId xmlns:a16="http://schemas.microsoft.com/office/drawing/2014/main" id="{980D6F27-BCF0-A4D1-6727-27F58FC8A591}"/>
              </a:ext>
            </a:extLst>
          </p:cNvPr>
          <p:cNvSpPr>
            <a:spLocks noGrp="1"/>
          </p:cNvSpPr>
          <p:nvPr>
            <p:ph type="sldNum" sz="quarter" idx="12"/>
          </p:nvPr>
        </p:nvSpPr>
        <p:spPr/>
        <p:txBody>
          <a:bodyPr/>
          <a:lstStyle/>
          <a:p>
            <a:pPr lvl="0"/>
            <a:fld id="{9B6032CC-18C3-467E-BB3C-95E73A8BDE1E}" type="slidenum">
              <a:t>‹#›</a:t>
            </a:fld>
            <a:endParaRPr lang="en-GB"/>
          </a:p>
        </p:txBody>
      </p:sp>
    </p:spTree>
    <p:extLst>
      <p:ext uri="{BB962C8B-B14F-4D97-AF65-F5344CB8AC3E}">
        <p14:creationId xmlns:p14="http://schemas.microsoft.com/office/powerpoint/2010/main" val="5276141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11754E-6658-6891-2E5D-2EC5BEAB896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DE14D82-00BE-45D7-A66C-BF10CBE61E3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706712-9D61-8489-283E-E7C77B8E4CFF}"/>
              </a:ext>
            </a:extLst>
          </p:cNvPr>
          <p:cNvSpPr>
            <a:spLocks noGrp="1"/>
          </p:cNvSpPr>
          <p:nvPr>
            <p:ph type="dt" sz="half" idx="10"/>
          </p:nvPr>
        </p:nvSpPr>
        <p:spPr/>
        <p:txBody>
          <a:bodyPr/>
          <a:lstStyle/>
          <a:p>
            <a:pPr lvl="0"/>
            <a:endParaRPr lang="en-GB"/>
          </a:p>
        </p:txBody>
      </p:sp>
      <p:sp>
        <p:nvSpPr>
          <p:cNvPr id="5" name="Footer Placeholder 4">
            <a:extLst>
              <a:ext uri="{FF2B5EF4-FFF2-40B4-BE49-F238E27FC236}">
                <a16:creationId xmlns:a16="http://schemas.microsoft.com/office/drawing/2014/main" id="{EC13127A-054C-CF16-C3B1-0E6467FD7C45}"/>
              </a:ext>
            </a:extLst>
          </p:cNvPr>
          <p:cNvSpPr>
            <a:spLocks noGrp="1"/>
          </p:cNvSpPr>
          <p:nvPr>
            <p:ph type="ftr" sz="quarter" idx="11"/>
          </p:nvPr>
        </p:nvSpPr>
        <p:spPr/>
        <p:txBody>
          <a:bodyPr/>
          <a:lstStyle/>
          <a:p>
            <a:pPr lvl="0"/>
            <a:endParaRPr lang="en-GB"/>
          </a:p>
        </p:txBody>
      </p:sp>
      <p:sp>
        <p:nvSpPr>
          <p:cNvPr id="6" name="Slide Number Placeholder 5">
            <a:extLst>
              <a:ext uri="{FF2B5EF4-FFF2-40B4-BE49-F238E27FC236}">
                <a16:creationId xmlns:a16="http://schemas.microsoft.com/office/drawing/2014/main" id="{7F69EDA4-CCA1-667F-9533-418CAFB633D4}"/>
              </a:ext>
            </a:extLst>
          </p:cNvPr>
          <p:cNvSpPr>
            <a:spLocks noGrp="1"/>
          </p:cNvSpPr>
          <p:nvPr>
            <p:ph type="sldNum" sz="quarter" idx="12"/>
          </p:nvPr>
        </p:nvSpPr>
        <p:spPr/>
        <p:txBody>
          <a:bodyPr/>
          <a:lstStyle/>
          <a:p>
            <a:pPr lvl="0"/>
            <a:fld id="{F6DAEF18-F222-477F-899F-A56BB46B39AE}" type="slidenum">
              <a:t>‹#›</a:t>
            </a:fld>
            <a:endParaRPr lang="en-GB"/>
          </a:p>
        </p:txBody>
      </p:sp>
    </p:spTree>
    <p:extLst>
      <p:ext uri="{BB962C8B-B14F-4D97-AF65-F5344CB8AC3E}">
        <p14:creationId xmlns:p14="http://schemas.microsoft.com/office/powerpoint/2010/main" val="12482742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A8DF5F-D802-7186-3511-E782A44A3052}"/>
              </a:ext>
            </a:extLst>
          </p:cNvPr>
          <p:cNvSpPr>
            <a:spLocks noGrp="1"/>
          </p:cNvSpPr>
          <p:nvPr>
            <p:ph type="title" orient="vert"/>
          </p:nvPr>
        </p:nvSpPr>
        <p:spPr>
          <a:xfrm>
            <a:off x="8020050" y="247656"/>
            <a:ext cx="2489200" cy="4818063"/>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EAA0EB6-988E-44D6-5247-117AA7FE90CF}"/>
              </a:ext>
            </a:extLst>
          </p:cNvPr>
          <p:cNvSpPr>
            <a:spLocks noGrp="1"/>
          </p:cNvSpPr>
          <p:nvPr>
            <p:ph type="body" orient="vert" idx="1"/>
          </p:nvPr>
        </p:nvSpPr>
        <p:spPr>
          <a:xfrm>
            <a:off x="552453" y="247656"/>
            <a:ext cx="7315200" cy="48180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A296BE-E707-C3BE-26B1-B60B687F6C07}"/>
              </a:ext>
            </a:extLst>
          </p:cNvPr>
          <p:cNvSpPr>
            <a:spLocks noGrp="1"/>
          </p:cNvSpPr>
          <p:nvPr>
            <p:ph type="dt" sz="half" idx="10"/>
          </p:nvPr>
        </p:nvSpPr>
        <p:spPr/>
        <p:txBody>
          <a:bodyPr/>
          <a:lstStyle/>
          <a:p>
            <a:pPr lvl="0"/>
            <a:endParaRPr lang="en-GB"/>
          </a:p>
        </p:txBody>
      </p:sp>
      <p:sp>
        <p:nvSpPr>
          <p:cNvPr id="5" name="Footer Placeholder 4">
            <a:extLst>
              <a:ext uri="{FF2B5EF4-FFF2-40B4-BE49-F238E27FC236}">
                <a16:creationId xmlns:a16="http://schemas.microsoft.com/office/drawing/2014/main" id="{DDEC2718-84C5-7E30-1594-EB921619A770}"/>
              </a:ext>
            </a:extLst>
          </p:cNvPr>
          <p:cNvSpPr>
            <a:spLocks noGrp="1"/>
          </p:cNvSpPr>
          <p:nvPr>
            <p:ph type="ftr" sz="quarter" idx="11"/>
          </p:nvPr>
        </p:nvSpPr>
        <p:spPr/>
        <p:txBody>
          <a:bodyPr/>
          <a:lstStyle/>
          <a:p>
            <a:pPr lvl="0"/>
            <a:endParaRPr lang="en-GB"/>
          </a:p>
        </p:txBody>
      </p:sp>
      <p:sp>
        <p:nvSpPr>
          <p:cNvPr id="6" name="Slide Number Placeholder 5">
            <a:extLst>
              <a:ext uri="{FF2B5EF4-FFF2-40B4-BE49-F238E27FC236}">
                <a16:creationId xmlns:a16="http://schemas.microsoft.com/office/drawing/2014/main" id="{1551AE84-2CEE-E014-343E-7A7C118A198F}"/>
              </a:ext>
            </a:extLst>
          </p:cNvPr>
          <p:cNvSpPr>
            <a:spLocks noGrp="1"/>
          </p:cNvSpPr>
          <p:nvPr>
            <p:ph type="sldNum" sz="quarter" idx="12"/>
          </p:nvPr>
        </p:nvSpPr>
        <p:spPr/>
        <p:txBody>
          <a:bodyPr/>
          <a:lstStyle/>
          <a:p>
            <a:pPr lvl="0"/>
            <a:fld id="{278E4099-83BB-4761-BE46-B83AEFE88DB5}" type="slidenum">
              <a:t>‹#›</a:t>
            </a:fld>
            <a:endParaRPr lang="en-GB"/>
          </a:p>
        </p:txBody>
      </p:sp>
    </p:spTree>
    <p:extLst>
      <p:ext uri="{BB962C8B-B14F-4D97-AF65-F5344CB8AC3E}">
        <p14:creationId xmlns:p14="http://schemas.microsoft.com/office/powerpoint/2010/main" val="29373232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Enter slide title</a:t>
            </a:r>
            <a:br>
              <a:rPr lang="en-US"/>
            </a:br>
            <a:r>
              <a:rPr lang="en-US"/>
              <a:t>(27 pt, bold, max. 2 lines)</a:t>
            </a:r>
          </a:p>
        </p:txBody>
      </p:sp>
      <p:sp>
        <p:nvSpPr>
          <p:cNvPr id="3" name="Content Placeholder 1"/>
          <p:cNvSpPr>
            <a:spLocks noGrp="1"/>
          </p:cNvSpPr>
          <p:nvPr>
            <p:ph idx="1" hasCustomPrompt="1"/>
          </p:nvPr>
        </p:nvSpPr>
        <p:spPr/>
        <p:txBody>
          <a:bodyPr/>
          <a:lstStyle>
            <a:lvl1pPr>
              <a:defRPr/>
            </a:lvl1pPr>
          </a:lstStyle>
          <a:p>
            <a:pPr lvl="0"/>
            <a:r>
              <a:rPr lang="en-US"/>
              <a:t>Enter text (15pt) or define content via symbol in the middle. (Pictures: Please follow the shortcut in your picture folder. Use only licensed pictur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1"/>
          <p:cNvSpPr>
            <a:spLocks noGrp="1"/>
          </p:cNvSpPr>
          <p:nvPr>
            <p:ph type="sldNum" sz="quarter" idx="12"/>
          </p:nvPr>
        </p:nvSpPr>
        <p:spPr/>
        <p:txBody>
          <a:bodyPr/>
          <a:lstStyle/>
          <a:p>
            <a:fld id="{57CB76AC-E5DF-427C-ABDC-2F4FBD8E4B69}" type="slidenum">
              <a:rPr lang="en-US" smtClean="0"/>
              <a:t>‹#›</a:t>
            </a:fld>
            <a:endParaRPr lang="en-US"/>
          </a:p>
        </p:txBody>
      </p:sp>
      <p:sp>
        <p:nvSpPr>
          <p:cNvPr id="7" name="Chapter 1">
            <a:extLst>
              <a:ext uri="{FF2B5EF4-FFF2-40B4-BE49-F238E27FC236}">
                <a16:creationId xmlns:a16="http://schemas.microsoft.com/office/drawing/2014/main" id="{37B6B4EF-200C-4243-89CB-ACD9A86DA009}"/>
              </a:ext>
            </a:extLst>
          </p:cNvPr>
          <p:cNvSpPr>
            <a:spLocks noGrp="1"/>
          </p:cNvSpPr>
          <p:nvPr>
            <p:ph type="body" sz="quarter" idx="9" hasCustomPrompt="1"/>
          </p:nvPr>
        </p:nvSpPr>
        <p:spPr>
          <a:xfrm>
            <a:off x="435563" y="43567"/>
            <a:ext cx="3832950" cy="248330"/>
          </a:xfrm>
        </p:spPr>
        <p:txBody>
          <a:bodyPr wrap="none">
            <a:noAutofit/>
          </a:bodyPr>
          <a:lstStyle>
            <a:lvl1pPr marL="0" indent="0">
              <a:buNone/>
              <a:defRPr sz="1694" spc="97" baseline="0">
                <a:solidFill>
                  <a:schemeClr val="tx2"/>
                </a:solidFill>
                <a:latin typeface="+mj-lt"/>
              </a:defRPr>
            </a:lvl1pPr>
          </a:lstStyle>
          <a:p>
            <a:r>
              <a:rPr lang="en-US" sz="1694"/>
              <a:t>Text 14 pt, e.g. chapter no. &amp; chapter</a:t>
            </a:r>
          </a:p>
        </p:txBody>
      </p:sp>
      <p:sp>
        <p:nvSpPr>
          <p:cNvPr id="8" name="Date Placeholder 3">
            <a:extLst>
              <a:ext uri="{FF2B5EF4-FFF2-40B4-BE49-F238E27FC236}">
                <a16:creationId xmlns:a16="http://schemas.microsoft.com/office/drawing/2014/main" id="{D085D89D-C951-45F4-B6D1-3309FEB780EB}"/>
              </a:ext>
            </a:extLst>
          </p:cNvPr>
          <p:cNvSpPr>
            <a:spLocks noGrp="1"/>
          </p:cNvSpPr>
          <p:nvPr>
            <p:ph type="dt" sz="half" idx="10"/>
          </p:nvPr>
        </p:nvSpPr>
        <p:spPr>
          <a:xfrm>
            <a:off x="2460928" y="5881506"/>
            <a:ext cx="999374" cy="163375"/>
          </a:xfrm>
          <a:prstGeom prst="rect">
            <a:avLst/>
          </a:prstGeom>
        </p:spPr>
        <p:txBody>
          <a:bodyPr vert="horz" wrap="none" lIns="0" tIns="0" rIns="0" bIns="0" rtlCol="0" anchor="t" anchorCtr="0"/>
          <a:lstStyle>
            <a:lvl1pPr>
              <a:defRPr lang="en-US" sz="1210" smtClean="0">
                <a:solidFill>
                  <a:schemeClr val="tx1"/>
                </a:solidFill>
              </a:defRPr>
            </a:lvl1pPr>
          </a:lstStyle>
          <a:p>
            <a:pPr algn="ctr"/>
            <a:endParaRPr lang="de-DE"/>
          </a:p>
        </p:txBody>
      </p:sp>
      <p:sp>
        <p:nvSpPr>
          <p:cNvPr id="9" name="Footer Placeholder 4">
            <a:extLst>
              <a:ext uri="{FF2B5EF4-FFF2-40B4-BE49-F238E27FC236}">
                <a16:creationId xmlns:a16="http://schemas.microsoft.com/office/drawing/2014/main" id="{77326332-DEC5-464F-BFFD-0A268FB8A1B1}"/>
              </a:ext>
            </a:extLst>
          </p:cNvPr>
          <p:cNvSpPr>
            <a:spLocks noGrp="1"/>
          </p:cNvSpPr>
          <p:nvPr>
            <p:ph type="ftr" sz="quarter" idx="11"/>
          </p:nvPr>
        </p:nvSpPr>
        <p:spPr>
          <a:xfrm>
            <a:off x="3462722" y="5881506"/>
            <a:ext cx="3571613" cy="163375"/>
          </a:xfrm>
          <a:prstGeom prst="rect">
            <a:avLst/>
          </a:prstGeom>
        </p:spPr>
        <p:txBody>
          <a:bodyPr vert="horz" wrap="none" lIns="0" tIns="0" rIns="0" bIns="0" rtlCol="0" anchor="t" anchorCtr="0"/>
          <a:lstStyle>
            <a:lvl1pPr algn="l">
              <a:defRPr sz="1210">
                <a:solidFill>
                  <a:schemeClr val="tx1"/>
                </a:solidFill>
              </a:defRPr>
            </a:lvl1pPr>
          </a:lstStyle>
          <a:p>
            <a:endParaRPr lang="en-US"/>
          </a:p>
        </p:txBody>
      </p:sp>
    </p:spTree>
    <p:extLst>
      <p:ext uri="{BB962C8B-B14F-4D97-AF65-F5344CB8AC3E}">
        <p14:creationId xmlns:p14="http://schemas.microsoft.com/office/powerpoint/2010/main" val="38331535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Enter slide title</a:t>
            </a:r>
            <a:br>
              <a:rPr lang="en-US"/>
            </a:br>
            <a:r>
              <a:rPr lang="en-US"/>
              <a:t>(27 pt, bold, max. 2 lines)</a:t>
            </a:r>
          </a:p>
        </p:txBody>
      </p:sp>
      <p:sp>
        <p:nvSpPr>
          <p:cNvPr id="3" name="Content Placeholder 1"/>
          <p:cNvSpPr>
            <a:spLocks noGrp="1"/>
          </p:cNvSpPr>
          <p:nvPr>
            <p:ph idx="1" hasCustomPrompt="1"/>
          </p:nvPr>
        </p:nvSpPr>
        <p:spPr>
          <a:xfrm>
            <a:off x="435566" y="1764450"/>
            <a:ext cx="10279275" cy="3877434"/>
          </a:xfrm>
        </p:spPr>
        <p:txBody>
          <a:bodyPr/>
          <a:lstStyle>
            <a:lvl1pPr>
              <a:defRPr/>
            </a:lvl1pPr>
          </a:lstStyle>
          <a:p>
            <a:pPr lvl="0"/>
            <a:r>
              <a:rPr lang="en-US"/>
              <a:t>Enter text (15pt) or define content via symbol in the middle. (Pictures: Please follow the shortcut in your picture folder. Use only licensed pictures!</a:t>
            </a:r>
          </a:p>
          <a:p>
            <a:pPr lvl="1"/>
            <a:r>
              <a:rPr lang="en-US"/>
              <a:t>Second level</a:t>
            </a:r>
          </a:p>
          <a:p>
            <a:pPr lvl="2"/>
            <a:r>
              <a:rPr lang="en-US"/>
              <a:t>Third level</a:t>
            </a:r>
          </a:p>
          <a:p>
            <a:pPr lvl="3"/>
            <a:r>
              <a:rPr lang="en-US"/>
              <a:t>Fourth level</a:t>
            </a:r>
          </a:p>
          <a:p>
            <a:pPr lvl="4"/>
            <a:r>
              <a:rPr lang="en-US"/>
              <a:t>Fifth level</a:t>
            </a:r>
          </a:p>
        </p:txBody>
      </p:sp>
      <p:sp>
        <p:nvSpPr>
          <p:cNvPr id="7" name="Heading 1"/>
          <p:cNvSpPr>
            <a:spLocks noGrp="1"/>
          </p:cNvSpPr>
          <p:nvPr>
            <p:ph type="body" idx="13" hasCustomPrompt="1"/>
          </p:nvPr>
        </p:nvSpPr>
        <p:spPr>
          <a:xfrm>
            <a:off x="435566" y="1372356"/>
            <a:ext cx="10279275" cy="304967"/>
          </a:xfrm>
        </p:spPr>
        <p:txBody>
          <a:bodyPr wrap="none" anchor="b"/>
          <a:lstStyle>
            <a:lvl1pPr marL="0" indent="0">
              <a:lnSpc>
                <a:spcPct val="100000"/>
              </a:lnSpc>
              <a:buNone/>
              <a:defRPr sz="1815" b="1" baseline="0"/>
            </a:lvl1pPr>
            <a:lvl2pPr marL="553166" indent="0">
              <a:buNone/>
              <a:defRPr sz="1815" b="1"/>
            </a:lvl2pPr>
            <a:lvl3pPr marL="1106333" indent="0">
              <a:buNone/>
              <a:defRPr sz="1815" b="1"/>
            </a:lvl3pPr>
            <a:lvl4pPr marL="1659499" indent="0">
              <a:buNone/>
              <a:defRPr sz="1815" b="1"/>
            </a:lvl4pPr>
            <a:lvl5pPr marL="2212665" indent="0">
              <a:buNone/>
              <a:defRPr sz="1815" b="1"/>
            </a:lvl5pPr>
            <a:lvl6pPr marL="2765831" indent="0">
              <a:buNone/>
              <a:defRPr sz="1815" b="1"/>
            </a:lvl6pPr>
            <a:lvl7pPr marL="3318998" indent="0">
              <a:buNone/>
              <a:defRPr sz="1815" b="1"/>
            </a:lvl7pPr>
            <a:lvl8pPr marL="3872164" indent="0">
              <a:buNone/>
              <a:defRPr sz="1815" b="1"/>
            </a:lvl8pPr>
            <a:lvl9pPr marL="4425330" indent="0">
              <a:buNone/>
              <a:defRPr sz="1815" b="1"/>
            </a:lvl9pPr>
          </a:lstStyle>
          <a:p>
            <a:pPr lvl="0"/>
            <a:r>
              <a:rPr lang="en-US"/>
              <a:t>Enter heading (15 pt, bold, max. 1 line)</a:t>
            </a:r>
          </a:p>
        </p:txBody>
      </p:sp>
      <p:sp>
        <p:nvSpPr>
          <p:cNvPr id="10" name="Date Placeholder 3"/>
          <p:cNvSpPr>
            <a:spLocks noGrp="1"/>
          </p:cNvSpPr>
          <p:nvPr>
            <p:ph type="dt" sz="half" idx="10"/>
          </p:nvPr>
        </p:nvSpPr>
        <p:spPr/>
        <p:txBody>
          <a:bodyPr/>
          <a:lstStyle/>
          <a:p>
            <a:pPr algn="ctr"/>
            <a:endParaRPr lang="en-US"/>
          </a:p>
        </p:txBody>
      </p:sp>
      <p:sp>
        <p:nvSpPr>
          <p:cNvPr id="11" name="Footer Placeholder 4"/>
          <p:cNvSpPr>
            <a:spLocks noGrp="1"/>
          </p:cNvSpPr>
          <p:nvPr>
            <p:ph type="ftr" sz="quarter" idx="11"/>
          </p:nvPr>
        </p:nvSpPr>
        <p:spPr/>
        <p:txBody>
          <a:bodyPr/>
          <a:lstStyle/>
          <a:p>
            <a:endParaRPr lang="en-US"/>
          </a:p>
        </p:txBody>
      </p:sp>
      <p:sp>
        <p:nvSpPr>
          <p:cNvPr id="12" name="Slide Number Placeholder 5"/>
          <p:cNvSpPr>
            <a:spLocks noGrp="1"/>
          </p:cNvSpPr>
          <p:nvPr>
            <p:ph type="sldNum" sz="quarter" idx="12"/>
          </p:nvPr>
        </p:nvSpPr>
        <p:spPr/>
        <p:txBody>
          <a:bodyPr/>
          <a:lstStyle/>
          <a:p>
            <a:fld id="{57CB76AC-E5DF-427C-ABDC-2F4FBD8E4B69}" type="slidenum">
              <a:rPr lang="en-US" smtClean="0"/>
              <a:t>‹#›</a:t>
            </a:fld>
            <a:endParaRPr lang="en-US"/>
          </a:p>
        </p:txBody>
      </p:sp>
      <p:sp>
        <p:nvSpPr>
          <p:cNvPr id="4" name="Chapter 1">
            <a:extLst>
              <a:ext uri="{FF2B5EF4-FFF2-40B4-BE49-F238E27FC236}">
                <a16:creationId xmlns:a16="http://schemas.microsoft.com/office/drawing/2014/main" id="{A760D8A3-0215-4116-BB60-0451B5B34D9D}"/>
              </a:ext>
            </a:extLst>
          </p:cNvPr>
          <p:cNvSpPr>
            <a:spLocks noGrp="1"/>
          </p:cNvSpPr>
          <p:nvPr>
            <p:ph type="body" sz="quarter" idx="9" hasCustomPrompt="1"/>
          </p:nvPr>
        </p:nvSpPr>
        <p:spPr>
          <a:xfrm>
            <a:off x="435563" y="43567"/>
            <a:ext cx="3832950" cy="248330"/>
          </a:xfrm>
        </p:spPr>
        <p:txBody>
          <a:bodyPr wrap="none">
            <a:noAutofit/>
          </a:bodyPr>
          <a:lstStyle>
            <a:lvl1pPr marL="0" indent="0">
              <a:buNone/>
              <a:defRPr sz="1694" spc="97" baseline="0">
                <a:solidFill>
                  <a:schemeClr val="tx2"/>
                </a:solidFill>
                <a:latin typeface="+mj-lt"/>
              </a:defRPr>
            </a:lvl1pPr>
          </a:lstStyle>
          <a:p>
            <a:r>
              <a:rPr lang="en-US" sz="1694"/>
              <a:t>Text 14 pt, e.g. chapter no. &amp; chapter</a:t>
            </a:r>
          </a:p>
        </p:txBody>
      </p:sp>
    </p:spTree>
    <p:extLst>
      <p:ext uri="{BB962C8B-B14F-4D97-AF65-F5344CB8AC3E}">
        <p14:creationId xmlns:p14="http://schemas.microsoft.com/office/powerpoint/2010/main" val="5965694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enutzerdefiniertes Layout">
    <p:bg>
      <p:bgPr>
        <a:solidFill>
          <a:srgbClr val="001F3B"/>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8E6F585-299F-4983-AF04-0083EBE7B4D1}"/>
              </a:ext>
            </a:extLst>
          </p:cNvPr>
          <p:cNvSpPr>
            <a:spLocks noGrp="1"/>
          </p:cNvSpPr>
          <p:nvPr>
            <p:ph type="title" hasCustomPrompt="1"/>
          </p:nvPr>
        </p:nvSpPr>
        <p:spPr>
          <a:xfrm>
            <a:off x="435566" y="348533"/>
            <a:ext cx="10279275" cy="849550"/>
          </a:xfrm>
        </p:spPr>
        <p:txBody>
          <a:bodyPr vert="horz" lIns="0" tIns="0" rIns="0" bIns="0" rtlCol="0" anchor="b" anchorCtr="0">
            <a:noAutofit/>
          </a:bodyPr>
          <a:lstStyle>
            <a:lvl1pPr>
              <a:defRPr lang="en-US" cap="none" baseline="0" dirty="0">
                <a:solidFill>
                  <a:schemeClr val="bg1"/>
                </a:solidFill>
              </a:defRPr>
            </a:lvl1pPr>
          </a:lstStyle>
          <a:p>
            <a:pPr lvl="0"/>
            <a:r>
              <a:rPr lang="en-US"/>
              <a:t>Enter slide title (max. 2 lines)</a:t>
            </a:r>
            <a:br>
              <a:rPr lang="en-US"/>
            </a:br>
            <a:r>
              <a:rPr lang="en-US"/>
              <a:t>The 2nd line may be black if reasonable</a:t>
            </a:r>
          </a:p>
        </p:txBody>
      </p:sp>
      <p:grpSp>
        <p:nvGrpSpPr>
          <p:cNvPr id="9" name="Gruppieren 553">
            <a:extLst>
              <a:ext uri="{FF2B5EF4-FFF2-40B4-BE49-F238E27FC236}">
                <a16:creationId xmlns:a16="http://schemas.microsoft.com/office/drawing/2014/main" id="{BB952EB3-FEAB-4E80-8A84-D23233CA436D}"/>
              </a:ext>
            </a:extLst>
          </p:cNvPr>
          <p:cNvGrpSpPr/>
          <p:nvPr userDrawn="1"/>
        </p:nvGrpSpPr>
        <p:grpSpPr>
          <a:xfrm>
            <a:off x="1300742" y="1428005"/>
            <a:ext cx="8598378" cy="4545374"/>
            <a:chOff x="677863" y="1196975"/>
            <a:chExt cx="7500937" cy="4260850"/>
          </a:xfrm>
          <a:solidFill>
            <a:schemeClr val="accent1">
              <a:lumMod val="75000"/>
            </a:schemeClr>
          </a:solidFill>
        </p:grpSpPr>
        <p:sp>
          <p:nvSpPr>
            <p:cNvPr id="10" name="Freeform 4">
              <a:extLst>
                <a:ext uri="{FF2B5EF4-FFF2-40B4-BE49-F238E27FC236}">
                  <a16:creationId xmlns:a16="http://schemas.microsoft.com/office/drawing/2014/main" id="{90DF43BC-C2D0-4B95-9DBF-417F2696910F}"/>
                </a:ext>
              </a:extLst>
            </p:cNvPr>
            <p:cNvSpPr>
              <a:spLocks/>
            </p:cNvSpPr>
            <p:nvPr>
              <p:custDataLst>
                <p:tags r:id="rId1"/>
              </p:custDataLst>
            </p:nvPr>
          </p:nvSpPr>
          <p:spPr bwMode="auto">
            <a:xfrm>
              <a:off x="2519363" y="5394325"/>
              <a:ext cx="33337" cy="57150"/>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grpFill/>
            <a:ln w="9525" cmpd="sng">
              <a:noFill/>
              <a:prstDash val="solid"/>
              <a:round/>
              <a:headEnd/>
              <a:tailEnd/>
            </a:ln>
          </p:spPr>
          <p:txBody>
            <a:bodyPr/>
            <a:lstStyle/>
            <a:p>
              <a:endParaRPr lang="en-US" sz="2178"/>
            </a:p>
          </p:txBody>
        </p:sp>
        <p:sp>
          <p:nvSpPr>
            <p:cNvPr id="11" name="Freeform 5">
              <a:extLst>
                <a:ext uri="{FF2B5EF4-FFF2-40B4-BE49-F238E27FC236}">
                  <a16:creationId xmlns:a16="http://schemas.microsoft.com/office/drawing/2014/main" id="{8BD6D710-938F-48CA-96D6-5571550757CF}"/>
                </a:ext>
              </a:extLst>
            </p:cNvPr>
            <p:cNvSpPr>
              <a:spLocks/>
            </p:cNvSpPr>
            <p:nvPr>
              <p:custDataLst>
                <p:tags r:id="rId2"/>
              </p:custDataLst>
            </p:nvPr>
          </p:nvSpPr>
          <p:spPr bwMode="auto">
            <a:xfrm>
              <a:off x="677863" y="1495425"/>
              <a:ext cx="784225" cy="446088"/>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grpFill/>
            <a:ln w="9525" cap="flat" cmpd="sng">
              <a:noFill/>
              <a:prstDash val="solid"/>
              <a:round/>
              <a:headEnd type="none" w="med" len="med"/>
              <a:tailEnd type="none" w="med" len="med"/>
            </a:ln>
            <a:effectLst/>
          </p:spPr>
          <p:txBody>
            <a:bodyPr/>
            <a:lstStyle/>
            <a:p>
              <a:endParaRPr lang="en-US" sz="2178"/>
            </a:p>
          </p:txBody>
        </p:sp>
        <p:sp>
          <p:nvSpPr>
            <p:cNvPr id="12" name="Freeform 6">
              <a:extLst>
                <a:ext uri="{FF2B5EF4-FFF2-40B4-BE49-F238E27FC236}">
                  <a16:creationId xmlns:a16="http://schemas.microsoft.com/office/drawing/2014/main" id="{89EB4AB1-0E5A-419C-9208-52074BF5263A}"/>
                </a:ext>
              </a:extLst>
            </p:cNvPr>
            <p:cNvSpPr>
              <a:spLocks/>
            </p:cNvSpPr>
            <p:nvPr>
              <p:custDataLst>
                <p:tags r:id="rId3"/>
              </p:custDataLst>
            </p:nvPr>
          </p:nvSpPr>
          <p:spPr bwMode="auto">
            <a:xfrm>
              <a:off x="1138238" y="2111375"/>
              <a:ext cx="1381125" cy="769938"/>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grpFill/>
            <a:ln w="9525" cmpd="sng">
              <a:noFill/>
              <a:prstDash val="solid"/>
              <a:round/>
              <a:headEnd/>
              <a:tailEnd/>
            </a:ln>
          </p:spPr>
          <p:txBody>
            <a:bodyPr/>
            <a:lstStyle/>
            <a:p>
              <a:endParaRPr lang="en-US" sz="2178"/>
            </a:p>
          </p:txBody>
        </p:sp>
        <p:sp>
          <p:nvSpPr>
            <p:cNvPr id="13" name="Freeform 7">
              <a:extLst>
                <a:ext uri="{FF2B5EF4-FFF2-40B4-BE49-F238E27FC236}">
                  <a16:creationId xmlns:a16="http://schemas.microsoft.com/office/drawing/2014/main" id="{08AAFAB1-E7E3-4C5B-B3D1-A98E4B6683CE}"/>
                </a:ext>
              </a:extLst>
            </p:cNvPr>
            <p:cNvSpPr>
              <a:spLocks/>
            </p:cNvSpPr>
            <p:nvPr>
              <p:custDataLst>
                <p:tags r:id="rId4"/>
              </p:custDataLst>
            </p:nvPr>
          </p:nvSpPr>
          <p:spPr bwMode="auto">
            <a:xfrm>
              <a:off x="1971675" y="3662363"/>
              <a:ext cx="339725" cy="590550"/>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grpFill/>
            <a:ln w="9525" cap="flat" cmpd="sng">
              <a:noFill/>
              <a:prstDash val="solid"/>
              <a:round/>
              <a:headEnd type="none" w="med" len="med"/>
              <a:tailEnd type="none" w="med" len="med"/>
            </a:ln>
            <a:effectLst/>
          </p:spPr>
          <p:txBody>
            <a:bodyPr/>
            <a:lstStyle/>
            <a:p>
              <a:endParaRPr lang="en-US" sz="2178"/>
            </a:p>
          </p:txBody>
        </p:sp>
        <p:sp>
          <p:nvSpPr>
            <p:cNvPr id="14" name="Freeform 8">
              <a:extLst>
                <a:ext uri="{FF2B5EF4-FFF2-40B4-BE49-F238E27FC236}">
                  <a16:creationId xmlns:a16="http://schemas.microsoft.com/office/drawing/2014/main" id="{C8DF0663-9F06-44B5-9743-E663A85CC9E4}"/>
                </a:ext>
              </a:extLst>
            </p:cNvPr>
            <p:cNvSpPr>
              <a:spLocks/>
            </p:cNvSpPr>
            <p:nvPr>
              <p:custDataLst>
                <p:tags r:id="rId5"/>
              </p:custDataLst>
            </p:nvPr>
          </p:nvSpPr>
          <p:spPr bwMode="auto">
            <a:xfrm>
              <a:off x="2271713" y="4225925"/>
              <a:ext cx="261937" cy="1130300"/>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15" name="Freeform 9">
              <a:extLst>
                <a:ext uri="{FF2B5EF4-FFF2-40B4-BE49-F238E27FC236}">
                  <a16:creationId xmlns:a16="http://schemas.microsoft.com/office/drawing/2014/main" id="{4555F6BA-AFC5-4707-9EA2-3D118D93DEDF}"/>
                </a:ext>
              </a:extLst>
            </p:cNvPr>
            <p:cNvSpPr>
              <a:spLocks/>
            </p:cNvSpPr>
            <p:nvPr>
              <p:custDataLst>
                <p:tags r:id="rId6"/>
              </p:custDataLst>
            </p:nvPr>
          </p:nvSpPr>
          <p:spPr bwMode="auto">
            <a:xfrm>
              <a:off x="2176463" y="3508375"/>
              <a:ext cx="966787" cy="1203325"/>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grpFill/>
            <a:ln w="9525" cap="flat" cmpd="sng">
              <a:noFill/>
              <a:prstDash val="solid"/>
              <a:round/>
              <a:headEnd type="none" w="med" len="med"/>
              <a:tailEnd type="none" w="med" len="med"/>
            </a:ln>
            <a:effectLst/>
          </p:spPr>
          <p:txBody>
            <a:bodyPr/>
            <a:lstStyle/>
            <a:p>
              <a:endParaRPr lang="en-US" sz="2178"/>
            </a:p>
          </p:txBody>
        </p:sp>
        <p:sp>
          <p:nvSpPr>
            <p:cNvPr id="16" name="Freeform 10">
              <a:extLst>
                <a:ext uri="{FF2B5EF4-FFF2-40B4-BE49-F238E27FC236}">
                  <a16:creationId xmlns:a16="http://schemas.microsoft.com/office/drawing/2014/main" id="{A7B18E8B-A2D0-4E9B-9D97-22EB802E4D9F}"/>
                </a:ext>
              </a:extLst>
            </p:cNvPr>
            <p:cNvSpPr>
              <a:spLocks/>
            </p:cNvSpPr>
            <p:nvPr>
              <p:custDataLst>
                <p:tags r:id="rId7"/>
              </p:custDataLst>
            </p:nvPr>
          </p:nvSpPr>
          <p:spPr bwMode="auto">
            <a:xfrm>
              <a:off x="4289425" y="2454275"/>
              <a:ext cx="69850" cy="49213"/>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grpFill/>
            <a:ln w="9525" cap="flat" cmpd="sng">
              <a:noFill/>
              <a:prstDash val="solid"/>
              <a:round/>
              <a:headEnd type="none" w="med" len="med"/>
              <a:tailEnd type="none" w="med" len="med"/>
            </a:ln>
            <a:effectLst/>
          </p:spPr>
          <p:txBody>
            <a:bodyPr/>
            <a:lstStyle/>
            <a:p>
              <a:endParaRPr lang="en-US" sz="2178"/>
            </a:p>
          </p:txBody>
        </p:sp>
        <p:sp>
          <p:nvSpPr>
            <p:cNvPr id="17" name="Freeform 11">
              <a:extLst>
                <a:ext uri="{FF2B5EF4-FFF2-40B4-BE49-F238E27FC236}">
                  <a16:creationId xmlns:a16="http://schemas.microsoft.com/office/drawing/2014/main" id="{EB240987-2C7E-45FC-838A-6E40AD804EBC}"/>
                </a:ext>
              </a:extLst>
            </p:cNvPr>
            <p:cNvSpPr>
              <a:spLocks/>
            </p:cNvSpPr>
            <p:nvPr>
              <p:custDataLst>
                <p:tags r:id="rId8"/>
              </p:custDataLst>
            </p:nvPr>
          </p:nvSpPr>
          <p:spPr bwMode="auto">
            <a:xfrm>
              <a:off x="3787775" y="2328863"/>
              <a:ext cx="82550" cy="160337"/>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grpFill/>
            <a:ln w="9525" cap="flat" cmpd="sng">
              <a:noFill/>
              <a:prstDash val="solid"/>
              <a:round/>
              <a:headEnd type="none" w="med" len="med"/>
              <a:tailEnd type="none" w="med" len="med"/>
            </a:ln>
            <a:effectLst/>
          </p:spPr>
          <p:txBody>
            <a:bodyPr/>
            <a:lstStyle/>
            <a:p>
              <a:endParaRPr lang="en-US" sz="2178"/>
            </a:p>
          </p:txBody>
        </p:sp>
        <p:sp>
          <p:nvSpPr>
            <p:cNvPr id="18" name="Freeform 12">
              <a:extLst>
                <a:ext uri="{FF2B5EF4-FFF2-40B4-BE49-F238E27FC236}">
                  <a16:creationId xmlns:a16="http://schemas.microsoft.com/office/drawing/2014/main" id="{04D1D066-9A1F-42D7-9B6B-1E3A116BA73D}"/>
                </a:ext>
              </a:extLst>
            </p:cNvPr>
            <p:cNvSpPr>
              <a:spLocks/>
            </p:cNvSpPr>
            <p:nvPr>
              <p:custDataLst>
                <p:tags r:id="rId9"/>
              </p:custDataLst>
            </p:nvPr>
          </p:nvSpPr>
          <p:spPr bwMode="auto">
            <a:xfrm>
              <a:off x="3868738" y="1814513"/>
              <a:ext cx="171450" cy="269875"/>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grpFill/>
            <a:ln w="9525" cmpd="sng">
              <a:noFill/>
              <a:prstDash val="solid"/>
              <a:round/>
              <a:headEnd/>
              <a:tailEnd/>
            </a:ln>
          </p:spPr>
          <p:txBody>
            <a:bodyPr/>
            <a:lstStyle/>
            <a:p>
              <a:endParaRPr lang="en-US" sz="2178"/>
            </a:p>
          </p:txBody>
        </p:sp>
        <p:sp>
          <p:nvSpPr>
            <p:cNvPr id="19" name="Freeform 13">
              <a:extLst>
                <a:ext uri="{FF2B5EF4-FFF2-40B4-BE49-F238E27FC236}">
                  <a16:creationId xmlns:a16="http://schemas.microsoft.com/office/drawing/2014/main" id="{B90753D5-BBAC-4604-B2B5-8975E9C2F808}"/>
                </a:ext>
              </a:extLst>
            </p:cNvPr>
            <p:cNvSpPr>
              <a:spLocks/>
            </p:cNvSpPr>
            <p:nvPr>
              <p:custDataLst>
                <p:tags r:id="rId10"/>
              </p:custDataLst>
            </p:nvPr>
          </p:nvSpPr>
          <p:spPr bwMode="auto">
            <a:xfrm>
              <a:off x="4227513" y="2117725"/>
              <a:ext cx="169862" cy="76200"/>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grpFill/>
            <a:ln w="9525" cap="flat" cmpd="sng">
              <a:noFill/>
              <a:prstDash val="solid"/>
              <a:round/>
              <a:headEnd type="none" w="med" len="med"/>
              <a:tailEnd type="none" w="med" len="med"/>
            </a:ln>
            <a:effectLst/>
          </p:spPr>
          <p:txBody>
            <a:bodyPr/>
            <a:lstStyle/>
            <a:p>
              <a:endParaRPr lang="en-US" sz="2178"/>
            </a:p>
          </p:txBody>
        </p:sp>
        <p:sp>
          <p:nvSpPr>
            <p:cNvPr id="20" name="Freeform 14">
              <a:extLst>
                <a:ext uri="{FF2B5EF4-FFF2-40B4-BE49-F238E27FC236}">
                  <a16:creationId xmlns:a16="http://schemas.microsoft.com/office/drawing/2014/main" id="{595C9A65-61E0-49A5-9EF4-021116D657E4}"/>
                </a:ext>
              </a:extLst>
            </p:cNvPr>
            <p:cNvSpPr>
              <a:spLocks/>
            </p:cNvSpPr>
            <p:nvPr>
              <p:custDataLst>
                <p:tags r:id="rId11"/>
              </p:custDataLst>
            </p:nvPr>
          </p:nvSpPr>
          <p:spPr bwMode="auto">
            <a:xfrm>
              <a:off x="5719763" y="1966913"/>
              <a:ext cx="1281112" cy="1038225"/>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grpFill/>
            <a:ln w="9525" cmpd="sng">
              <a:noFill/>
              <a:prstDash val="solid"/>
              <a:round/>
              <a:headEnd/>
              <a:tailEnd/>
            </a:ln>
          </p:spPr>
          <p:txBody>
            <a:bodyPr/>
            <a:lstStyle/>
            <a:p>
              <a:endParaRPr lang="en-US" sz="2178"/>
            </a:p>
          </p:txBody>
        </p:sp>
        <p:sp>
          <p:nvSpPr>
            <p:cNvPr id="21" name="Freeform 15">
              <a:extLst>
                <a:ext uri="{FF2B5EF4-FFF2-40B4-BE49-F238E27FC236}">
                  <a16:creationId xmlns:a16="http://schemas.microsoft.com/office/drawing/2014/main" id="{D1012FB1-A813-4EDF-AF84-DD22160581AD}"/>
                </a:ext>
              </a:extLst>
            </p:cNvPr>
            <p:cNvSpPr>
              <a:spLocks/>
            </p:cNvSpPr>
            <p:nvPr>
              <p:custDataLst>
                <p:tags r:id="rId12"/>
              </p:custDataLst>
            </p:nvPr>
          </p:nvSpPr>
          <p:spPr bwMode="auto">
            <a:xfrm>
              <a:off x="4411663" y="1508125"/>
              <a:ext cx="220662" cy="273050"/>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grpFill/>
            <a:ln w="9525" cap="flat" cmpd="sng">
              <a:noFill/>
              <a:prstDash val="solid"/>
              <a:round/>
              <a:headEnd type="none" w="med" len="med"/>
              <a:tailEnd type="none" w="med" len="med"/>
            </a:ln>
            <a:effectLst/>
          </p:spPr>
          <p:txBody>
            <a:bodyPr/>
            <a:lstStyle/>
            <a:p>
              <a:endParaRPr lang="en-US" sz="2178"/>
            </a:p>
          </p:txBody>
        </p:sp>
        <p:sp>
          <p:nvSpPr>
            <p:cNvPr id="22" name="Freeform 16">
              <a:extLst>
                <a:ext uri="{FF2B5EF4-FFF2-40B4-BE49-F238E27FC236}">
                  <a16:creationId xmlns:a16="http://schemas.microsoft.com/office/drawing/2014/main" id="{4AD447D2-83BA-43F8-8F8F-F4AC6AAEF478}"/>
                </a:ext>
              </a:extLst>
            </p:cNvPr>
            <p:cNvSpPr>
              <a:spLocks/>
            </p:cNvSpPr>
            <p:nvPr>
              <p:custDataLst>
                <p:tags r:id="rId13"/>
              </p:custDataLst>
            </p:nvPr>
          </p:nvSpPr>
          <p:spPr bwMode="auto">
            <a:xfrm>
              <a:off x="4148138" y="1925638"/>
              <a:ext cx="182562" cy="238125"/>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grpFill/>
            <a:ln w="9525" cap="flat" cmpd="sng">
              <a:noFill/>
              <a:prstDash val="solid"/>
              <a:round/>
              <a:headEnd type="none" w="med" len="med"/>
              <a:tailEnd type="none" w="med" len="med"/>
            </a:ln>
            <a:effectLst/>
          </p:spPr>
          <p:txBody>
            <a:bodyPr/>
            <a:lstStyle/>
            <a:p>
              <a:endParaRPr lang="en-US" sz="2178"/>
            </a:p>
          </p:txBody>
        </p:sp>
        <p:sp>
          <p:nvSpPr>
            <p:cNvPr id="23" name="Freeform 17">
              <a:extLst>
                <a:ext uri="{FF2B5EF4-FFF2-40B4-BE49-F238E27FC236}">
                  <a16:creationId xmlns:a16="http://schemas.microsoft.com/office/drawing/2014/main" id="{2DD54343-1C40-4C76-844D-6A3D9DF116A5}"/>
                </a:ext>
              </a:extLst>
            </p:cNvPr>
            <p:cNvSpPr>
              <a:spLocks/>
            </p:cNvSpPr>
            <p:nvPr>
              <p:custDataLst>
                <p:tags r:id="rId14"/>
              </p:custDataLst>
            </p:nvPr>
          </p:nvSpPr>
          <p:spPr bwMode="auto">
            <a:xfrm>
              <a:off x="4173538" y="2182813"/>
              <a:ext cx="250825" cy="274637"/>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grpFill/>
            <a:ln w="9525" cap="flat" cmpd="sng">
              <a:noFill/>
              <a:prstDash val="solid"/>
              <a:round/>
              <a:headEnd type="none" w="med" len="med"/>
              <a:tailEnd type="none" w="med" len="med"/>
            </a:ln>
            <a:effectLst/>
          </p:spPr>
          <p:txBody>
            <a:bodyPr/>
            <a:lstStyle/>
            <a:p>
              <a:endParaRPr lang="en-US" sz="2178"/>
            </a:p>
          </p:txBody>
        </p:sp>
        <p:sp>
          <p:nvSpPr>
            <p:cNvPr id="24" name="Freeform 18">
              <a:extLst>
                <a:ext uri="{FF2B5EF4-FFF2-40B4-BE49-F238E27FC236}">
                  <a16:creationId xmlns:a16="http://schemas.microsoft.com/office/drawing/2014/main" id="{1FB7A9E0-4063-4F65-BC88-A2B2CB51F5D1}"/>
                </a:ext>
              </a:extLst>
            </p:cNvPr>
            <p:cNvSpPr>
              <a:spLocks/>
            </p:cNvSpPr>
            <p:nvPr>
              <p:custDataLst>
                <p:tags r:id="rId15"/>
              </p:custDataLst>
            </p:nvPr>
          </p:nvSpPr>
          <p:spPr bwMode="auto">
            <a:xfrm>
              <a:off x="4191000" y="2351088"/>
              <a:ext cx="33338" cy="82550"/>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grpFill/>
            <a:ln w="9525" cap="flat" cmpd="sng">
              <a:noFill/>
              <a:prstDash val="solid"/>
              <a:round/>
              <a:headEnd type="none" w="med" len="med"/>
              <a:tailEnd type="none" w="med" len="med"/>
            </a:ln>
            <a:effectLst/>
          </p:spPr>
          <p:txBody>
            <a:bodyPr/>
            <a:lstStyle/>
            <a:p>
              <a:endParaRPr lang="en-US" sz="2178"/>
            </a:p>
          </p:txBody>
        </p:sp>
        <p:grpSp>
          <p:nvGrpSpPr>
            <p:cNvPr id="25" name="Group 19">
              <a:extLst>
                <a:ext uri="{FF2B5EF4-FFF2-40B4-BE49-F238E27FC236}">
                  <a16:creationId xmlns:a16="http://schemas.microsoft.com/office/drawing/2014/main" id="{47EBA7EC-A13C-4E91-8180-9E89149C81DB}"/>
                </a:ext>
              </a:extLst>
            </p:cNvPr>
            <p:cNvGrpSpPr>
              <a:grpSpLocks/>
            </p:cNvGrpSpPr>
            <p:nvPr>
              <p:custDataLst>
                <p:tags r:id="rId16"/>
              </p:custDataLst>
            </p:nvPr>
          </p:nvGrpSpPr>
          <p:grpSpPr bwMode="auto">
            <a:xfrm>
              <a:off x="6510338" y="3411538"/>
              <a:ext cx="473075" cy="212725"/>
              <a:chOff x="4488" y="2394"/>
              <a:chExt cx="358" cy="124"/>
            </a:xfrm>
            <a:grpFill/>
          </p:grpSpPr>
          <p:sp>
            <p:nvSpPr>
              <p:cNvPr id="555" name="Freeform 20">
                <a:extLst>
                  <a:ext uri="{FF2B5EF4-FFF2-40B4-BE49-F238E27FC236}">
                    <a16:creationId xmlns:a16="http://schemas.microsoft.com/office/drawing/2014/main" id="{3EDB00FC-39C3-4796-B48A-294249124ABF}"/>
                  </a:ext>
                </a:extLst>
              </p:cNvPr>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556" name="Freeform 21">
                <a:extLst>
                  <a:ext uri="{FF2B5EF4-FFF2-40B4-BE49-F238E27FC236}">
                    <a16:creationId xmlns:a16="http://schemas.microsoft.com/office/drawing/2014/main" id="{62981A66-C0CC-4370-BC68-761CE8BE466D}"/>
                  </a:ext>
                </a:extLst>
              </p:cNvPr>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grpSp>
        <p:sp>
          <p:nvSpPr>
            <p:cNvPr id="26" name="Freeform 22">
              <a:extLst>
                <a:ext uri="{FF2B5EF4-FFF2-40B4-BE49-F238E27FC236}">
                  <a16:creationId xmlns:a16="http://schemas.microsoft.com/office/drawing/2014/main" id="{3529AB6E-A158-49B4-86A7-1B1F4EBA7373}"/>
                </a:ext>
              </a:extLst>
            </p:cNvPr>
            <p:cNvSpPr>
              <a:spLocks/>
            </p:cNvSpPr>
            <p:nvPr>
              <p:custDataLst>
                <p:tags r:id="rId17"/>
              </p:custDataLst>
            </p:nvPr>
          </p:nvSpPr>
          <p:spPr bwMode="auto">
            <a:xfrm>
              <a:off x="4532313" y="1287463"/>
              <a:ext cx="3065462" cy="1074737"/>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grpFill/>
            <a:ln w="9525" cap="flat" cmpd="sng">
              <a:noFill/>
              <a:prstDash val="solid"/>
              <a:round/>
              <a:headEnd type="none" w="med" len="med"/>
              <a:tailEnd type="none" w="med" len="med"/>
            </a:ln>
            <a:effectLst/>
          </p:spPr>
          <p:txBody>
            <a:bodyPr/>
            <a:lstStyle/>
            <a:p>
              <a:endParaRPr lang="en-US" sz="2178"/>
            </a:p>
          </p:txBody>
        </p:sp>
        <p:sp>
          <p:nvSpPr>
            <p:cNvPr id="27" name="Freeform 23">
              <a:extLst>
                <a:ext uri="{FF2B5EF4-FFF2-40B4-BE49-F238E27FC236}">
                  <a16:creationId xmlns:a16="http://schemas.microsoft.com/office/drawing/2014/main" id="{E96D8561-D518-4EE9-966A-A02B0049FC77}"/>
                </a:ext>
              </a:extLst>
            </p:cNvPr>
            <p:cNvSpPr>
              <a:spLocks/>
            </p:cNvSpPr>
            <p:nvPr>
              <p:custDataLst>
                <p:tags r:id="rId18"/>
              </p:custDataLst>
            </p:nvPr>
          </p:nvSpPr>
          <p:spPr bwMode="auto">
            <a:xfrm>
              <a:off x="3795713" y="2274888"/>
              <a:ext cx="280987" cy="247650"/>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grpFill/>
            <a:ln w="9525" cap="flat" cmpd="sng">
              <a:noFill/>
              <a:prstDash val="solid"/>
              <a:round/>
              <a:headEnd type="none" w="med" len="med"/>
              <a:tailEnd type="none" w="med" len="med"/>
            </a:ln>
            <a:effectLst/>
          </p:spPr>
          <p:txBody>
            <a:bodyPr/>
            <a:lstStyle/>
            <a:p>
              <a:endParaRPr lang="en-US" sz="2178"/>
            </a:p>
          </p:txBody>
        </p:sp>
        <p:sp>
          <p:nvSpPr>
            <p:cNvPr id="28" name="Freeform 24">
              <a:extLst>
                <a:ext uri="{FF2B5EF4-FFF2-40B4-BE49-F238E27FC236}">
                  <a16:creationId xmlns:a16="http://schemas.microsoft.com/office/drawing/2014/main" id="{A80AF20E-EBEC-4C2A-ADD9-2538B4F6479A}"/>
                </a:ext>
              </a:extLst>
            </p:cNvPr>
            <p:cNvSpPr>
              <a:spLocks/>
            </p:cNvSpPr>
            <p:nvPr>
              <p:custDataLst>
                <p:tags r:id="rId19"/>
              </p:custDataLst>
            </p:nvPr>
          </p:nvSpPr>
          <p:spPr bwMode="auto">
            <a:xfrm>
              <a:off x="6427788" y="3013075"/>
              <a:ext cx="207962" cy="455613"/>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grpFill/>
            <a:ln w="9525" cmpd="sng">
              <a:noFill/>
              <a:prstDash val="solid"/>
              <a:round/>
              <a:headEnd/>
              <a:tailEnd/>
            </a:ln>
          </p:spPr>
          <p:txBody>
            <a:bodyPr/>
            <a:lstStyle/>
            <a:p>
              <a:endParaRPr lang="en-US" sz="2178"/>
            </a:p>
          </p:txBody>
        </p:sp>
        <p:sp>
          <p:nvSpPr>
            <p:cNvPr id="29" name="Freeform 25">
              <a:extLst>
                <a:ext uri="{FF2B5EF4-FFF2-40B4-BE49-F238E27FC236}">
                  <a16:creationId xmlns:a16="http://schemas.microsoft.com/office/drawing/2014/main" id="{BDA7FB02-6D14-427E-B96A-BA16B6E6538E}"/>
                </a:ext>
              </a:extLst>
            </p:cNvPr>
            <p:cNvSpPr>
              <a:spLocks/>
            </p:cNvSpPr>
            <p:nvPr>
              <p:custDataLst>
                <p:tags r:id="rId20"/>
              </p:custDataLst>
            </p:nvPr>
          </p:nvSpPr>
          <p:spPr bwMode="auto">
            <a:xfrm>
              <a:off x="2536825" y="5400675"/>
              <a:ext cx="23813" cy="57150"/>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9525" cmpd="sng">
              <a:noFill/>
              <a:prstDash val="solid"/>
              <a:round/>
              <a:headEnd/>
              <a:tailEnd/>
            </a:ln>
          </p:spPr>
          <p:txBody>
            <a:bodyPr/>
            <a:lstStyle/>
            <a:p>
              <a:endParaRPr lang="en-US" sz="2178"/>
            </a:p>
          </p:txBody>
        </p:sp>
        <p:sp>
          <p:nvSpPr>
            <p:cNvPr id="30" name="Line 26" descr="Horizontal dunkel">
              <a:extLst>
                <a:ext uri="{FF2B5EF4-FFF2-40B4-BE49-F238E27FC236}">
                  <a16:creationId xmlns:a16="http://schemas.microsoft.com/office/drawing/2014/main" id="{242F7BBB-4C5F-4F50-AC1B-D285E44A44AC}"/>
                </a:ext>
              </a:extLst>
            </p:cNvPr>
            <p:cNvSpPr>
              <a:spLocks noChangeShapeType="1"/>
            </p:cNvSpPr>
            <p:nvPr>
              <p:custDataLst>
                <p:tags r:id="rId21"/>
              </p:custDataLst>
            </p:nvPr>
          </p:nvSpPr>
          <p:spPr bwMode="auto">
            <a:xfrm>
              <a:off x="998538" y="2322513"/>
              <a:ext cx="3175" cy="9525"/>
            </a:xfrm>
            <a:prstGeom prst="line">
              <a:avLst/>
            </a:prstGeom>
            <a:grpFill/>
            <a:ln w="9525">
              <a:noFill/>
              <a:round/>
              <a:headEnd/>
              <a:tailEnd/>
            </a:ln>
          </p:spPr>
          <p:txBody>
            <a:bodyPr/>
            <a:lstStyle/>
            <a:p>
              <a:endParaRPr lang="en-US" sz="2178"/>
            </a:p>
          </p:txBody>
        </p:sp>
        <p:sp>
          <p:nvSpPr>
            <p:cNvPr id="31" name="Freeform 27">
              <a:extLst>
                <a:ext uri="{FF2B5EF4-FFF2-40B4-BE49-F238E27FC236}">
                  <a16:creationId xmlns:a16="http://schemas.microsoft.com/office/drawing/2014/main" id="{EEF657A3-BEA7-4EE2-B230-DF2E07F860F8}"/>
                </a:ext>
              </a:extLst>
            </p:cNvPr>
            <p:cNvSpPr>
              <a:spLocks/>
            </p:cNvSpPr>
            <p:nvPr>
              <p:custDataLst>
                <p:tags r:id="rId22"/>
              </p:custDataLst>
            </p:nvPr>
          </p:nvSpPr>
          <p:spPr bwMode="auto">
            <a:xfrm>
              <a:off x="1001713" y="2319338"/>
              <a:ext cx="3175" cy="55562"/>
            </a:xfrm>
            <a:custGeom>
              <a:avLst/>
              <a:gdLst>
                <a:gd name="T0" fmla="*/ 0 w 6"/>
                <a:gd name="T1" fmla="*/ 24 h 24"/>
                <a:gd name="T2" fmla="*/ 0 w 6"/>
                <a:gd name="T3" fmla="*/ 19 h 24"/>
                <a:gd name="T4" fmla="*/ 1 w 6"/>
                <a:gd name="T5" fmla="*/ 14 h 24"/>
                <a:gd name="T6" fmla="*/ 3 w 6"/>
                <a:gd name="T7" fmla="*/ 8 h 24"/>
                <a:gd name="T8" fmla="*/ 6 w 6"/>
                <a:gd name="T9" fmla="*/ 0 h 24"/>
              </a:gdLst>
              <a:ahLst/>
              <a:cxnLst>
                <a:cxn ang="0">
                  <a:pos x="T0" y="T1"/>
                </a:cxn>
                <a:cxn ang="0">
                  <a:pos x="T2" y="T3"/>
                </a:cxn>
                <a:cxn ang="0">
                  <a:pos x="T4" y="T5"/>
                </a:cxn>
                <a:cxn ang="0">
                  <a:pos x="T6" y="T7"/>
                </a:cxn>
                <a:cxn ang="0">
                  <a:pos x="T8" y="T9"/>
                </a:cxn>
              </a:cxnLst>
              <a:rect l="0" t="0" r="r" b="b"/>
              <a:pathLst>
                <a:path w="6" h="24">
                  <a:moveTo>
                    <a:pt x="0" y="24"/>
                  </a:moveTo>
                  <a:lnTo>
                    <a:pt x="0" y="19"/>
                  </a:lnTo>
                  <a:lnTo>
                    <a:pt x="1" y="14"/>
                  </a:lnTo>
                  <a:lnTo>
                    <a:pt x="3" y="8"/>
                  </a:lnTo>
                  <a:lnTo>
                    <a:pt x="6" y="0"/>
                  </a:lnTo>
                </a:path>
              </a:pathLst>
            </a:custGeom>
            <a:grpFill/>
            <a:ln w="9525" cmpd="sng">
              <a:noFill/>
              <a:prstDash val="solid"/>
              <a:round/>
              <a:headEnd/>
              <a:tailEnd/>
            </a:ln>
          </p:spPr>
          <p:txBody>
            <a:bodyPr/>
            <a:lstStyle/>
            <a:p>
              <a:endParaRPr lang="en-US" sz="2178"/>
            </a:p>
          </p:txBody>
        </p:sp>
        <p:sp>
          <p:nvSpPr>
            <p:cNvPr id="32" name="Freeform 28">
              <a:extLst>
                <a:ext uri="{FF2B5EF4-FFF2-40B4-BE49-F238E27FC236}">
                  <a16:creationId xmlns:a16="http://schemas.microsoft.com/office/drawing/2014/main" id="{B9EA419F-D1D0-4FDA-9BD4-A16E51255F5A}"/>
                </a:ext>
              </a:extLst>
            </p:cNvPr>
            <p:cNvSpPr>
              <a:spLocks/>
            </p:cNvSpPr>
            <p:nvPr>
              <p:custDataLst>
                <p:tags r:id="rId23"/>
              </p:custDataLst>
            </p:nvPr>
          </p:nvSpPr>
          <p:spPr bwMode="auto">
            <a:xfrm>
              <a:off x="977900" y="2373313"/>
              <a:ext cx="23813" cy="57150"/>
            </a:xfrm>
            <a:custGeom>
              <a:avLst/>
              <a:gdLst>
                <a:gd name="T0" fmla="*/ 0 w 47"/>
                <a:gd name="T1" fmla="*/ 24 h 67"/>
                <a:gd name="T2" fmla="*/ 0 w 47"/>
                <a:gd name="T3" fmla="*/ 30 h 67"/>
                <a:gd name="T4" fmla="*/ 2 w 47"/>
                <a:gd name="T5" fmla="*/ 36 h 67"/>
                <a:gd name="T6" fmla="*/ 3 w 47"/>
                <a:gd name="T7" fmla="*/ 42 h 67"/>
                <a:gd name="T8" fmla="*/ 5 w 47"/>
                <a:gd name="T9" fmla="*/ 47 h 67"/>
                <a:gd name="T10" fmla="*/ 9 w 47"/>
                <a:gd name="T11" fmla="*/ 58 h 67"/>
                <a:gd name="T12" fmla="*/ 14 w 47"/>
                <a:gd name="T13" fmla="*/ 67 h 67"/>
                <a:gd name="T14" fmla="*/ 47 w 47"/>
                <a:gd name="T15" fmla="*/ 67 h 67"/>
                <a:gd name="T16" fmla="*/ 47 w 47"/>
                <a:gd name="T17" fmla="*/ 0 h 67"/>
                <a:gd name="T18" fmla="*/ 36 w 47"/>
                <a:gd name="T19" fmla="*/ 2 h 67"/>
                <a:gd name="T20" fmla="*/ 26 w 47"/>
                <a:gd name="T21" fmla="*/ 4 h 67"/>
                <a:gd name="T22" fmla="*/ 18 w 47"/>
                <a:gd name="T23" fmla="*/ 7 h 67"/>
                <a:gd name="T24" fmla="*/ 11 w 47"/>
                <a:gd name="T25" fmla="*/ 9 h 67"/>
                <a:gd name="T26" fmla="*/ 6 w 47"/>
                <a:gd name="T27" fmla="*/ 12 h 67"/>
                <a:gd name="T28" fmla="*/ 3 w 47"/>
                <a:gd name="T29" fmla="*/ 16 h 67"/>
                <a:gd name="T30" fmla="*/ 0 w 47"/>
                <a:gd name="T31" fmla="*/ 20 h 67"/>
                <a:gd name="T32" fmla="*/ 0 w 47"/>
                <a:gd name="T33" fmla="*/ 2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grpFill/>
            <a:ln w="9525" cmpd="sng">
              <a:noFill/>
              <a:prstDash val="solid"/>
              <a:round/>
              <a:headEnd/>
              <a:tailEnd/>
            </a:ln>
          </p:spPr>
          <p:txBody>
            <a:bodyPr/>
            <a:lstStyle/>
            <a:p>
              <a:endParaRPr lang="en-US" sz="2178"/>
            </a:p>
          </p:txBody>
        </p:sp>
        <p:sp>
          <p:nvSpPr>
            <p:cNvPr id="33" name="Freeform 29">
              <a:extLst>
                <a:ext uri="{FF2B5EF4-FFF2-40B4-BE49-F238E27FC236}">
                  <a16:creationId xmlns:a16="http://schemas.microsoft.com/office/drawing/2014/main" id="{8C35997A-FAC1-4A1B-A074-2828EEFD80E7}"/>
                </a:ext>
              </a:extLst>
            </p:cNvPr>
            <p:cNvSpPr>
              <a:spLocks/>
            </p:cNvSpPr>
            <p:nvPr>
              <p:custDataLst>
                <p:tags r:id="rId24"/>
              </p:custDataLst>
            </p:nvPr>
          </p:nvSpPr>
          <p:spPr bwMode="auto">
            <a:xfrm>
              <a:off x="2303463" y="2368550"/>
              <a:ext cx="49212" cy="57150"/>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grpFill/>
            <a:ln w="9525" cmpd="sng">
              <a:noFill/>
              <a:prstDash val="solid"/>
              <a:round/>
              <a:headEnd/>
              <a:tailEnd/>
            </a:ln>
          </p:spPr>
          <p:txBody>
            <a:bodyPr/>
            <a:lstStyle/>
            <a:p>
              <a:endParaRPr lang="en-US" sz="2178"/>
            </a:p>
          </p:txBody>
        </p:sp>
        <p:sp>
          <p:nvSpPr>
            <p:cNvPr id="34" name="Freeform 30">
              <a:extLst>
                <a:ext uri="{FF2B5EF4-FFF2-40B4-BE49-F238E27FC236}">
                  <a16:creationId xmlns:a16="http://schemas.microsoft.com/office/drawing/2014/main" id="{0A8D38C3-30CD-4117-B3AE-90D51D784988}"/>
                </a:ext>
              </a:extLst>
            </p:cNvPr>
            <p:cNvSpPr>
              <a:spLocks/>
            </p:cNvSpPr>
            <p:nvPr>
              <p:custDataLst>
                <p:tags r:id="rId25"/>
              </p:custDataLst>
            </p:nvPr>
          </p:nvSpPr>
          <p:spPr bwMode="auto">
            <a:xfrm>
              <a:off x="5041900" y="1925638"/>
              <a:ext cx="874713" cy="452437"/>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grpFill/>
            <a:ln w="9525" cmpd="sng">
              <a:noFill/>
              <a:prstDash val="solid"/>
              <a:round/>
              <a:headEnd/>
              <a:tailEnd/>
            </a:ln>
          </p:spPr>
          <p:txBody>
            <a:bodyPr/>
            <a:lstStyle/>
            <a:p>
              <a:endParaRPr lang="en-US" sz="2178"/>
            </a:p>
          </p:txBody>
        </p:sp>
        <p:sp>
          <p:nvSpPr>
            <p:cNvPr id="35" name="Freeform 31">
              <a:extLst>
                <a:ext uri="{FF2B5EF4-FFF2-40B4-BE49-F238E27FC236}">
                  <a16:creationId xmlns:a16="http://schemas.microsoft.com/office/drawing/2014/main" id="{44F28F98-12A4-4328-870A-E6551D9ECB80}"/>
                </a:ext>
              </a:extLst>
            </p:cNvPr>
            <p:cNvSpPr>
              <a:spLocks/>
            </p:cNvSpPr>
            <p:nvPr>
              <p:custDataLst>
                <p:tags r:id="rId26"/>
              </p:custDataLst>
            </p:nvPr>
          </p:nvSpPr>
          <p:spPr bwMode="auto">
            <a:xfrm>
              <a:off x="5272088" y="2228850"/>
              <a:ext cx="409575" cy="249238"/>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grpFill/>
            <a:ln w="9525" cmpd="sng">
              <a:noFill/>
              <a:prstDash val="solid"/>
              <a:round/>
              <a:headEnd/>
              <a:tailEnd/>
            </a:ln>
          </p:spPr>
          <p:txBody>
            <a:bodyPr/>
            <a:lstStyle/>
            <a:p>
              <a:endParaRPr lang="en-US" sz="2178"/>
            </a:p>
          </p:txBody>
        </p:sp>
        <p:sp>
          <p:nvSpPr>
            <p:cNvPr id="36" name="Freeform 32">
              <a:extLst>
                <a:ext uri="{FF2B5EF4-FFF2-40B4-BE49-F238E27FC236}">
                  <a16:creationId xmlns:a16="http://schemas.microsoft.com/office/drawing/2014/main" id="{C7C63A5F-91A4-4A45-B940-218ACD43E811}"/>
                </a:ext>
              </a:extLst>
            </p:cNvPr>
            <p:cNvSpPr>
              <a:spLocks/>
            </p:cNvSpPr>
            <p:nvPr>
              <p:custDataLst>
                <p:tags r:id="rId27"/>
              </p:custDataLst>
            </p:nvPr>
          </p:nvSpPr>
          <p:spPr bwMode="auto">
            <a:xfrm>
              <a:off x="4079875" y="3232150"/>
              <a:ext cx="296863" cy="288925"/>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grpFill/>
            <a:ln w="9525" cmpd="sng">
              <a:noFill/>
              <a:prstDash val="solid"/>
              <a:round/>
              <a:headEnd/>
              <a:tailEnd/>
            </a:ln>
          </p:spPr>
          <p:txBody>
            <a:bodyPr/>
            <a:lstStyle/>
            <a:p>
              <a:endParaRPr lang="en-US" sz="2178"/>
            </a:p>
          </p:txBody>
        </p:sp>
        <p:sp>
          <p:nvSpPr>
            <p:cNvPr id="37" name="Freeform 33">
              <a:extLst>
                <a:ext uri="{FF2B5EF4-FFF2-40B4-BE49-F238E27FC236}">
                  <a16:creationId xmlns:a16="http://schemas.microsoft.com/office/drawing/2014/main" id="{AA21A05C-0FC3-43D3-AF0B-8BBD11464ECF}"/>
                </a:ext>
              </a:extLst>
            </p:cNvPr>
            <p:cNvSpPr>
              <a:spLocks/>
            </p:cNvSpPr>
            <p:nvPr>
              <p:custDataLst>
                <p:tags r:id="rId28"/>
              </p:custDataLst>
            </p:nvPr>
          </p:nvSpPr>
          <p:spPr bwMode="auto">
            <a:xfrm>
              <a:off x="4922838" y="3097213"/>
              <a:ext cx="152400" cy="169862"/>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grpFill/>
            <a:ln w="9525" cmpd="sng">
              <a:noFill/>
              <a:prstDash val="solid"/>
              <a:round/>
              <a:headEnd/>
              <a:tailEnd/>
            </a:ln>
          </p:spPr>
          <p:txBody>
            <a:bodyPr/>
            <a:lstStyle/>
            <a:p>
              <a:endParaRPr lang="en-US" sz="2178"/>
            </a:p>
          </p:txBody>
        </p:sp>
        <p:sp>
          <p:nvSpPr>
            <p:cNvPr id="38" name="Freeform 34">
              <a:extLst>
                <a:ext uri="{FF2B5EF4-FFF2-40B4-BE49-F238E27FC236}">
                  <a16:creationId xmlns:a16="http://schemas.microsoft.com/office/drawing/2014/main" id="{023ACF69-B182-494E-BD2C-D34B1B70BE1B}"/>
                </a:ext>
              </a:extLst>
            </p:cNvPr>
            <p:cNvSpPr>
              <a:spLocks/>
            </p:cNvSpPr>
            <p:nvPr>
              <p:custDataLst>
                <p:tags r:id="rId29"/>
              </p:custDataLst>
            </p:nvPr>
          </p:nvSpPr>
          <p:spPr bwMode="auto">
            <a:xfrm>
              <a:off x="4384675" y="2101850"/>
              <a:ext cx="125413" cy="57150"/>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grpFill/>
            <a:ln w="9525" cap="flat" cmpd="sng">
              <a:noFill/>
              <a:prstDash val="solid"/>
              <a:round/>
              <a:headEnd type="none" w="med" len="med"/>
              <a:tailEnd type="none" w="med" len="med"/>
            </a:ln>
            <a:effectLst/>
          </p:spPr>
          <p:txBody>
            <a:bodyPr/>
            <a:lstStyle/>
            <a:p>
              <a:endParaRPr lang="en-US" sz="2178"/>
            </a:p>
          </p:txBody>
        </p:sp>
        <p:sp>
          <p:nvSpPr>
            <p:cNvPr id="39" name="Freeform 35">
              <a:extLst>
                <a:ext uri="{FF2B5EF4-FFF2-40B4-BE49-F238E27FC236}">
                  <a16:creationId xmlns:a16="http://schemas.microsoft.com/office/drawing/2014/main" id="{08F2F66D-27F1-434D-ADB8-F857BF05DD20}"/>
                </a:ext>
              </a:extLst>
            </p:cNvPr>
            <p:cNvSpPr>
              <a:spLocks/>
            </p:cNvSpPr>
            <p:nvPr>
              <p:custDataLst>
                <p:tags r:id="rId30"/>
              </p:custDataLst>
            </p:nvPr>
          </p:nvSpPr>
          <p:spPr bwMode="auto">
            <a:xfrm>
              <a:off x="5248275" y="2822575"/>
              <a:ext cx="19050" cy="57150"/>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grpFill/>
            <a:ln w="9525" cmpd="sng">
              <a:noFill/>
              <a:prstDash val="solid"/>
              <a:round/>
              <a:headEnd/>
              <a:tailEnd/>
            </a:ln>
          </p:spPr>
          <p:txBody>
            <a:bodyPr/>
            <a:lstStyle/>
            <a:p>
              <a:endParaRPr lang="en-US" sz="2178"/>
            </a:p>
          </p:txBody>
        </p:sp>
        <p:sp>
          <p:nvSpPr>
            <p:cNvPr id="40" name="Freeform 36">
              <a:extLst>
                <a:ext uri="{FF2B5EF4-FFF2-40B4-BE49-F238E27FC236}">
                  <a16:creationId xmlns:a16="http://schemas.microsoft.com/office/drawing/2014/main" id="{E2D0E831-C7FA-4FFB-AF4E-120C108BB53C}"/>
                </a:ext>
              </a:extLst>
            </p:cNvPr>
            <p:cNvSpPr>
              <a:spLocks/>
            </p:cNvSpPr>
            <p:nvPr>
              <p:custDataLst>
                <p:tags r:id="rId31"/>
              </p:custDataLst>
            </p:nvPr>
          </p:nvSpPr>
          <p:spPr bwMode="auto">
            <a:xfrm>
              <a:off x="5367338" y="2827338"/>
              <a:ext cx="14287" cy="57150"/>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grpFill/>
            <a:ln w="9525" cmpd="sng">
              <a:noFill/>
              <a:prstDash val="solid"/>
              <a:round/>
              <a:headEnd/>
              <a:tailEnd/>
            </a:ln>
          </p:spPr>
          <p:txBody>
            <a:bodyPr/>
            <a:lstStyle/>
            <a:p>
              <a:endParaRPr lang="en-US" sz="2178"/>
            </a:p>
          </p:txBody>
        </p:sp>
        <p:sp>
          <p:nvSpPr>
            <p:cNvPr id="41" name="Freeform 37">
              <a:extLst>
                <a:ext uri="{FF2B5EF4-FFF2-40B4-BE49-F238E27FC236}">
                  <a16:creationId xmlns:a16="http://schemas.microsoft.com/office/drawing/2014/main" id="{D3D7382C-C82B-498F-B7BC-DC5FD2446F87}"/>
                </a:ext>
              </a:extLst>
            </p:cNvPr>
            <p:cNvSpPr>
              <a:spLocks/>
            </p:cNvSpPr>
            <p:nvPr>
              <p:custDataLst>
                <p:tags r:id="rId32"/>
              </p:custDataLst>
            </p:nvPr>
          </p:nvSpPr>
          <p:spPr bwMode="auto">
            <a:xfrm>
              <a:off x="6854825" y="3487738"/>
              <a:ext cx="44450" cy="57150"/>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grpFill/>
            <a:ln w="9525" cmpd="sng">
              <a:noFill/>
              <a:prstDash val="solid"/>
              <a:round/>
              <a:headEnd/>
              <a:tailEnd/>
            </a:ln>
          </p:spPr>
          <p:txBody>
            <a:bodyPr/>
            <a:lstStyle/>
            <a:p>
              <a:endParaRPr lang="en-US" sz="2178"/>
            </a:p>
          </p:txBody>
        </p:sp>
        <p:grpSp>
          <p:nvGrpSpPr>
            <p:cNvPr id="42" name="Group 38">
              <a:extLst>
                <a:ext uri="{FF2B5EF4-FFF2-40B4-BE49-F238E27FC236}">
                  <a16:creationId xmlns:a16="http://schemas.microsoft.com/office/drawing/2014/main" id="{A0F19CEE-A238-406B-B294-2B8A5CF77E64}"/>
                </a:ext>
              </a:extLst>
            </p:cNvPr>
            <p:cNvGrpSpPr>
              <a:grpSpLocks/>
            </p:cNvGrpSpPr>
            <p:nvPr>
              <p:custDataLst>
                <p:tags r:id="rId33"/>
              </p:custDataLst>
            </p:nvPr>
          </p:nvGrpSpPr>
          <p:grpSpPr bwMode="auto">
            <a:xfrm>
              <a:off x="2706688" y="5295900"/>
              <a:ext cx="65087" cy="55563"/>
              <a:chOff x="1654" y="3671"/>
              <a:chExt cx="49" cy="17"/>
            </a:xfrm>
            <a:grpFill/>
          </p:grpSpPr>
          <p:sp>
            <p:nvSpPr>
              <p:cNvPr id="553" name="Freeform 39">
                <a:extLst>
                  <a:ext uri="{FF2B5EF4-FFF2-40B4-BE49-F238E27FC236}">
                    <a16:creationId xmlns:a16="http://schemas.microsoft.com/office/drawing/2014/main" id="{7BF2680E-BC13-4C18-A237-2C8A20F35BC2}"/>
                  </a:ext>
                </a:extLst>
              </p:cNvPr>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noFill/>
                <a:prstDash val="solid"/>
                <a:round/>
                <a:headEnd/>
                <a:tailEnd/>
              </a:ln>
            </p:spPr>
            <p:txBody>
              <a:bodyPr/>
              <a:lstStyle/>
              <a:p>
                <a:endParaRPr lang="en-US" sz="2178"/>
              </a:p>
            </p:txBody>
          </p:sp>
          <p:sp>
            <p:nvSpPr>
              <p:cNvPr id="554" name="Freeform 40">
                <a:extLst>
                  <a:ext uri="{FF2B5EF4-FFF2-40B4-BE49-F238E27FC236}">
                    <a16:creationId xmlns:a16="http://schemas.microsoft.com/office/drawing/2014/main" id="{530AD145-829D-4387-ABA7-0033F13BE7EF}"/>
                  </a:ext>
                </a:extLst>
              </p:cNvPr>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noFill/>
                <a:prstDash val="solid"/>
                <a:round/>
                <a:headEnd/>
                <a:tailEnd/>
              </a:ln>
            </p:spPr>
            <p:txBody>
              <a:bodyPr/>
              <a:lstStyle/>
              <a:p>
                <a:endParaRPr lang="en-US" sz="2178"/>
              </a:p>
            </p:txBody>
          </p:sp>
        </p:grpSp>
        <p:sp>
          <p:nvSpPr>
            <p:cNvPr id="43" name="Freeform 41">
              <a:extLst>
                <a:ext uri="{FF2B5EF4-FFF2-40B4-BE49-F238E27FC236}">
                  <a16:creationId xmlns:a16="http://schemas.microsoft.com/office/drawing/2014/main" id="{0A321B9E-DE33-4776-B9E3-3F1BECC95569}"/>
                </a:ext>
              </a:extLst>
            </p:cNvPr>
            <p:cNvSpPr>
              <a:spLocks/>
            </p:cNvSpPr>
            <p:nvPr>
              <p:custDataLst>
                <p:tags r:id="rId34"/>
              </p:custDataLst>
            </p:nvPr>
          </p:nvSpPr>
          <p:spPr bwMode="auto">
            <a:xfrm>
              <a:off x="2354263" y="3090863"/>
              <a:ext cx="31750" cy="58737"/>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grpFill/>
            <a:ln w="9525" cmpd="sng">
              <a:noFill/>
              <a:prstDash val="solid"/>
              <a:round/>
              <a:headEnd/>
              <a:tailEnd/>
            </a:ln>
          </p:spPr>
          <p:txBody>
            <a:bodyPr/>
            <a:lstStyle/>
            <a:p>
              <a:endParaRPr lang="en-US" sz="2178"/>
            </a:p>
          </p:txBody>
        </p:sp>
        <p:sp>
          <p:nvSpPr>
            <p:cNvPr id="44" name="Freeform 42">
              <a:extLst>
                <a:ext uri="{FF2B5EF4-FFF2-40B4-BE49-F238E27FC236}">
                  <a16:creationId xmlns:a16="http://schemas.microsoft.com/office/drawing/2014/main" id="{7DC5E9EC-C6C4-492B-81C0-E76919B80E24}"/>
                </a:ext>
              </a:extLst>
            </p:cNvPr>
            <p:cNvSpPr>
              <a:spLocks/>
            </p:cNvSpPr>
            <p:nvPr>
              <p:custDataLst>
                <p:tags r:id="rId35"/>
              </p:custDataLst>
            </p:nvPr>
          </p:nvSpPr>
          <p:spPr bwMode="auto">
            <a:xfrm>
              <a:off x="2409825" y="3097213"/>
              <a:ext cx="1588" cy="58737"/>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grpFill/>
            <a:ln w="9525" cmpd="sng">
              <a:noFill/>
              <a:prstDash val="solid"/>
              <a:round/>
              <a:headEnd/>
              <a:tailEnd/>
            </a:ln>
          </p:spPr>
          <p:txBody>
            <a:bodyPr/>
            <a:lstStyle/>
            <a:p>
              <a:endParaRPr lang="en-US" sz="2178"/>
            </a:p>
          </p:txBody>
        </p:sp>
        <p:sp>
          <p:nvSpPr>
            <p:cNvPr id="45" name="Freeform 43">
              <a:extLst>
                <a:ext uri="{FF2B5EF4-FFF2-40B4-BE49-F238E27FC236}">
                  <a16:creationId xmlns:a16="http://schemas.microsoft.com/office/drawing/2014/main" id="{11043427-D6A2-4C96-8AD0-2F238220389C}"/>
                </a:ext>
              </a:extLst>
            </p:cNvPr>
            <p:cNvSpPr>
              <a:spLocks/>
            </p:cNvSpPr>
            <p:nvPr>
              <p:custDataLst>
                <p:tags r:id="rId36"/>
              </p:custDataLst>
            </p:nvPr>
          </p:nvSpPr>
          <p:spPr bwMode="auto">
            <a:xfrm>
              <a:off x="2422525" y="3098800"/>
              <a:ext cx="6350" cy="58738"/>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grpFill/>
            <a:ln w="9525" cmpd="sng">
              <a:noFill/>
              <a:prstDash val="solid"/>
              <a:round/>
              <a:headEnd/>
              <a:tailEnd/>
            </a:ln>
          </p:spPr>
          <p:txBody>
            <a:bodyPr/>
            <a:lstStyle/>
            <a:p>
              <a:endParaRPr lang="en-US" sz="2178"/>
            </a:p>
          </p:txBody>
        </p:sp>
        <p:sp>
          <p:nvSpPr>
            <p:cNvPr id="46" name="Freeform 44">
              <a:extLst>
                <a:ext uri="{FF2B5EF4-FFF2-40B4-BE49-F238E27FC236}">
                  <a16:creationId xmlns:a16="http://schemas.microsoft.com/office/drawing/2014/main" id="{AE3D7EDB-AFEB-4030-9E4E-449EC12D28B8}"/>
                </a:ext>
              </a:extLst>
            </p:cNvPr>
            <p:cNvSpPr>
              <a:spLocks/>
            </p:cNvSpPr>
            <p:nvPr>
              <p:custDataLst>
                <p:tags r:id="rId37"/>
              </p:custDataLst>
            </p:nvPr>
          </p:nvSpPr>
          <p:spPr bwMode="auto">
            <a:xfrm>
              <a:off x="2436813" y="3089275"/>
              <a:ext cx="7937" cy="57150"/>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grpFill/>
            <a:ln w="9525" cmpd="sng">
              <a:noFill/>
              <a:prstDash val="solid"/>
              <a:round/>
              <a:headEnd/>
              <a:tailEnd/>
            </a:ln>
          </p:spPr>
          <p:txBody>
            <a:bodyPr/>
            <a:lstStyle/>
            <a:p>
              <a:endParaRPr lang="en-US" sz="2178"/>
            </a:p>
          </p:txBody>
        </p:sp>
        <p:sp>
          <p:nvSpPr>
            <p:cNvPr id="47" name="Freeform 45">
              <a:extLst>
                <a:ext uri="{FF2B5EF4-FFF2-40B4-BE49-F238E27FC236}">
                  <a16:creationId xmlns:a16="http://schemas.microsoft.com/office/drawing/2014/main" id="{CF0FC301-D06A-40C1-9EFE-A659FDFFBF59}"/>
                </a:ext>
              </a:extLst>
            </p:cNvPr>
            <p:cNvSpPr>
              <a:spLocks/>
            </p:cNvSpPr>
            <p:nvPr>
              <p:custDataLst>
                <p:tags r:id="rId38"/>
              </p:custDataLst>
            </p:nvPr>
          </p:nvSpPr>
          <p:spPr bwMode="auto">
            <a:xfrm>
              <a:off x="2416175" y="3081338"/>
              <a:ext cx="11113" cy="58737"/>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grpFill/>
            <a:ln w="9525" cmpd="sng">
              <a:noFill/>
              <a:prstDash val="solid"/>
              <a:round/>
              <a:headEnd/>
              <a:tailEnd/>
            </a:ln>
          </p:spPr>
          <p:txBody>
            <a:bodyPr/>
            <a:lstStyle/>
            <a:p>
              <a:endParaRPr lang="en-US" sz="2178"/>
            </a:p>
          </p:txBody>
        </p:sp>
        <p:sp>
          <p:nvSpPr>
            <p:cNvPr id="48" name="Freeform 46">
              <a:extLst>
                <a:ext uri="{FF2B5EF4-FFF2-40B4-BE49-F238E27FC236}">
                  <a16:creationId xmlns:a16="http://schemas.microsoft.com/office/drawing/2014/main" id="{28B975A5-0C08-459B-B1A0-FFD63477C99C}"/>
                </a:ext>
              </a:extLst>
            </p:cNvPr>
            <p:cNvSpPr>
              <a:spLocks/>
            </p:cNvSpPr>
            <p:nvPr>
              <p:custDataLst>
                <p:tags r:id="rId39"/>
              </p:custDataLst>
            </p:nvPr>
          </p:nvSpPr>
          <p:spPr bwMode="auto">
            <a:xfrm>
              <a:off x="2465388" y="3109913"/>
              <a:ext cx="14287" cy="60325"/>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grpFill/>
            <a:ln w="9525" cmpd="sng">
              <a:noFill/>
              <a:prstDash val="solid"/>
              <a:round/>
              <a:headEnd/>
              <a:tailEnd/>
            </a:ln>
          </p:spPr>
          <p:txBody>
            <a:bodyPr/>
            <a:lstStyle/>
            <a:p>
              <a:endParaRPr lang="en-US" sz="2178"/>
            </a:p>
          </p:txBody>
        </p:sp>
        <p:sp>
          <p:nvSpPr>
            <p:cNvPr id="49" name="Line 47">
              <a:extLst>
                <a:ext uri="{FF2B5EF4-FFF2-40B4-BE49-F238E27FC236}">
                  <a16:creationId xmlns:a16="http://schemas.microsoft.com/office/drawing/2014/main" id="{C7CE4AA7-0E0C-4DA6-A7F1-CB52F5540496}"/>
                </a:ext>
              </a:extLst>
            </p:cNvPr>
            <p:cNvSpPr>
              <a:spLocks noChangeShapeType="1"/>
            </p:cNvSpPr>
            <p:nvPr>
              <p:custDataLst>
                <p:tags r:id="rId40"/>
              </p:custDataLst>
            </p:nvPr>
          </p:nvSpPr>
          <p:spPr bwMode="auto">
            <a:xfrm flipH="1" flipV="1">
              <a:off x="2473325" y="3106738"/>
              <a:ext cx="6350" cy="9525"/>
            </a:xfrm>
            <a:prstGeom prst="line">
              <a:avLst/>
            </a:prstGeom>
            <a:grpFill/>
            <a:ln w="9525">
              <a:noFill/>
              <a:round/>
              <a:headEnd/>
              <a:tailEnd/>
            </a:ln>
          </p:spPr>
          <p:txBody>
            <a:bodyPr/>
            <a:lstStyle/>
            <a:p>
              <a:endParaRPr lang="en-US" sz="2178"/>
            </a:p>
          </p:txBody>
        </p:sp>
        <p:sp>
          <p:nvSpPr>
            <p:cNvPr id="50" name="Line 48">
              <a:extLst>
                <a:ext uri="{FF2B5EF4-FFF2-40B4-BE49-F238E27FC236}">
                  <a16:creationId xmlns:a16="http://schemas.microsoft.com/office/drawing/2014/main" id="{94FACF51-3021-4A35-9E4E-2F30D0948833}"/>
                </a:ext>
              </a:extLst>
            </p:cNvPr>
            <p:cNvSpPr>
              <a:spLocks noChangeShapeType="1"/>
            </p:cNvSpPr>
            <p:nvPr>
              <p:custDataLst>
                <p:tags r:id="rId41"/>
              </p:custDataLst>
            </p:nvPr>
          </p:nvSpPr>
          <p:spPr bwMode="auto">
            <a:xfrm flipH="1">
              <a:off x="2473325" y="3132138"/>
              <a:ext cx="6350" cy="11112"/>
            </a:xfrm>
            <a:prstGeom prst="line">
              <a:avLst/>
            </a:prstGeom>
            <a:grpFill/>
            <a:ln w="9525">
              <a:noFill/>
              <a:round/>
              <a:headEnd/>
              <a:tailEnd/>
            </a:ln>
          </p:spPr>
          <p:txBody>
            <a:bodyPr/>
            <a:lstStyle/>
            <a:p>
              <a:endParaRPr lang="en-US" sz="2178"/>
            </a:p>
          </p:txBody>
        </p:sp>
        <p:sp>
          <p:nvSpPr>
            <p:cNvPr id="51" name="Freeform 49">
              <a:extLst>
                <a:ext uri="{FF2B5EF4-FFF2-40B4-BE49-F238E27FC236}">
                  <a16:creationId xmlns:a16="http://schemas.microsoft.com/office/drawing/2014/main" id="{185456D3-D805-4197-B1BB-0E5F46B4344C}"/>
                </a:ext>
              </a:extLst>
            </p:cNvPr>
            <p:cNvSpPr>
              <a:spLocks/>
            </p:cNvSpPr>
            <p:nvPr>
              <p:custDataLst>
                <p:tags r:id="rId42"/>
              </p:custDataLst>
            </p:nvPr>
          </p:nvSpPr>
          <p:spPr bwMode="auto">
            <a:xfrm>
              <a:off x="2473325" y="3127375"/>
              <a:ext cx="11113" cy="58738"/>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grpFill/>
            <a:ln w="9525" cmpd="sng">
              <a:noFill/>
              <a:prstDash val="solid"/>
              <a:round/>
              <a:headEnd/>
              <a:tailEnd/>
            </a:ln>
          </p:spPr>
          <p:txBody>
            <a:bodyPr/>
            <a:lstStyle/>
            <a:p>
              <a:endParaRPr lang="en-US" sz="2178"/>
            </a:p>
          </p:txBody>
        </p:sp>
        <p:sp>
          <p:nvSpPr>
            <p:cNvPr id="52" name="Freeform 50">
              <a:extLst>
                <a:ext uri="{FF2B5EF4-FFF2-40B4-BE49-F238E27FC236}">
                  <a16:creationId xmlns:a16="http://schemas.microsoft.com/office/drawing/2014/main" id="{7E44A35B-CFCC-44ED-824C-B60BA39D1884}"/>
                </a:ext>
              </a:extLst>
            </p:cNvPr>
            <p:cNvSpPr>
              <a:spLocks/>
            </p:cNvSpPr>
            <p:nvPr>
              <p:custDataLst>
                <p:tags r:id="rId43"/>
              </p:custDataLst>
            </p:nvPr>
          </p:nvSpPr>
          <p:spPr bwMode="auto">
            <a:xfrm>
              <a:off x="2479675" y="3155950"/>
              <a:ext cx="17463" cy="55563"/>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grpFill/>
            <a:ln w="9525" cmpd="sng">
              <a:noFill/>
              <a:prstDash val="solid"/>
              <a:round/>
              <a:headEnd/>
              <a:tailEnd/>
            </a:ln>
          </p:spPr>
          <p:txBody>
            <a:bodyPr/>
            <a:lstStyle/>
            <a:p>
              <a:endParaRPr lang="en-US" sz="2178"/>
            </a:p>
          </p:txBody>
        </p:sp>
        <p:sp>
          <p:nvSpPr>
            <p:cNvPr id="53" name="Freeform 51">
              <a:extLst>
                <a:ext uri="{FF2B5EF4-FFF2-40B4-BE49-F238E27FC236}">
                  <a16:creationId xmlns:a16="http://schemas.microsoft.com/office/drawing/2014/main" id="{EF413324-9E83-4276-AC1C-FA75DF1B7CB0}"/>
                </a:ext>
              </a:extLst>
            </p:cNvPr>
            <p:cNvSpPr>
              <a:spLocks/>
            </p:cNvSpPr>
            <p:nvPr>
              <p:custDataLst>
                <p:tags r:id="rId44"/>
              </p:custDataLst>
            </p:nvPr>
          </p:nvSpPr>
          <p:spPr bwMode="auto">
            <a:xfrm>
              <a:off x="2486025" y="3203575"/>
              <a:ext cx="15875" cy="57150"/>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grpFill/>
            <a:ln w="9525" cmpd="sng">
              <a:noFill/>
              <a:prstDash val="solid"/>
              <a:round/>
              <a:headEnd/>
              <a:tailEnd/>
            </a:ln>
          </p:spPr>
          <p:txBody>
            <a:bodyPr/>
            <a:lstStyle/>
            <a:p>
              <a:endParaRPr lang="en-US" sz="2178"/>
            </a:p>
          </p:txBody>
        </p:sp>
        <p:sp>
          <p:nvSpPr>
            <p:cNvPr id="54" name="Freeform 52">
              <a:extLst>
                <a:ext uri="{FF2B5EF4-FFF2-40B4-BE49-F238E27FC236}">
                  <a16:creationId xmlns:a16="http://schemas.microsoft.com/office/drawing/2014/main" id="{354E87C2-34C4-4115-8463-A3BDA11663E0}"/>
                </a:ext>
              </a:extLst>
            </p:cNvPr>
            <p:cNvSpPr>
              <a:spLocks/>
            </p:cNvSpPr>
            <p:nvPr>
              <p:custDataLst>
                <p:tags r:id="rId45"/>
              </p:custDataLst>
            </p:nvPr>
          </p:nvSpPr>
          <p:spPr bwMode="auto">
            <a:xfrm>
              <a:off x="2495550" y="3228975"/>
              <a:ext cx="3175" cy="57150"/>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grpFill/>
            <a:ln w="9525" cmpd="sng">
              <a:noFill/>
              <a:prstDash val="solid"/>
              <a:round/>
              <a:headEnd/>
              <a:tailEnd/>
            </a:ln>
          </p:spPr>
          <p:txBody>
            <a:bodyPr/>
            <a:lstStyle/>
            <a:p>
              <a:endParaRPr lang="en-US" sz="2178"/>
            </a:p>
          </p:txBody>
        </p:sp>
        <p:sp>
          <p:nvSpPr>
            <p:cNvPr id="55" name="Freeform 53">
              <a:extLst>
                <a:ext uri="{FF2B5EF4-FFF2-40B4-BE49-F238E27FC236}">
                  <a16:creationId xmlns:a16="http://schemas.microsoft.com/office/drawing/2014/main" id="{7490A4EB-F79E-4F98-9B97-1F63FA6F5BB5}"/>
                </a:ext>
              </a:extLst>
            </p:cNvPr>
            <p:cNvSpPr>
              <a:spLocks/>
            </p:cNvSpPr>
            <p:nvPr>
              <p:custDataLst>
                <p:tags r:id="rId46"/>
              </p:custDataLst>
            </p:nvPr>
          </p:nvSpPr>
          <p:spPr bwMode="auto">
            <a:xfrm>
              <a:off x="2517775" y="3259138"/>
              <a:ext cx="1588" cy="55562"/>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grpFill/>
            <a:ln w="9525" cmpd="sng">
              <a:noFill/>
              <a:prstDash val="solid"/>
              <a:round/>
              <a:headEnd/>
              <a:tailEnd/>
            </a:ln>
          </p:spPr>
          <p:txBody>
            <a:bodyPr/>
            <a:lstStyle/>
            <a:p>
              <a:endParaRPr lang="en-US" sz="2178"/>
            </a:p>
          </p:txBody>
        </p:sp>
        <p:sp>
          <p:nvSpPr>
            <p:cNvPr id="56" name="Freeform 54">
              <a:extLst>
                <a:ext uri="{FF2B5EF4-FFF2-40B4-BE49-F238E27FC236}">
                  <a16:creationId xmlns:a16="http://schemas.microsoft.com/office/drawing/2014/main" id="{C8A6F641-41F3-476D-91D8-555CF729C6D0}"/>
                </a:ext>
              </a:extLst>
            </p:cNvPr>
            <p:cNvSpPr>
              <a:spLocks/>
            </p:cNvSpPr>
            <p:nvPr>
              <p:custDataLst>
                <p:tags r:id="rId47"/>
              </p:custDataLst>
            </p:nvPr>
          </p:nvSpPr>
          <p:spPr bwMode="auto">
            <a:xfrm>
              <a:off x="2479675" y="3271838"/>
              <a:ext cx="15875" cy="58737"/>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grpFill/>
            <a:ln w="9525" cmpd="sng">
              <a:noFill/>
              <a:prstDash val="solid"/>
              <a:round/>
              <a:headEnd/>
              <a:tailEnd/>
            </a:ln>
          </p:spPr>
          <p:txBody>
            <a:bodyPr/>
            <a:lstStyle/>
            <a:p>
              <a:endParaRPr lang="en-US" sz="2178"/>
            </a:p>
          </p:txBody>
        </p:sp>
        <p:sp>
          <p:nvSpPr>
            <p:cNvPr id="57" name="Freeform 55">
              <a:extLst>
                <a:ext uri="{FF2B5EF4-FFF2-40B4-BE49-F238E27FC236}">
                  <a16:creationId xmlns:a16="http://schemas.microsoft.com/office/drawing/2014/main" id="{04BF6E86-CB78-4AC9-A83D-E9355831A485}"/>
                </a:ext>
              </a:extLst>
            </p:cNvPr>
            <p:cNvSpPr>
              <a:spLocks/>
            </p:cNvSpPr>
            <p:nvPr>
              <p:custDataLst>
                <p:tags r:id="rId48"/>
              </p:custDataLst>
            </p:nvPr>
          </p:nvSpPr>
          <p:spPr bwMode="auto">
            <a:xfrm>
              <a:off x="2465388" y="3336925"/>
              <a:ext cx="23812" cy="57150"/>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grpFill/>
            <a:ln w="9525" cmpd="sng">
              <a:noFill/>
              <a:prstDash val="solid"/>
              <a:round/>
              <a:headEnd/>
              <a:tailEnd/>
            </a:ln>
          </p:spPr>
          <p:txBody>
            <a:bodyPr/>
            <a:lstStyle/>
            <a:p>
              <a:endParaRPr lang="en-US" sz="2178"/>
            </a:p>
          </p:txBody>
        </p:sp>
        <p:sp>
          <p:nvSpPr>
            <p:cNvPr id="58" name="Freeform 56">
              <a:extLst>
                <a:ext uri="{FF2B5EF4-FFF2-40B4-BE49-F238E27FC236}">
                  <a16:creationId xmlns:a16="http://schemas.microsoft.com/office/drawing/2014/main" id="{4C6BFBF1-14B2-48F1-A65C-DFCCB759808C}"/>
                </a:ext>
              </a:extLst>
            </p:cNvPr>
            <p:cNvSpPr>
              <a:spLocks/>
            </p:cNvSpPr>
            <p:nvPr>
              <p:custDataLst>
                <p:tags r:id="rId49"/>
              </p:custDataLst>
            </p:nvPr>
          </p:nvSpPr>
          <p:spPr bwMode="auto">
            <a:xfrm>
              <a:off x="2484438" y="3313113"/>
              <a:ext cx="12700" cy="57150"/>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grpFill/>
            <a:ln w="9525" cmpd="sng">
              <a:noFill/>
              <a:prstDash val="solid"/>
              <a:round/>
              <a:headEnd/>
              <a:tailEnd/>
            </a:ln>
          </p:spPr>
          <p:txBody>
            <a:bodyPr/>
            <a:lstStyle/>
            <a:p>
              <a:endParaRPr lang="en-US" sz="2178"/>
            </a:p>
          </p:txBody>
        </p:sp>
        <p:sp>
          <p:nvSpPr>
            <p:cNvPr id="59" name="Freeform 57">
              <a:extLst>
                <a:ext uri="{FF2B5EF4-FFF2-40B4-BE49-F238E27FC236}">
                  <a16:creationId xmlns:a16="http://schemas.microsoft.com/office/drawing/2014/main" id="{F75BAB56-D7B2-4314-A619-ED1AD2C96212}"/>
                </a:ext>
              </a:extLst>
            </p:cNvPr>
            <p:cNvSpPr>
              <a:spLocks/>
            </p:cNvSpPr>
            <p:nvPr>
              <p:custDataLst>
                <p:tags r:id="rId50"/>
              </p:custDataLst>
            </p:nvPr>
          </p:nvSpPr>
          <p:spPr bwMode="auto">
            <a:xfrm>
              <a:off x="1966913" y="2984500"/>
              <a:ext cx="15875" cy="57150"/>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grpFill/>
            <a:ln w="9525" cmpd="sng">
              <a:noFill/>
              <a:prstDash val="solid"/>
              <a:round/>
              <a:headEnd/>
              <a:tailEnd/>
            </a:ln>
          </p:spPr>
          <p:txBody>
            <a:bodyPr/>
            <a:lstStyle/>
            <a:p>
              <a:endParaRPr lang="en-US" sz="2178"/>
            </a:p>
          </p:txBody>
        </p:sp>
        <p:grpSp>
          <p:nvGrpSpPr>
            <p:cNvPr id="60" name="Group 58">
              <a:extLst>
                <a:ext uri="{FF2B5EF4-FFF2-40B4-BE49-F238E27FC236}">
                  <a16:creationId xmlns:a16="http://schemas.microsoft.com/office/drawing/2014/main" id="{8A52A964-444C-41E7-9476-AEDBBB5C87E0}"/>
                </a:ext>
              </a:extLst>
            </p:cNvPr>
            <p:cNvGrpSpPr>
              <a:grpSpLocks/>
            </p:cNvGrpSpPr>
            <p:nvPr>
              <p:custDataLst>
                <p:tags r:id="rId51"/>
              </p:custDataLst>
            </p:nvPr>
          </p:nvGrpSpPr>
          <p:grpSpPr bwMode="auto">
            <a:xfrm>
              <a:off x="2092325" y="2817813"/>
              <a:ext cx="131763" cy="195262"/>
              <a:chOff x="1199" y="2121"/>
              <a:chExt cx="97" cy="123"/>
            </a:xfrm>
            <a:grpFill/>
          </p:grpSpPr>
          <p:sp>
            <p:nvSpPr>
              <p:cNvPr id="543" name="Freeform 59">
                <a:extLst>
                  <a:ext uri="{FF2B5EF4-FFF2-40B4-BE49-F238E27FC236}">
                    <a16:creationId xmlns:a16="http://schemas.microsoft.com/office/drawing/2014/main" id="{6EDD6275-F5B7-4804-81A3-4031705A573A}"/>
                  </a:ext>
                </a:extLst>
              </p:cNvPr>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noFill/>
                <a:prstDash val="solid"/>
                <a:round/>
                <a:headEnd/>
                <a:tailEnd/>
              </a:ln>
            </p:spPr>
            <p:txBody>
              <a:bodyPr/>
              <a:lstStyle/>
              <a:p>
                <a:endParaRPr lang="en-US" sz="2178"/>
              </a:p>
            </p:txBody>
          </p:sp>
          <p:sp>
            <p:nvSpPr>
              <p:cNvPr id="544" name="Freeform 60">
                <a:extLst>
                  <a:ext uri="{FF2B5EF4-FFF2-40B4-BE49-F238E27FC236}">
                    <a16:creationId xmlns:a16="http://schemas.microsoft.com/office/drawing/2014/main" id="{D96B9773-4D0B-420E-9CDF-3D676018F007}"/>
                  </a:ext>
                </a:extLst>
              </p:cNvPr>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noFill/>
                <a:prstDash val="solid"/>
                <a:round/>
                <a:headEnd/>
                <a:tailEnd/>
              </a:ln>
            </p:spPr>
            <p:txBody>
              <a:bodyPr/>
              <a:lstStyle/>
              <a:p>
                <a:endParaRPr lang="en-US" sz="2178"/>
              </a:p>
            </p:txBody>
          </p:sp>
          <p:sp>
            <p:nvSpPr>
              <p:cNvPr id="545" name="Freeform 61">
                <a:extLst>
                  <a:ext uri="{FF2B5EF4-FFF2-40B4-BE49-F238E27FC236}">
                    <a16:creationId xmlns:a16="http://schemas.microsoft.com/office/drawing/2014/main" id="{0CE7DDAB-478D-458C-BC63-F781DF554581}"/>
                  </a:ext>
                </a:extLst>
              </p:cNvPr>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noFill/>
                <a:prstDash val="solid"/>
                <a:round/>
                <a:headEnd/>
                <a:tailEnd/>
              </a:ln>
            </p:spPr>
            <p:txBody>
              <a:bodyPr/>
              <a:lstStyle/>
              <a:p>
                <a:endParaRPr lang="en-US" sz="2178"/>
              </a:p>
            </p:txBody>
          </p:sp>
          <p:sp>
            <p:nvSpPr>
              <p:cNvPr id="546" name="Freeform 62">
                <a:extLst>
                  <a:ext uri="{FF2B5EF4-FFF2-40B4-BE49-F238E27FC236}">
                    <a16:creationId xmlns:a16="http://schemas.microsoft.com/office/drawing/2014/main" id="{48CF3AD2-E50C-44A6-9B44-B480028F6344}"/>
                  </a:ext>
                </a:extLst>
              </p:cNvPr>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noFill/>
                <a:prstDash val="solid"/>
                <a:round/>
                <a:headEnd/>
                <a:tailEnd/>
              </a:ln>
            </p:spPr>
            <p:txBody>
              <a:bodyPr/>
              <a:lstStyle/>
              <a:p>
                <a:endParaRPr lang="en-US" sz="2178"/>
              </a:p>
            </p:txBody>
          </p:sp>
          <p:sp>
            <p:nvSpPr>
              <p:cNvPr id="547" name="Freeform 63">
                <a:extLst>
                  <a:ext uri="{FF2B5EF4-FFF2-40B4-BE49-F238E27FC236}">
                    <a16:creationId xmlns:a16="http://schemas.microsoft.com/office/drawing/2014/main" id="{18946985-B842-4573-A5B0-54B2005DE979}"/>
                  </a:ext>
                </a:extLst>
              </p:cNvPr>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noFill/>
                <a:prstDash val="solid"/>
                <a:round/>
                <a:headEnd/>
                <a:tailEnd/>
              </a:ln>
            </p:spPr>
            <p:txBody>
              <a:bodyPr/>
              <a:lstStyle/>
              <a:p>
                <a:endParaRPr lang="en-US" sz="2178"/>
              </a:p>
            </p:txBody>
          </p:sp>
          <p:sp>
            <p:nvSpPr>
              <p:cNvPr id="548" name="Freeform 64">
                <a:extLst>
                  <a:ext uri="{FF2B5EF4-FFF2-40B4-BE49-F238E27FC236}">
                    <a16:creationId xmlns:a16="http://schemas.microsoft.com/office/drawing/2014/main" id="{217D385F-19E6-45E5-BC02-DAD6EDA4A530}"/>
                  </a:ext>
                </a:extLst>
              </p:cNvPr>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noFill/>
                <a:prstDash val="solid"/>
                <a:round/>
                <a:headEnd/>
                <a:tailEnd/>
              </a:ln>
            </p:spPr>
            <p:txBody>
              <a:bodyPr/>
              <a:lstStyle/>
              <a:p>
                <a:endParaRPr lang="en-US" sz="2178"/>
              </a:p>
            </p:txBody>
          </p:sp>
          <p:sp>
            <p:nvSpPr>
              <p:cNvPr id="549" name="Freeform 65">
                <a:extLst>
                  <a:ext uri="{FF2B5EF4-FFF2-40B4-BE49-F238E27FC236}">
                    <a16:creationId xmlns:a16="http://schemas.microsoft.com/office/drawing/2014/main" id="{78CA4F25-7F0A-4D08-ACB8-A0A041AABF3E}"/>
                  </a:ext>
                </a:extLst>
              </p:cNvPr>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noFill/>
                <a:prstDash val="solid"/>
                <a:round/>
                <a:headEnd/>
                <a:tailEnd/>
              </a:ln>
            </p:spPr>
            <p:txBody>
              <a:bodyPr/>
              <a:lstStyle/>
              <a:p>
                <a:endParaRPr lang="en-US" sz="2178"/>
              </a:p>
            </p:txBody>
          </p:sp>
          <p:sp>
            <p:nvSpPr>
              <p:cNvPr id="550" name="Freeform 66">
                <a:extLst>
                  <a:ext uri="{FF2B5EF4-FFF2-40B4-BE49-F238E27FC236}">
                    <a16:creationId xmlns:a16="http://schemas.microsoft.com/office/drawing/2014/main" id="{870BB017-1AEE-431F-890C-E9420874C4DE}"/>
                  </a:ext>
                </a:extLst>
              </p:cNvPr>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noFill/>
                <a:prstDash val="solid"/>
                <a:round/>
                <a:headEnd/>
                <a:tailEnd/>
              </a:ln>
            </p:spPr>
            <p:txBody>
              <a:bodyPr/>
              <a:lstStyle/>
              <a:p>
                <a:endParaRPr lang="en-US" sz="2178"/>
              </a:p>
            </p:txBody>
          </p:sp>
          <p:sp>
            <p:nvSpPr>
              <p:cNvPr id="551" name="Freeform 67">
                <a:extLst>
                  <a:ext uri="{FF2B5EF4-FFF2-40B4-BE49-F238E27FC236}">
                    <a16:creationId xmlns:a16="http://schemas.microsoft.com/office/drawing/2014/main" id="{B33ABFB2-3AB3-4D7E-8B5C-407941B0C90F}"/>
                  </a:ext>
                </a:extLst>
              </p:cNvPr>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noFill/>
                <a:prstDash val="solid"/>
                <a:round/>
                <a:headEnd/>
                <a:tailEnd/>
              </a:ln>
            </p:spPr>
            <p:txBody>
              <a:bodyPr/>
              <a:lstStyle/>
              <a:p>
                <a:endParaRPr lang="en-US" sz="2178"/>
              </a:p>
            </p:txBody>
          </p:sp>
          <p:sp>
            <p:nvSpPr>
              <p:cNvPr id="552" name="Freeform 68">
                <a:extLst>
                  <a:ext uri="{FF2B5EF4-FFF2-40B4-BE49-F238E27FC236}">
                    <a16:creationId xmlns:a16="http://schemas.microsoft.com/office/drawing/2014/main" id="{A5703EC3-3B68-4940-8429-7DEA315ECBDE}"/>
                  </a:ext>
                </a:extLst>
              </p:cNvPr>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noFill/>
                <a:prstDash val="solid"/>
                <a:round/>
                <a:headEnd/>
                <a:tailEnd/>
              </a:ln>
            </p:spPr>
            <p:txBody>
              <a:bodyPr/>
              <a:lstStyle/>
              <a:p>
                <a:endParaRPr lang="en-US" sz="2178"/>
              </a:p>
            </p:txBody>
          </p:sp>
        </p:grpSp>
        <p:sp>
          <p:nvSpPr>
            <p:cNvPr id="61" name="Freeform 69">
              <a:extLst>
                <a:ext uri="{FF2B5EF4-FFF2-40B4-BE49-F238E27FC236}">
                  <a16:creationId xmlns:a16="http://schemas.microsoft.com/office/drawing/2014/main" id="{626545C7-836A-4CB4-8FD6-1D73E5FA1B58}"/>
                </a:ext>
              </a:extLst>
            </p:cNvPr>
            <p:cNvSpPr>
              <a:spLocks/>
            </p:cNvSpPr>
            <p:nvPr>
              <p:custDataLst>
                <p:tags r:id="rId52"/>
              </p:custDataLst>
            </p:nvPr>
          </p:nvSpPr>
          <p:spPr bwMode="auto">
            <a:xfrm>
              <a:off x="7905750" y="4244975"/>
              <a:ext cx="12700" cy="57150"/>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grpFill/>
            <a:ln w="9525" cmpd="sng">
              <a:noFill/>
              <a:prstDash val="solid"/>
              <a:round/>
              <a:headEnd/>
              <a:tailEnd/>
            </a:ln>
          </p:spPr>
          <p:txBody>
            <a:bodyPr/>
            <a:lstStyle/>
            <a:p>
              <a:endParaRPr lang="en-US" sz="2178"/>
            </a:p>
          </p:txBody>
        </p:sp>
        <p:sp>
          <p:nvSpPr>
            <p:cNvPr id="62" name="Freeform 70">
              <a:extLst>
                <a:ext uri="{FF2B5EF4-FFF2-40B4-BE49-F238E27FC236}">
                  <a16:creationId xmlns:a16="http://schemas.microsoft.com/office/drawing/2014/main" id="{B9EF5D54-F9DC-4F01-853C-D3E5B3001DBA}"/>
                </a:ext>
              </a:extLst>
            </p:cNvPr>
            <p:cNvSpPr>
              <a:spLocks/>
            </p:cNvSpPr>
            <p:nvPr>
              <p:custDataLst>
                <p:tags r:id="rId53"/>
              </p:custDataLst>
            </p:nvPr>
          </p:nvSpPr>
          <p:spPr bwMode="auto">
            <a:xfrm>
              <a:off x="7915275" y="4335463"/>
              <a:ext cx="9525" cy="58737"/>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grpFill/>
            <a:ln w="9525" cmpd="sng">
              <a:noFill/>
              <a:prstDash val="solid"/>
              <a:round/>
              <a:headEnd/>
              <a:tailEnd/>
            </a:ln>
          </p:spPr>
          <p:txBody>
            <a:bodyPr/>
            <a:lstStyle/>
            <a:p>
              <a:endParaRPr lang="en-US" sz="2178"/>
            </a:p>
          </p:txBody>
        </p:sp>
        <p:sp>
          <p:nvSpPr>
            <p:cNvPr id="63" name="Freeform 71">
              <a:extLst>
                <a:ext uri="{FF2B5EF4-FFF2-40B4-BE49-F238E27FC236}">
                  <a16:creationId xmlns:a16="http://schemas.microsoft.com/office/drawing/2014/main" id="{72948EEF-AF00-4A35-8D28-288974E126FE}"/>
                </a:ext>
              </a:extLst>
            </p:cNvPr>
            <p:cNvSpPr>
              <a:spLocks/>
            </p:cNvSpPr>
            <p:nvPr>
              <p:custDataLst>
                <p:tags r:id="rId54"/>
              </p:custDataLst>
            </p:nvPr>
          </p:nvSpPr>
          <p:spPr bwMode="auto">
            <a:xfrm>
              <a:off x="8029575" y="4244975"/>
              <a:ext cx="77788" cy="130175"/>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grpFill/>
            <a:ln w="9525" cmpd="sng">
              <a:noFill/>
              <a:prstDash val="solid"/>
              <a:round/>
              <a:headEnd/>
              <a:tailEnd/>
            </a:ln>
          </p:spPr>
          <p:txBody>
            <a:bodyPr/>
            <a:lstStyle/>
            <a:p>
              <a:endParaRPr lang="en-US" sz="2178"/>
            </a:p>
          </p:txBody>
        </p:sp>
        <p:sp>
          <p:nvSpPr>
            <p:cNvPr id="64" name="Freeform 72">
              <a:extLst>
                <a:ext uri="{FF2B5EF4-FFF2-40B4-BE49-F238E27FC236}">
                  <a16:creationId xmlns:a16="http://schemas.microsoft.com/office/drawing/2014/main" id="{FAAA5810-5084-42D3-AF2C-B1E72040F1D6}"/>
                </a:ext>
              </a:extLst>
            </p:cNvPr>
            <p:cNvSpPr>
              <a:spLocks/>
            </p:cNvSpPr>
            <p:nvPr>
              <p:custDataLst>
                <p:tags r:id="rId55"/>
              </p:custDataLst>
            </p:nvPr>
          </p:nvSpPr>
          <p:spPr bwMode="auto">
            <a:xfrm>
              <a:off x="8029575" y="4217988"/>
              <a:ext cx="14288" cy="57150"/>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grpFill/>
            <a:ln w="9525" cmpd="sng">
              <a:noFill/>
              <a:prstDash val="solid"/>
              <a:round/>
              <a:headEnd/>
              <a:tailEnd/>
            </a:ln>
          </p:spPr>
          <p:txBody>
            <a:bodyPr/>
            <a:lstStyle/>
            <a:p>
              <a:endParaRPr lang="en-US" sz="2178"/>
            </a:p>
          </p:txBody>
        </p:sp>
        <p:grpSp>
          <p:nvGrpSpPr>
            <p:cNvPr id="65" name="Group 73">
              <a:extLst>
                <a:ext uri="{FF2B5EF4-FFF2-40B4-BE49-F238E27FC236}">
                  <a16:creationId xmlns:a16="http://schemas.microsoft.com/office/drawing/2014/main" id="{D30A98DC-4BAF-42CA-97EE-25AFBA16B01F}"/>
                </a:ext>
              </a:extLst>
            </p:cNvPr>
            <p:cNvGrpSpPr>
              <a:grpSpLocks/>
            </p:cNvGrpSpPr>
            <p:nvPr>
              <p:custDataLst>
                <p:tags r:id="rId56"/>
              </p:custDataLst>
            </p:nvPr>
          </p:nvGrpSpPr>
          <p:grpSpPr bwMode="auto">
            <a:xfrm>
              <a:off x="7720013" y="4738688"/>
              <a:ext cx="458787" cy="404812"/>
              <a:chOff x="5372" y="3323"/>
              <a:chExt cx="341" cy="253"/>
            </a:xfrm>
            <a:grpFill/>
          </p:grpSpPr>
          <p:sp>
            <p:nvSpPr>
              <p:cNvPr id="540" name="Freeform 74">
                <a:extLst>
                  <a:ext uri="{FF2B5EF4-FFF2-40B4-BE49-F238E27FC236}">
                    <a16:creationId xmlns:a16="http://schemas.microsoft.com/office/drawing/2014/main" id="{BBDEE529-21B4-4A9F-B40C-84CBE324F436}"/>
                  </a:ext>
                </a:extLst>
              </p:cNvPr>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541" name="Freeform 75">
                <a:extLst>
                  <a:ext uri="{FF2B5EF4-FFF2-40B4-BE49-F238E27FC236}">
                    <a16:creationId xmlns:a16="http://schemas.microsoft.com/office/drawing/2014/main" id="{80124A49-23FB-482C-9862-CCDB77494879}"/>
                  </a:ext>
                </a:extLst>
              </p:cNvPr>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542" name="Freeform 76">
                <a:extLst>
                  <a:ext uri="{FF2B5EF4-FFF2-40B4-BE49-F238E27FC236}">
                    <a16:creationId xmlns:a16="http://schemas.microsoft.com/office/drawing/2014/main" id="{EF709D74-561B-4076-BD75-CB98396E50F5}"/>
                  </a:ext>
                </a:extLst>
              </p:cNvPr>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grpSp>
        <p:sp>
          <p:nvSpPr>
            <p:cNvPr id="66" name="Freeform 77">
              <a:extLst>
                <a:ext uri="{FF2B5EF4-FFF2-40B4-BE49-F238E27FC236}">
                  <a16:creationId xmlns:a16="http://schemas.microsoft.com/office/drawing/2014/main" id="{AE67C3CF-AACA-440D-9B44-E37CD18FCD71}"/>
                </a:ext>
              </a:extLst>
            </p:cNvPr>
            <p:cNvSpPr>
              <a:spLocks/>
            </p:cNvSpPr>
            <p:nvPr>
              <p:custDataLst>
                <p:tags r:id="rId57"/>
              </p:custDataLst>
            </p:nvPr>
          </p:nvSpPr>
          <p:spPr bwMode="auto">
            <a:xfrm>
              <a:off x="7362825" y="3395663"/>
              <a:ext cx="9525" cy="57150"/>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grpFill/>
            <a:ln w="9525" cmpd="sng">
              <a:noFill/>
              <a:prstDash val="solid"/>
              <a:round/>
              <a:headEnd/>
              <a:tailEnd/>
            </a:ln>
          </p:spPr>
          <p:txBody>
            <a:bodyPr/>
            <a:lstStyle/>
            <a:p>
              <a:endParaRPr lang="en-US" sz="2178"/>
            </a:p>
          </p:txBody>
        </p:sp>
        <p:sp>
          <p:nvSpPr>
            <p:cNvPr id="67" name="Freeform 78">
              <a:extLst>
                <a:ext uri="{FF2B5EF4-FFF2-40B4-BE49-F238E27FC236}">
                  <a16:creationId xmlns:a16="http://schemas.microsoft.com/office/drawing/2014/main" id="{0B0BD854-AD76-4891-ACD0-F8BBC1854E22}"/>
                </a:ext>
              </a:extLst>
            </p:cNvPr>
            <p:cNvSpPr>
              <a:spLocks/>
            </p:cNvSpPr>
            <p:nvPr>
              <p:custDataLst>
                <p:tags r:id="rId58"/>
              </p:custDataLst>
            </p:nvPr>
          </p:nvSpPr>
          <p:spPr bwMode="auto">
            <a:xfrm>
              <a:off x="8089900" y="4297363"/>
              <a:ext cx="14288" cy="57150"/>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grpFill/>
            <a:ln w="9525" cmpd="sng">
              <a:noFill/>
              <a:prstDash val="solid"/>
              <a:round/>
              <a:headEnd/>
              <a:tailEnd/>
            </a:ln>
          </p:spPr>
          <p:txBody>
            <a:bodyPr/>
            <a:lstStyle/>
            <a:p>
              <a:endParaRPr lang="en-US" sz="2178"/>
            </a:p>
          </p:txBody>
        </p:sp>
        <p:sp>
          <p:nvSpPr>
            <p:cNvPr id="68" name="Freeform 79">
              <a:extLst>
                <a:ext uri="{FF2B5EF4-FFF2-40B4-BE49-F238E27FC236}">
                  <a16:creationId xmlns:a16="http://schemas.microsoft.com/office/drawing/2014/main" id="{2750FA31-9554-403E-9957-F519AE762DA1}"/>
                </a:ext>
              </a:extLst>
            </p:cNvPr>
            <p:cNvSpPr>
              <a:spLocks/>
            </p:cNvSpPr>
            <p:nvPr>
              <p:custDataLst>
                <p:tags r:id="rId59"/>
              </p:custDataLst>
            </p:nvPr>
          </p:nvSpPr>
          <p:spPr bwMode="auto">
            <a:xfrm>
              <a:off x="8112125" y="4306888"/>
              <a:ext cx="17463" cy="58737"/>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grpFill/>
            <a:ln w="9525" cmpd="sng">
              <a:noFill/>
              <a:prstDash val="solid"/>
              <a:round/>
              <a:headEnd/>
              <a:tailEnd/>
            </a:ln>
          </p:spPr>
          <p:txBody>
            <a:bodyPr/>
            <a:lstStyle/>
            <a:p>
              <a:endParaRPr lang="en-US" sz="2178"/>
            </a:p>
          </p:txBody>
        </p:sp>
        <p:sp>
          <p:nvSpPr>
            <p:cNvPr id="69" name="Freeform 80">
              <a:extLst>
                <a:ext uri="{FF2B5EF4-FFF2-40B4-BE49-F238E27FC236}">
                  <a16:creationId xmlns:a16="http://schemas.microsoft.com/office/drawing/2014/main" id="{DE00D84D-80F9-46E7-8F65-A69134966D24}"/>
                </a:ext>
              </a:extLst>
            </p:cNvPr>
            <p:cNvSpPr>
              <a:spLocks/>
            </p:cNvSpPr>
            <p:nvPr>
              <p:custDataLst>
                <p:tags r:id="rId60"/>
              </p:custDataLst>
            </p:nvPr>
          </p:nvSpPr>
          <p:spPr bwMode="auto">
            <a:xfrm>
              <a:off x="7426325" y="3384550"/>
              <a:ext cx="1588" cy="55563"/>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grpFill/>
            <a:ln w="9525" cmpd="sng">
              <a:noFill/>
              <a:prstDash val="solid"/>
              <a:round/>
              <a:headEnd/>
              <a:tailEnd/>
            </a:ln>
          </p:spPr>
          <p:txBody>
            <a:bodyPr/>
            <a:lstStyle/>
            <a:p>
              <a:endParaRPr lang="en-US" sz="2178"/>
            </a:p>
          </p:txBody>
        </p:sp>
        <p:sp>
          <p:nvSpPr>
            <p:cNvPr id="70" name="Freeform 81">
              <a:extLst>
                <a:ext uri="{FF2B5EF4-FFF2-40B4-BE49-F238E27FC236}">
                  <a16:creationId xmlns:a16="http://schemas.microsoft.com/office/drawing/2014/main" id="{DEDABFDC-D8B5-4FEA-BA40-E9CD56DDA729}"/>
                </a:ext>
              </a:extLst>
            </p:cNvPr>
            <p:cNvSpPr>
              <a:spLocks/>
            </p:cNvSpPr>
            <p:nvPr>
              <p:custDataLst>
                <p:tags r:id="rId61"/>
              </p:custDataLst>
            </p:nvPr>
          </p:nvSpPr>
          <p:spPr bwMode="auto">
            <a:xfrm>
              <a:off x="7485063" y="3328988"/>
              <a:ext cx="6350" cy="57150"/>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grpFill/>
            <a:ln w="9525" cmpd="sng">
              <a:noFill/>
              <a:prstDash val="solid"/>
              <a:round/>
              <a:headEnd/>
              <a:tailEnd/>
            </a:ln>
          </p:spPr>
          <p:txBody>
            <a:bodyPr/>
            <a:lstStyle/>
            <a:p>
              <a:endParaRPr lang="en-US" sz="2178"/>
            </a:p>
          </p:txBody>
        </p:sp>
        <p:sp>
          <p:nvSpPr>
            <p:cNvPr id="71" name="Freeform 82">
              <a:extLst>
                <a:ext uri="{FF2B5EF4-FFF2-40B4-BE49-F238E27FC236}">
                  <a16:creationId xmlns:a16="http://schemas.microsoft.com/office/drawing/2014/main" id="{6574A3F1-FC72-4C6D-BD28-6A4D3831B631}"/>
                </a:ext>
              </a:extLst>
            </p:cNvPr>
            <p:cNvSpPr>
              <a:spLocks/>
            </p:cNvSpPr>
            <p:nvPr>
              <p:custDataLst>
                <p:tags r:id="rId62"/>
              </p:custDataLst>
            </p:nvPr>
          </p:nvSpPr>
          <p:spPr bwMode="auto">
            <a:xfrm>
              <a:off x="7597775" y="3217863"/>
              <a:ext cx="4763" cy="57150"/>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grpFill/>
            <a:ln w="9525" cmpd="sng">
              <a:noFill/>
              <a:prstDash val="solid"/>
              <a:round/>
              <a:headEnd/>
              <a:tailEnd/>
            </a:ln>
          </p:spPr>
          <p:txBody>
            <a:bodyPr/>
            <a:lstStyle/>
            <a:p>
              <a:endParaRPr lang="en-US" sz="2178"/>
            </a:p>
          </p:txBody>
        </p:sp>
        <p:sp>
          <p:nvSpPr>
            <p:cNvPr id="72" name="Freeform 83">
              <a:extLst>
                <a:ext uri="{FF2B5EF4-FFF2-40B4-BE49-F238E27FC236}">
                  <a16:creationId xmlns:a16="http://schemas.microsoft.com/office/drawing/2014/main" id="{C70F6D1A-2471-495B-9664-2CE4649D9469}"/>
                </a:ext>
              </a:extLst>
            </p:cNvPr>
            <p:cNvSpPr>
              <a:spLocks/>
            </p:cNvSpPr>
            <p:nvPr>
              <p:custDataLst>
                <p:tags r:id="rId63"/>
              </p:custDataLst>
            </p:nvPr>
          </p:nvSpPr>
          <p:spPr bwMode="auto">
            <a:xfrm>
              <a:off x="7750175" y="3916363"/>
              <a:ext cx="26988" cy="58737"/>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grpFill/>
            <a:ln w="9525" cmpd="sng">
              <a:noFill/>
              <a:prstDash val="solid"/>
              <a:round/>
              <a:headEnd/>
              <a:tailEnd/>
            </a:ln>
          </p:spPr>
          <p:txBody>
            <a:bodyPr/>
            <a:lstStyle/>
            <a:p>
              <a:endParaRPr lang="en-US" sz="2178"/>
            </a:p>
          </p:txBody>
        </p:sp>
        <p:sp>
          <p:nvSpPr>
            <p:cNvPr id="73" name="Freeform 84">
              <a:extLst>
                <a:ext uri="{FF2B5EF4-FFF2-40B4-BE49-F238E27FC236}">
                  <a16:creationId xmlns:a16="http://schemas.microsoft.com/office/drawing/2014/main" id="{44AA5D02-0EC0-45EC-A6C0-2E04ECA54247}"/>
                </a:ext>
              </a:extLst>
            </p:cNvPr>
            <p:cNvSpPr>
              <a:spLocks/>
            </p:cNvSpPr>
            <p:nvPr>
              <p:custDataLst>
                <p:tags r:id="rId64"/>
              </p:custDataLst>
            </p:nvPr>
          </p:nvSpPr>
          <p:spPr bwMode="auto">
            <a:xfrm>
              <a:off x="7813675" y="3930650"/>
              <a:ext cx="12700" cy="57150"/>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grpFill/>
            <a:ln w="9525" cmpd="sng">
              <a:noFill/>
              <a:prstDash val="solid"/>
              <a:round/>
              <a:headEnd/>
              <a:tailEnd/>
            </a:ln>
          </p:spPr>
          <p:txBody>
            <a:bodyPr/>
            <a:lstStyle/>
            <a:p>
              <a:endParaRPr lang="en-US" sz="2178"/>
            </a:p>
          </p:txBody>
        </p:sp>
        <p:sp>
          <p:nvSpPr>
            <p:cNvPr id="74" name="Freeform 85">
              <a:extLst>
                <a:ext uri="{FF2B5EF4-FFF2-40B4-BE49-F238E27FC236}">
                  <a16:creationId xmlns:a16="http://schemas.microsoft.com/office/drawing/2014/main" id="{F09599F0-3F82-4589-B152-5EA1BBED634C}"/>
                </a:ext>
              </a:extLst>
            </p:cNvPr>
            <p:cNvSpPr>
              <a:spLocks/>
            </p:cNvSpPr>
            <p:nvPr>
              <p:custDataLst>
                <p:tags r:id="rId65"/>
              </p:custDataLst>
            </p:nvPr>
          </p:nvSpPr>
          <p:spPr bwMode="auto">
            <a:xfrm>
              <a:off x="7670800" y="3706813"/>
              <a:ext cx="25400" cy="55562"/>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grpFill/>
            <a:ln w="9525" cmpd="sng">
              <a:noFill/>
              <a:prstDash val="solid"/>
              <a:round/>
              <a:headEnd/>
              <a:tailEnd/>
            </a:ln>
          </p:spPr>
          <p:txBody>
            <a:bodyPr/>
            <a:lstStyle/>
            <a:p>
              <a:endParaRPr lang="en-US" sz="2178"/>
            </a:p>
          </p:txBody>
        </p:sp>
        <p:sp>
          <p:nvSpPr>
            <p:cNvPr id="75" name="Freeform 86">
              <a:extLst>
                <a:ext uri="{FF2B5EF4-FFF2-40B4-BE49-F238E27FC236}">
                  <a16:creationId xmlns:a16="http://schemas.microsoft.com/office/drawing/2014/main" id="{A8FAC24D-9BCF-4D27-8C70-F73C999B87DB}"/>
                </a:ext>
              </a:extLst>
            </p:cNvPr>
            <p:cNvSpPr>
              <a:spLocks/>
            </p:cNvSpPr>
            <p:nvPr>
              <p:custDataLst>
                <p:tags r:id="rId66"/>
              </p:custDataLst>
            </p:nvPr>
          </p:nvSpPr>
          <p:spPr bwMode="auto">
            <a:xfrm>
              <a:off x="7613650" y="3681413"/>
              <a:ext cx="11113" cy="57150"/>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grpFill/>
            <a:ln w="9525" cmpd="sng">
              <a:noFill/>
              <a:prstDash val="solid"/>
              <a:round/>
              <a:headEnd/>
              <a:tailEnd/>
            </a:ln>
          </p:spPr>
          <p:txBody>
            <a:bodyPr/>
            <a:lstStyle/>
            <a:p>
              <a:endParaRPr lang="en-US" sz="2178"/>
            </a:p>
          </p:txBody>
        </p:sp>
        <p:sp>
          <p:nvSpPr>
            <p:cNvPr id="76" name="Freeform 87">
              <a:extLst>
                <a:ext uri="{FF2B5EF4-FFF2-40B4-BE49-F238E27FC236}">
                  <a16:creationId xmlns:a16="http://schemas.microsoft.com/office/drawing/2014/main" id="{E8115862-3A7C-4CD8-A3E5-10CECE4EEC71}"/>
                </a:ext>
              </a:extLst>
            </p:cNvPr>
            <p:cNvSpPr>
              <a:spLocks/>
            </p:cNvSpPr>
            <p:nvPr>
              <p:custDataLst>
                <p:tags r:id="rId67"/>
              </p:custDataLst>
            </p:nvPr>
          </p:nvSpPr>
          <p:spPr bwMode="auto">
            <a:xfrm>
              <a:off x="7813675" y="4013200"/>
              <a:ext cx="31750" cy="57150"/>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grpFill/>
            <a:ln w="9525" cmpd="sng">
              <a:noFill/>
              <a:prstDash val="solid"/>
              <a:round/>
              <a:headEnd/>
              <a:tailEnd/>
            </a:ln>
          </p:spPr>
          <p:txBody>
            <a:bodyPr/>
            <a:lstStyle/>
            <a:p>
              <a:endParaRPr lang="en-US" sz="2178"/>
            </a:p>
          </p:txBody>
        </p:sp>
        <p:sp>
          <p:nvSpPr>
            <p:cNvPr id="77" name="Freeform 88">
              <a:extLst>
                <a:ext uri="{FF2B5EF4-FFF2-40B4-BE49-F238E27FC236}">
                  <a16:creationId xmlns:a16="http://schemas.microsoft.com/office/drawing/2014/main" id="{AF5CFE70-EBBD-447E-8D6F-C60FB48D1CA7}"/>
                </a:ext>
              </a:extLst>
            </p:cNvPr>
            <p:cNvSpPr>
              <a:spLocks/>
            </p:cNvSpPr>
            <p:nvPr>
              <p:custDataLst>
                <p:tags r:id="rId68"/>
              </p:custDataLst>
            </p:nvPr>
          </p:nvSpPr>
          <p:spPr bwMode="auto">
            <a:xfrm>
              <a:off x="7769225" y="4002088"/>
              <a:ext cx="22225" cy="57150"/>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grpFill/>
            <a:ln w="9525" cmpd="sng">
              <a:noFill/>
              <a:prstDash val="solid"/>
              <a:round/>
              <a:headEnd/>
              <a:tailEnd/>
            </a:ln>
          </p:spPr>
          <p:txBody>
            <a:bodyPr/>
            <a:lstStyle/>
            <a:p>
              <a:endParaRPr lang="en-US" sz="2178"/>
            </a:p>
          </p:txBody>
        </p:sp>
        <p:sp>
          <p:nvSpPr>
            <p:cNvPr id="78" name="Line 89">
              <a:extLst>
                <a:ext uri="{FF2B5EF4-FFF2-40B4-BE49-F238E27FC236}">
                  <a16:creationId xmlns:a16="http://schemas.microsoft.com/office/drawing/2014/main" id="{AED92931-F346-4381-9948-708762C73EF8}"/>
                </a:ext>
              </a:extLst>
            </p:cNvPr>
            <p:cNvSpPr>
              <a:spLocks noChangeShapeType="1"/>
            </p:cNvSpPr>
            <p:nvPr>
              <p:custDataLst>
                <p:tags r:id="rId69"/>
              </p:custDataLst>
            </p:nvPr>
          </p:nvSpPr>
          <p:spPr bwMode="auto">
            <a:xfrm>
              <a:off x="7802563" y="3987800"/>
              <a:ext cx="20637" cy="6350"/>
            </a:xfrm>
            <a:prstGeom prst="line">
              <a:avLst/>
            </a:prstGeom>
            <a:grpFill/>
            <a:ln w="9525">
              <a:noFill/>
              <a:round/>
              <a:headEnd/>
              <a:tailEnd/>
            </a:ln>
          </p:spPr>
          <p:txBody>
            <a:bodyPr/>
            <a:lstStyle/>
            <a:p>
              <a:endParaRPr lang="en-US" sz="2178"/>
            </a:p>
          </p:txBody>
        </p:sp>
        <p:sp>
          <p:nvSpPr>
            <p:cNvPr id="79" name="Freeform 90">
              <a:extLst>
                <a:ext uri="{FF2B5EF4-FFF2-40B4-BE49-F238E27FC236}">
                  <a16:creationId xmlns:a16="http://schemas.microsoft.com/office/drawing/2014/main" id="{C68DD09E-8D3F-4F8D-9FD4-9E8156762626}"/>
                </a:ext>
              </a:extLst>
            </p:cNvPr>
            <p:cNvSpPr>
              <a:spLocks/>
            </p:cNvSpPr>
            <p:nvPr>
              <p:custDataLst>
                <p:tags r:id="rId70"/>
              </p:custDataLst>
            </p:nvPr>
          </p:nvSpPr>
          <p:spPr bwMode="auto">
            <a:xfrm>
              <a:off x="7823200" y="3994150"/>
              <a:ext cx="1588" cy="57150"/>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grpFill/>
            <a:ln w="9525" cmpd="sng">
              <a:noFill/>
              <a:prstDash val="solid"/>
              <a:round/>
              <a:headEnd/>
              <a:tailEnd/>
            </a:ln>
          </p:spPr>
          <p:txBody>
            <a:bodyPr/>
            <a:lstStyle/>
            <a:p>
              <a:endParaRPr lang="en-US" sz="2178"/>
            </a:p>
          </p:txBody>
        </p:sp>
        <p:sp>
          <p:nvSpPr>
            <p:cNvPr id="80" name="Freeform 91">
              <a:extLst>
                <a:ext uri="{FF2B5EF4-FFF2-40B4-BE49-F238E27FC236}">
                  <a16:creationId xmlns:a16="http://schemas.microsoft.com/office/drawing/2014/main" id="{DECC07A9-FA81-4B5A-A02F-05A51BEA9C52}"/>
                </a:ext>
              </a:extLst>
            </p:cNvPr>
            <p:cNvSpPr>
              <a:spLocks/>
            </p:cNvSpPr>
            <p:nvPr>
              <p:custDataLst>
                <p:tags r:id="rId71"/>
              </p:custDataLst>
            </p:nvPr>
          </p:nvSpPr>
          <p:spPr bwMode="auto">
            <a:xfrm>
              <a:off x="7777163" y="3987800"/>
              <a:ext cx="14287" cy="58738"/>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grpFill/>
            <a:ln w="9525" cmpd="sng">
              <a:noFill/>
              <a:prstDash val="solid"/>
              <a:round/>
              <a:headEnd/>
              <a:tailEnd/>
            </a:ln>
          </p:spPr>
          <p:txBody>
            <a:bodyPr/>
            <a:lstStyle/>
            <a:p>
              <a:endParaRPr lang="en-US" sz="2178"/>
            </a:p>
          </p:txBody>
        </p:sp>
        <p:sp>
          <p:nvSpPr>
            <p:cNvPr id="81" name="Freeform 92">
              <a:extLst>
                <a:ext uri="{FF2B5EF4-FFF2-40B4-BE49-F238E27FC236}">
                  <a16:creationId xmlns:a16="http://schemas.microsoft.com/office/drawing/2014/main" id="{D6BCDC27-501F-4748-9805-E25B28A071DF}"/>
                </a:ext>
              </a:extLst>
            </p:cNvPr>
            <p:cNvSpPr>
              <a:spLocks/>
            </p:cNvSpPr>
            <p:nvPr>
              <p:custDataLst>
                <p:tags r:id="rId72"/>
              </p:custDataLst>
            </p:nvPr>
          </p:nvSpPr>
          <p:spPr bwMode="auto">
            <a:xfrm>
              <a:off x="7770813" y="3968750"/>
              <a:ext cx="6350" cy="60325"/>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grpFill/>
            <a:ln w="9525" cmpd="sng">
              <a:noFill/>
              <a:prstDash val="solid"/>
              <a:round/>
              <a:headEnd/>
              <a:tailEnd/>
            </a:ln>
          </p:spPr>
          <p:txBody>
            <a:bodyPr/>
            <a:lstStyle/>
            <a:p>
              <a:endParaRPr lang="en-US" sz="2178"/>
            </a:p>
          </p:txBody>
        </p:sp>
        <p:sp>
          <p:nvSpPr>
            <p:cNvPr id="82" name="Freeform 93">
              <a:extLst>
                <a:ext uri="{FF2B5EF4-FFF2-40B4-BE49-F238E27FC236}">
                  <a16:creationId xmlns:a16="http://schemas.microsoft.com/office/drawing/2014/main" id="{B2AB3B30-7F05-4420-A2A5-66CCDA0FB020}"/>
                </a:ext>
              </a:extLst>
            </p:cNvPr>
            <p:cNvSpPr>
              <a:spLocks/>
            </p:cNvSpPr>
            <p:nvPr>
              <p:custDataLst>
                <p:tags r:id="rId73"/>
              </p:custDataLst>
            </p:nvPr>
          </p:nvSpPr>
          <p:spPr bwMode="auto">
            <a:xfrm>
              <a:off x="7851775" y="3695700"/>
              <a:ext cx="1588" cy="57150"/>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grpFill/>
            <a:ln w="9525" cmpd="sng">
              <a:noFill/>
              <a:prstDash val="solid"/>
              <a:round/>
              <a:headEnd/>
              <a:tailEnd/>
            </a:ln>
          </p:spPr>
          <p:txBody>
            <a:bodyPr/>
            <a:lstStyle/>
            <a:p>
              <a:endParaRPr lang="en-US" sz="2178"/>
            </a:p>
          </p:txBody>
        </p:sp>
        <p:grpSp>
          <p:nvGrpSpPr>
            <p:cNvPr id="83" name="Group 94">
              <a:extLst>
                <a:ext uri="{FF2B5EF4-FFF2-40B4-BE49-F238E27FC236}">
                  <a16:creationId xmlns:a16="http://schemas.microsoft.com/office/drawing/2014/main" id="{13B6EF5B-5DA5-4129-B38E-3C39A6A88CEB}"/>
                </a:ext>
              </a:extLst>
            </p:cNvPr>
            <p:cNvGrpSpPr>
              <a:grpSpLocks/>
            </p:cNvGrpSpPr>
            <p:nvPr>
              <p:custDataLst>
                <p:tags r:id="rId74"/>
              </p:custDataLst>
            </p:nvPr>
          </p:nvGrpSpPr>
          <p:grpSpPr bwMode="auto">
            <a:xfrm>
              <a:off x="7726363" y="3367088"/>
              <a:ext cx="163512" cy="114300"/>
              <a:chOff x="5379" y="2466"/>
              <a:chExt cx="122" cy="71"/>
            </a:xfrm>
            <a:grpFill/>
          </p:grpSpPr>
          <p:sp>
            <p:nvSpPr>
              <p:cNvPr id="531" name="Freeform 95">
                <a:extLst>
                  <a:ext uri="{FF2B5EF4-FFF2-40B4-BE49-F238E27FC236}">
                    <a16:creationId xmlns:a16="http://schemas.microsoft.com/office/drawing/2014/main" id="{1CCC5CA9-7C50-4B33-91DA-09C321768B33}"/>
                  </a:ext>
                </a:extLst>
              </p:cNvPr>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noFill/>
                <a:prstDash val="solid"/>
                <a:round/>
                <a:headEnd/>
                <a:tailEnd/>
              </a:ln>
            </p:spPr>
            <p:txBody>
              <a:bodyPr/>
              <a:lstStyle/>
              <a:p>
                <a:endParaRPr lang="en-US" sz="2178"/>
              </a:p>
            </p:txBody>
          </p:sp>
          <p:sp>
            <p:nvSpPr>
              <p:cNvPr id="532" name="Freeform 96">
                <a:extLst>
                  <a:ext uri="{FF2B5EF4-FFF2-40B4-BE49-F238E27FC236}">
                    <a16:creationId xmlns:a16="http://schemas.microsoft.com/office/drawing/2014/main" id="{5405B663-2D9D-4511-BA75-B907FF0B12BF}"/>
                  </a:ext>
                </a:extLst>
              </p:cNvPr>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noFill/>
                <a:prstDash val="solid"/>
                <a:round/>
                <a:headEnd/>
                <a:tailEnd/>
              </a:ln>
            </p:spPr>
            <p:txBody>
              <a:bodyPr/>
              <a:lstStyle/>
              <a:p>
                <a:endParaRPr lang="en-US" sz="2178"/>
              </a:p>
            </p:txBody>
          </p:sp>
          <p:sp>
            <p:nvSpPr>
              <p:cNvPr id="533" name="Freeform 97">
                <a:extLst>
                  <a:ext uri="{FF2B5EF4-FFF2-40B4-BE49-F238E27FC236}">
                    <a16:creationId xmlns:a16="http://schemas.microsoft.com/office/drawing/2014/main" id="{A91A93B1-9333-4C96-941A-B1DB765CCE68}"/>
                  </a:ext>
                </a:extLst>
              </p:cNvPr>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noFill/>
                <a:prstDash val="solid"/>
                <a:round/>
                <a:headEnd/>
                <a:tailEnd/>
              </a:ln>
            </p:spPr>
            <p:txBody>
              <a:bodyPr/>
              <a:lstStyle/>
              <a:p>
                <a:endParaRPr lang="en-US" sz="2178"/>
              </a:p>
            </p:txBody>
          </p:sp>
          <p:sp>
            <p:nvSpPr>
              <p:cNvPr id="534" name="Freeform 98">
                <a:extLst>
                  <a:ext uri="{FF2B5EF4-FFF2-40B4-BE49-F238E27FC236}">
                    <a16:creationId xmlns:a16="http://schemas.microsoft.com/office/drawing/2014/main" id="{28097705-DE18-4C18-8BFF-05C3C97D920D}"/>
                  </a:ext>
                </a:extLst>
              </p:cNvPr>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noFill/>
                <a:prstDash val="solid"/>
                <a:round/>
                <a:headEnd/>
                <a:tailEnd/>
              </a:ln>
            </p:spPr>
            <p:txBody>
              <a:bodyPr/>
              <a:lstStyle/>
              <a:p>
                <a:endParaRPr lang="en-US" sz="2178"/>
              </a:p>
            </p:txBody>
          </p:sp>
          <p:sp>
            <p:nvSpPr>
              <p:cNvPr id="535" name="Freeform 99">
                <a:extLst>
                  <a:ext uri="{FF2B5EF4-FFF2-40B4-BE49-F238E27FC236}">
                    <a16:creationId xmlns:a16="http://schemas.microsoft.com/office/drawing/2014/main" id="{888ED422-4A2C-41A5-B936-3D5FE68B09B5}"/>
                  </a:ext>
                </a:extLst>
              </p:cNvPr>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noFill/>
                <a:prstDash val="solid"/>
                <a:round/>
                <a:headEnd/>
                <a:tailEnd/>
              </a:ln>
            </p:spPr>
            <p:txBody>
              <a:bodyPr/>
              <a:lstStyle/>
              <a:p>
                <a:endParaRPr lang="en-US" sz="2178"/>
              </a:p>
            </p:txBody>
          </p:sp>
          <p:sp>
            <p:nvSpPr>
              <p:cNvPr id="536" name="Line 100">
                <a:extLst>
                  <a:ext uri="{FF2B5EF4-FFF2-40B4-BE49-F238E27FC236}">
                    <a16:creationId xmlns:a16="http://schemas.microsoft.com/office/drawing/2014/main" id="{3C0C8D06-523D-493C-8C13-01C889585724}"/>
                  </a:ext>
                </a:extLst>
              </p:cNvPr>
              <p:cNvSpPr>
                <a:spLocks noChangeShapeType="1"/>
              </p:cNvSpPr>
              <p:nvPr/>
            </p:nvSpPr>
            <p:spPr bwMode="auto">
              <a:xfrm flipH="1">
                <a:off x="5495" y="2490"/>
                <a:ext cx="6" cy="1"/>
              </a:xfrm>
              <a:prstGeom prst="line">
                <a:avLst/>
              </a:prstGeom>
              <a:grpFill/>
              <a:ln w="9525">
                <a:noFill/>
                <a:round/>
                <a:headEnd/>
                <a:tailEnd/>
              </a:ln>
            </p:spPr>
            <p:txBody>
              <a:bodyPr/>
              <a:lstStyle/>
              <a:p>
                <a:endParaRPr lang="en-US" sz="2178"/>
              </a:p>
            </p:txBody>
          </p:sp>
          <p:sp>
            <p:nvSpPr>
              <p:cNvPr id="537" name="Freeform 101">
                <a:extLst>
                  <a:ext uri="{FF2B5EF4-FFF2-40B4-BE49-F238E27FC236}">
                    <a16:creationId xmlns:a16="http://schemas.microsoft.com/office/drawing/2014/main" id="{A581620D-38A0-43D8-81D1-BDE0D23D6026}"/>
                  </a:ext>
                </a:extLst>
              </p:cNvPr>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noFill/>
                <a:prstDash val="solid"/>
                <a:round/>
                <a:headEnd/>
                <a:tailEnd/>
              </a:ln>
            </p:spPr>
            <p:txBody>
              <a:bodyPr/>
              <a:lstStyle/>
              <a:p>
                <a:endParaRPr lang="en-US" sz="2178"/>
              </a:p>
            </p:txBody>
          </p:sp>
          <p:sp>
            <p:nvSpPr>
              <p:cNvPr id="538" name="Line 102">
                <a:extLst>
                  <a:ext uri="{FF2B5EF4-FFF2-40B4-BE49-F238E27FC236}">
                    <a16:creationId xmlns:a16="http://schemas.microsoft.com/office/drawing/2014/main" id="{0435793C-4D3D-45FC-8636-5F087BB69837}"/>
                  </a:ext>
                </a:extLst>
              </p:cNvPr>
              <p:cNvSpPr>
                <a:spLocks noChangeShapeType="1"/>
              </p:cNvSpPr>
              <p:nvPr/>
            </p:nvSpPr>
            <p:spPr bwMode="auto">
              <a:xfrm>
                <a:off x="5464" y="2530"/>
                <a:ext cx="6" cy="1"/>
              </a:xfrm>
              <a:prstGeom prst="line">
                <a:avLst/>
              </a:prstGeom>
              <a:grpFill/>
              <a:ln w="9525">
                <a:noFill/>
                <a:round/>
                <a:headEnd/>
                <a:tailEnd/>
              </a:ln>
            </p:spPr>
            <p:txBody>
              <a:bodyPr/>
              <a:lstStyle/>
              <a:p>
                <a:endParaRPr lang="en-US" sz="2178"/>
              </a:p>
            </p:txBody>
          </p:sp>
          <p:sp>
            <p:nvSpPr>
              <p:cNvPr id="539" name="Freeform 103">
                <a:extLst>
                  <a:ext uri="{FF2B5EF4-FFF2-40B4-BE49-F238E27FC236}">
                    <a16:creationId xmlns:a16="http://schemas.microsoft.com/office/drawing/2014/main" id="{CA1F48C4-316B-4D1A-B453-08E60114FBE3}"/>
                  </a:ext>
                </a:extLst>
              </p:cNvPr>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noFill/>
                <a:prstDash val="solid"/>
                <a:round/>
                <a:headEnd/>
                <a:tailEnd/>
              </a:ln>
            </p:spPr>
            <p:txBody>
              <a:bodyPr/>
              <a:lstStyle/>
              <a:p>
                <a:endParaRPr lang="en-US" sz="2178"/>
              </a:p>
            </p:txBody>
          </p:sp>
        </p:grpSp>
        <p:sp>
          <p:nvSpPr>
            <p:cNvPr id="84" name="Freeform 104">
              <a:extLst>
                <a:ext uri="{FF2B5EF4-FFF2-40B4-BE49-F238E27FC236}">
                  <a16:creationId xmlns:a16="http://schemas.microsoft.com/office/drawing/2014/main" id="{F67F9D0B-FB1E-4B3A-98EE-5004EB5A5C08}"/>
                </a:ext>
              </a:extLst>
            </p:cNvPr>
            <p:cNvSpPr>
              <a:spLocks/>
            </p:cNvSpPr>
            <p:nvPr>
              <p:custDataLst>
                <p:tags r:id="rId75"/>
              </p:custDataLst>
            </p:nvPr>
          </p:nvSpPr>
          <p:spPr bwMode="auto">
            <a:xfrm>
              <a:off x="6310313" y="3228975"/>
              <a:ext cx="6350" cy="57150"/>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grpFill/>
            <a:ln w="9525" cmpd="sng">
              <a:noFill/>
              <a:prstDash val="solid"/>
              <a:round/>
              <a:headEnd/>
              <a:tailEnd/>
            </a:ln>
          </p:spPr>
          <p:txBody>
            <a:bodyPr/>
            <a:lstStyle/>
            <a:p>
              <a:endParaRPr lang="en-US" sz="2178"/>
            </a:p>
          </p:txBody>
        </p:sp>
        <p:sp>
          <p:nvSpPr>
            <p:cNvPr id="85" name="Freeform 105">
              <a:extLst>
                <a:ext uri="{FF2B5EF4-FFF2-40B4-BE49-F238E27FC236}">
                  <a16:creationId xmlns:a16="http://schemas.microsoft.com/office/drawing/2014/main" id="{6A32EDAF-9567-4941-90CE-49AE4A54A5E7}"/>
                </a:ext>
              </a:extLst>
            </p:cNvPr>
            <p:cNvSpPr>
              <a:spLocks/>
            </p:cNvSpPr>
            <p:nvPr>
              <p:custDataLst>
                <p:tags r:id="rId76"/>
              </p:custDataLst>
            </p:nvPr>
          </p:nvSpPr>
          <p:spPr bwMode="auto">
            <a:xfrm>
              <a:off x="3209925" y="5368925"/>
              <a:ext cx="53975" cy="58738"/>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grpFill/>
            <a:ln w="9525" cmpd="sng">
              <a:noFill/>
              <a:prstDash val="solid"/>
              <a:round/>
              <a:headEnd/>
              <a:tailEnd/>
            </a:ln>
          </p:spPr>
          <p:txBody>
            <a:bodyPr/>
            <a:lstStyle/>
            <a:p>
              <a:endParaRPr lang="en-US" sz="2178"/>
            </a:p>
          </p:txBody>
        </p:sp>
        <p:sp>
          <p:nvSpPr>
            <p:cNvPr id="86" name="Freeform 106">
              <a:extLst>
                <a:ext uri="{FF2B5EF4-FFF2-40B4-BE49-F238E27FC236}">
                  <a16:creationId xmlns:a16="http://schemas.microsoft.com/office/drawing/2014/main" id="{837E76E4-C271-4AE2-9149-0140288F1668}"/>
                </a:ext>
              </a:extLst>
            </p:cNvPr>
            <p:cNvSpPr>
              <a:spLocks/>
            </p:cNvSpPr>
            <p:nvPr>
              <p:custDataLst>
                <p:tags r:id="rId77"/>
              </p:custDataLst>
            </p:nvPr>
          </p:nvSpPr>
          <p:spPr bwMode="auto">
            <a:xfrm>
              <a:off x="5511800" y="5207000"/>
              <a:ext cx="30163" cy="55563"/>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grpFill/>
            <a:ln w="9525" cmpd="sng">
              <a:noFill/>
              <a:prstDash val="solid"/>
              <a:round/>
              <a:headEnd/>
              <a:tailEnd/>
            </a:ln>
          </p:spPr>
          <p:txBody>
            <a:bodyPr/>
            <a:lstStyle/>
            <a:p>
              <a:endParaRPr lang="en-US" sz="2178"/>
            </a:p>
          </p:txBody>
        </p:sp>
        <p:sp>
          <p:nvSpPr>
            <p:cNvPr id="87" name="Freeform 107">
              <a:extLst>
                <a:ext uri="{FF2B5EF4-FFF2-40B4-BE49-F238E27FC236}">
                  <a16:creationId xmlns:a16="http://schemas.microsoft.com/office/drawing/2014/main" id="{5DA2F7C0-371C-434E-AB19-85E1B6314FC3}"/>
                </a:ext>
              </a:extLst>
            </p:cNvPr>
            <p:cNvSpPr>
              <a:spLocks/>
            </p:cNvSpPr>
            <p:nvPr>
              <p:custDataLst>
                <p:tags r:id="rId78"/>
              </p:custDataLst>
            </p:nvPr>
          </p:nvSpPr>
          <p:spPr bwMode="auto">
            <a:xfrm>
              <a:off x="7666038" y="1978025"/>
              <a:ext cx="20637" cy="57150"/>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grpFill/>
            <a:ln w="9525" cmpd="sng">
              <a:noFill/>
              <a:prstDash val="solid"/>
              <a:round/>
              <a:headEnd/>
              <a:tailEnd/>
            </a:ln>
          </p:spPr>
          <p:txBody>
            <a:bodyPr/>
            <a:lstStyle/>
            <a:p>
              <a:endParaRPr lang="en-US" sz="2178"/>
            </a:p>
          </p:txBody>
        </p:sp>
        <p:sp>
          <p:nvSpPr>
            <p:cNvPr id="88" name="Freeform 108">
              <a:extLst>
                <a:ext uri="{FF2B5EF4-FFF2-40B4-BE49-F238E27FC236}">
                  <a16:creationId xmlns:a16="http://schemas.microsoft.com/office/drawing/2014/main" id="{453467A1-5145-4F6E-88B8-9E05C5C136EE}"/>
                </a:ext>
              </a:extLst>
            </p:cNvPr>
            <p:cNvSpPr>
              <a:spLocks/>
            </p:cNvSpPr>
            <p:nvPr>
              <p:custDataLst>
                <p:tags r:id="rId79"/>
              </p:custDataLst>
            </p:nvPr>
          </p:nvSpPr>
          <p:spPr bwMode="auto">
            <a:xfrm>
              <a:off x="7842250" y="2011363"/>
              <a:ext cx="15875" cy="57150"/>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grpFill/>
            <a:ln w="9525" cmpd="sng">
              <a:noFill/>
              <a:prstDash val="solid"/>
              <a:round/>
              <a:headEnd/>
              <a:tailEnd/>
            </a:ln>
          </p:spPr>
          <p:txBody>
            <a:bodyPr/>
            <a:lstStyle/>
            <a:p>
              <a:endParaRPr lang="en-US" sz="2178"/>
            </a:p>
          </p:txBody>
        </p:sp>
        <p:sp>
          <p:nvSpPr>
            <p:cNvPr id="89" name="Freeform 109">
              <a:extLst>
                <a:ext uri="{FF2B5EF4-FFF2-40B4-BE49-F238E27FC236}">
                  <a16:creationId xmlns:a16="http://schemas.microsoft.com/office/drawing/2014/main" id="{DF4D549F-5CC9-4304-BEB5-247FCE1228E7}"/>
                </a:ext>
              </a:extLst>
            </p:cNvPr>
            <p:cNvSpPr>
              <a:spLocks/>
            </p:cNvSpPr>
            <p:nvPr>
              <p:custDataLst>
                <p:tags r:id="rId80"/>
              </p:custDataLst>
            </p:nvPr>
          </p:nvSpPr>
          <p:spPr bwMode="auto">
            <a:xfrm>
              <a:off x="7291388" y="2241550"/>
              <a:ext cx="4762" cy="58738"/>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grpFill/>
            <a:ln w="9525" cmpd="sng">
              <a:noFill/>
              <a:prstDash val="solid"/>
              <a:round/>
              <a:headEnd/>
              <a:tailEnd/>
            </a:ln>
          </p:spPr>
          <p:txBody>
            <a:bodyPr/>
            <a:lstStyle/>
            <a:p>
              <a:endParaRPr lang="en-US" sz="2178"/>
            </a:p>
          </p:txBody>
        </p:sp>
        <p:sp>
          <p:nvSpPr>
            <p:cNvPr id="90" name="Freeform 110">
              <a:extLst>
                <a:ext uri="{FF2B5EF4-FFF2-40B4-BE49-F238E27FC236}">
                  <a16:creationId xmlns:a16="http://schemas.microsoft.com/office/drawing/2014/main" id="{3E7C419D-B127-4083-BEE0-FA51C6F06863}"/>
                </a:ext>
              </a:extLst>
            </p:cNvPr>
            <p:cNvSpPr>
              <a:spLocks/>
            </p:cNvSpPr>
            <p:nvPr>
              <p:custDataLst>
                <p:tags r:id="rId81"/>
              </p:custDataLst>
            </p:nvPr>
          </p:nvSpPr>
          <p:spPr bwMode="auto">
            <a:xfrm>
              <a:off x="7105650" y="2803525"/>
              <a:ext cx="14288" cy="58738"/>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grpFill/>
            <a:ln w="9525" cmpd="sng">
              <a:noFill/>
              <a:prstDash val="solid"/>
              <a:round/>
              <a:headEnd/>
              <a:tailEnd/>
            </a:ln>
          </p:spPr>
          <p:txBody>
            <a:bodyPr/>
            <a:lstStyle/>
            <a:p>
              <a:endParaRPr lang="en-US" sz="2178"/>
            </a:p>
          </p:txBody>
        </p:sp>
        <p:sp>
          <p:nvSpPr>
            <p:cNvPr id="91" name="Freeform 111">
              <a:extLst>
                <a:ext uri="{FF2B5EF4-FFF2-40B4-BE49-F238E27FC236}">
                  <a16:creationId xmlns:a16="http://schemas.microsoft.com/office/drawing/2014/main" id="{A0052163-7294-41DB-89F5-5895FCE6877B}"/>
                </a:ext>
              </a:extLst>
            </p:cNvPr>
            <p:cNvSpPr>
              <a:spLocks/>
            </p:cNvSpPr>
            <p:nvPr>
              <p:custDataLst>
                <p:tags r:id="rId82"/>
              </p:custDataLst>
            </p:nvPr>
          </p:nvSpPr>
          <p:spPr bwMode="auto">
            <a:xfrm>
              <a:off x="7123113" y="2738438"/>
              <a:ext cx="15875" cy="57150"/>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grpFill/>
            <a:ln w="9525" cmpd="sng">
              <a:noFill/>
              <a:prstDash val="solid"/>
              <a:round/>
              <a:headEnd/>
              <a:tailEnd/>
            </a:ln>
          </p:spPr>
          <p:txBody>
            <a:bodyPr/>
            <a:lstStyle/>
            <a:p>
              <a:endParaRPr lang="en-US" sz="2178"/>
            </a:p>
          </p:txBody>
        </p:sp>
        <p:sp>
          <p:nvSpPr>
            <p:cNvPr id="92" name="Freeform 112">
              <a:extLst>
                <a:ext uri="{FF2B5EF4-FFF2-40B4-BE49-F238E27FC236}">
                  <a16:creationId xmlns:a16="http://schemas.microsoft.com/office/drawing/2014/main" id="{768C2A9A-72B1-4150-B5FA-ADC819812CEE}"/>
                </a:ext>
              </a:extLst>
            </p:cNvPr>
            <p:cNvSpPr>
              <a:spLocks/>
            </p:cNvSpPr>
            <p:nvPr>
              <p:custDataLst>
                <p:tags r:id="rId83"/>
              </p:custDataLst>
            </p:nvPr>
          </p:nvSpPr>
          <p:spPr bwMode="auto">
            <a:xfrm>
              <a:off x="7011988" y="2587625"/>
              <a:ext cx="1587" cy="60325"/>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grpFill/>
            <a:ln w="9525" cmpd="sng">
              <a:noFill/>
              <a:prstDash val="solid"/>
              <a:round/>
              <a:headEnd/>
              <a:tailEnd/>
            </a:ln>
          </p:spPr>
          <p:txBody>
            <a:bodyPr/>
            <a:lstStyle/>
            <a:p>
              <a:endParaRPr lang="en-US" sz="2178"/>
            </a:p>
          </p:txBody>
        </p:sp>
        <p:sp>
          <p:nvSpPr>
            <p:cNvPr id="93" name="Freeform 113">
              <a:extLst>
                <a:ext uri="{FF2B5EF4-FFF2-40B4-BE49-F238E27FC236}">
                  <a16:creationId xmlns:a16="http://schemas.microsoft.com/office/drawing/2014/main" id="{D54B7DDC-FD98-41F1-939D-7F3C5114414E}"/>
                </a:ext>
              </a:extLst>
            </p:cNvPr>
            <p:cNvSpPr>
              <a:spLocks/>
            </p:cNvSpPr>
            <p:nvPr>
              <p:custDataLst>
                <p:tags r:id="rId84"/>
              </p:custDataLst>
            </p:nvPr>
          </p:nvSpPr>
          <p:spPr bwMode="auto">
            <a:xfrm>
              <a:off x="3863975" y="1714500"/>
              <a:ext cx="9525" cy="57150"/>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grpFill/>
            <a:ln w="9525" cmpd="sng">
              <a:noFill/>
              <a:prstDash val="solid"/>
              <a:round/>
              <a:headEnd/>
              <a:tailEnd/>
            </a:ln>
          </p:spPr>
          <p:txBody>
            <a:bodyPr/>
            <a:lstStyle/>
            <a:p>
              <a:endParaRPr lang="en-US" sz="2178"/>
            </a:p>
          </p:txBody>
        </p:sp>
        <p:sp>
          <p:nvSpPr>
            <p:cNvPr id="94" name="Freeform 114">
              <a:extLst>
                <a:ext uri="{FF2B5EF4-FFF2-40B4-BE49-F238E27FC236}">
                  <a16:creationId xmlns:a16="http://schemas.microsoft.com/office/drawing/2014/main" id="{BC16838B-3DE9-4F78-82F9-CC37E2F65AB0}"/>
                </a:ext>
              </a:extLst>
            </p:cNvPr>
            <p:cNvSpPr>
              <a:spLocks/>
            </p:cNvSpPr>
            <p:nvPr>
              <p:custDataLst>
                <p:tags r:id="rId85"/>
              </p:custDataLst>
            </p:nvPr>
          </p:nvSpPr>
          <p:spPr bwMode="auto">
            <a:xfrm>
              <a:off x="3849688" y="1482725"/>
              <a:ext cx="3175" cy="57150"/>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grpFill/>
            <a:ln w="9525" cmpd="sng">
              <a:noFill/>
              <a:prstDash val="solid"/>
              <a:round/>
              <a:headEnd/>
              <a:tailEnd/>
            </a:ln>
          </p:spPr>
          <p:txBody>
            <a:bodyPr/>
            <a:lstStyle/>
            <a:p>
              <a:endParaRPr lang="en-US" sz="2178"/>
            </a:p>
          </p:txBody>
        </p:sp>
        <p:sp>
          <p:nvSpPr>
            <p:cNvPr id="95" name="Freeform 115">
              <a:extLst>
                <a:ext uri="{FF2B5EF4-FFF2-40B4-BE49-F238E27FC236}">
                  <a16:creationId xmlns:a16="http://schemas.microsoft.com/office/drawing/2014/main" id="{E8E4930E-E258-4944-A516-D423547C1C08}"/>
                </a:ext>
              </a:extLst>
            </p:cNvPr>
            <p:cNvSpPr>
              <a:spLocks/>
            </p:cNvSpPr>
            <p:nvPr>
              <p:custDataLst>
                <p:tags r:id="rId86"/>
              </p:custDataLst>
            </p:nvPr>
          </p:nvSpPr>
          <p:spPr bwMode="auto">
            <a:xfrm>
              <a:off x="5330825" y="3260725"/>
              <a:ext cx="25400" cy="5556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9525" cmpd="sng">
              <a:noFill/>
              <a:prstDash val="solid"/>
              <a:round/>
              <a:headEnd/>
              <a:tailEnd/>
            </a:ln>
          </p:spPr>
          <p:txBody>
            <a:bodyPr/>
            <a:lstStyle/>
            <a:p>
              <a:endParaRPr lang="en-US" sz="2178"/>
            </a:p>
          </p:txBody>
        </p:sp>
        <p:sp>
          <p:nvSpPr>
            <p:cNvPr id="96" name="Freeform 116">
              <a:extLst>
                <a:ext uri="{FF2B5EF4-FFF2-40B4-BE49-F238E27FC236}">
                  <a16:creationId xmlns:a16="http://schemas.microsoft.com/office/drawing/2014/main" id="{D559F21D-F1B7-4332-8A6F-3C36B6A210E9}"/>
                </a:ext>
              </a:extLst>
            </p:cNvPr>
            <p:cNvSpPr>
              <a:spLocks/>
            </p:cNvSpPr>
            <p:nvPr>
              <p:custDataLst>
                <p:tags r:id="rId87"/>
              </p:custDataLst>
            </p:nvPr>
          </p:nvSpPr>
          <p:spPr bwMode="auto">
            <a:xfrm>
              <a:off x="5033963" y="3122613"/>
              <a:ext cx="19050" cy="58737"/>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grpFill/>
            <a:ln w="9525" cmpd="sng">
              <a:noFill/>
              <a:prstDash val="solid"/>
              <a:round/>
              <a:headEnd/>
              <a:tailEnd/>
            </a:ln>
          </p:spPr>
          <p:txBody>
            <a:bodyPr/>
            <a:lstStyle/>
            <a:p>
              <a:endParaRPr lang="en-US" sz="2178"/>
            </a:p>
          </p:txBody>
        </p:sp>
        <p:grpSp>
          <p:nvGrpSpPr>
            <p:cNvPr id="97" name="Group 117">
              <a:extLst>
                <a:ext uri="{FF2B5EF4-FFF2-40B4-BE49-F238E27FC236}">
                  <a16:creationId xmlns:a16="http://schemas.microsoft.com/office/drawing/2014/main" id="{E4D9AEB2-DDA2-4C2B-BD34-869E20E203B6}"/>
                </a:ext>
              </a:extLst>
            </p:cNvPr>
            <p:cNvGrpSpPr>
              <a:grpSpLocks/>
            </p:cNvGrpSpPr>
            <p:nvPr>
              <p:custDataLst>
                <p:tags r:id="rId88"/>
              </p:custDataLst>
            </p:nvPr>
          </p:nvGrpSpPr>
          <p:grpSpPr bwMode="auto">
            <a:xfrm>
              <a:off x="5805488" y="3309938"/>
              <a:ext cx="46037" cy="374650"/>
              <a:chOff x="3950" y="2430"/>
              <a:chExt cx="36" cy="234"/>
            </a:xfrm>
            <a:grpFill/>
          </p:grpSpPr>
          <p:sp>
            <p:nvSpPr>
              <p:cNvPr id="500" name="Freeform 118">
                <a:extLst>
                  <a:ext uri="{FF2B5EF4-FFF2-40B4-BE49-F238E27FC236}">
                    <a16:creationId xmlns:a16="http://schemas.microsoft.com/office/drawing/2014/main" id="{32F56D87-5744-4F9D-B338-EAF5AE4B2CD6}"/>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noFill/>
                <a:prstDash val="solid"/>
                <a:round/>
                <a:headEnd/>
                <a:tailEnd/>
              </a:ln>
            </p:spPr>
            <p:txBody>
              <a:bodyPr/>
              <a:lstStyle/>
              <a:p>
                <a:endParaRPr lang="en-US" sz="2178"/>
              </a:p>
            </p:txBody>
          </p:sp>
          <p:sp>
            <p:nvSpPr>
              <p:cNvPr id="501" name="Freeform 119">
                <a:extLst>
                  <a:ext uri="{FF2B5EF4-FFF2-40B4-BE49-F238E27FC236}">
                    <a16:creationId xmlns:a16="http://schemas.microsoft.com/office/drawing/2014/main" id="{24BFE135-7F92-4886-96E7-9E9FE511F90E}"/>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noFill/>
                <a:prstDash val="solid"/>
                <a:round/>
                <a:headEnd/>
                <a:tailEnd/>
              </a:ln>
            </p:spPr>
            <p:txBody>
              <a:bodyPr/>
              <a:lstStyle/>
              <a:p>
                <a:endParaRPr lang="en-US" sz="2178"/>
              </a:p>
            </p:txBody>
          </p:sp>
          <p:sp>
            <p:nvSpPr>
              <p:cNvPr id="502" name="Freeform 120">
                <a:extLst>
                  <a:ext uri="{FF2B5EF4-FFF2-40B4-BE49-F238E27FC236}">
                    <a16:creationId xmlns:a16="http://schemas.microsoft.com/office/drawing/2014/main" id="{1374F532-F41E-4B61-A02F-B5D5C3C332C3}"/>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noFill/>
                <a:prstDash val="solid"/>
                <a:round/>
                <a:headEnd/>
                <a:tailEnd/>
              </a:ln>
            </p:spPr>
            <p:txBody>
              <a:bodyPr/>
              <a:lstStyle/>
              <a:p>
                <a:endParaRPr lang="en-US" sz="2178"/>
              </a:p>
            </p:txBody>
          </p:sp>
          <p:sp>
            <p:nvSpPr>
              <p:cNvPr id="503" name="Rectangle 121">
                <a:extLst>
                  <a:ext uri="{FF2B5EF4-FFF2-40B4-BE49-F238E27FC236}">
                    <a16:creationId xmlns:a16="http://schemas.microsoft.com/office/drawing/2014/main" id="{9528CB17-4186-4638-B1C1-0CDF0E1F27F0}"/>
                  </a:ext>
                </a:extLst>
              </p:cNvPr>
              <p:cNvSpPr>
                <a:spLocks noChangeArrowheads="1"/>
              </p:cNvSpPr>
              <p:nvPr/>
            </p:nvSpPr>
            <p:spPr bwMode="auto">
              <a:xfrm>
                <a:off x="3975" y="2632"/>
                <a:ext cx="8" cy="2"/>
              </a:xfrm>
              <a:prstGeom prst="rect">
                <a:avLst/>
              </a:prstGeom>
              <a:grpFill/>
              <a:ln w="9525">
                <a:noFill/>
                <a:miter lim="800000"/>
                <a:headEnd/>
                <a:tailEnd/>
              </a:ln>
            </p:spPr>
            <p:txBody>
              <a:bodyPr/>
              <a:lstStyle/>
              <a:p>
                <a:endParaRPr lang="en-US" sz="2178"/>
              </a:p>
            </p:txBody>
          </p:sp>
          <p:sp>
            <p:nvSpPr>
              <p:cNvPr id="504" name="Line 122">
                <a:extLst>
                  <a:ext uri="{FF2B5EF4-FFF2-40B4-BE49-F238E27FC236}">
                    <a16:creationId xmlns:a16="http://schemas.microsoft.com/office/drawing/2014/main" id="{EE8EAF3F-5E60-44E4-A25B-7DD1CB04176B}"/>
                  </a:ext>
                </a:extLst>
              </p:cNvPr>
              <p:cNvSpPr>
                <a:spLocks noChangeShapeType="1"/>
              </p:cNvSpPr>
              <p:nvPr/>
            </p:nvSpPr>
            <p:spPr bwMode="auto">
              <a:xfrm flipV="1">
                <a:off x="3972" y="2595"/>
                <a:ext cx="5" cy="4"/>
              </a:xfrm>
              <a:prstGeom prst="line">
                <a:avLst/>
              </a:prstGeom>
              <a:grpFill/>
              <a:ln w="9525">
                <a:noFill/>
                <a:round/>
                <a:headEnd/>
                <a:tailEnd/>
              </a:ln>
            </p:spPr>
            <p:txBody>
              <a:bodyPr/>
              <a:lstStyle/>
              <a:p>
                <a:endParaRPr lang="en-US" sz="2178"/>
              </a:p>
            </p:txBody>
          </p:sp>
          <p:sp>
            <p:nvSpPr>
              <p:cNvPr id="505" name="Freeform 123">
                <a:extLst>
                  <a:ext uri="{FF2B5EF4-FFF2-40B4-BE49-F238E27FC236}">
                    <a16:creationId xmlns:a16="http://schemas.microsoft.com/office/drawing/2014/main" id="{C28419F0-C411-48CD-B235-CE06A89BD4AC}"/>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noFill/>
                <a:prstDash val="solid"/>
                <a:round/>
                <a:headEnd/>
                <a:tailEnd/>
              </a:ln>
            </p:spPr>
            <p:txBody>
              <a:bodyPr/>
              <a:lstStyle/>
              <a:p>
                <a:endParaRPr lang="en-US" sz="2178"/>
              </a:p>
            </p:txBody>
          </p:sp>
          <p:sp>
            <p:nvSpPr>
              <p:cNvPr id="506" name="Freeform 124">
                <a:extLst>
                  <a:ext uri="{FF2B5EF4-FFF2-40B4-BE49-F238E27FC236}">
                    <a16:creationId xmlns:a16="http://schemas.microsoft.com/office/drawing/2014/main" id="{F17EB095-397A-4457-9867-0366D094607B}"/>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noFill/>
                <a:prstDash val="solid"/>
                <a:round/>
                <a:headEnd/>
                <a:tailEnd/>
              </a:ln>
            </p:spPr>
            <p:txBody>
              <a:bodyPr/>
              <a:lstStyle/>
              <a:p>
                <a:endParaRPr lang="en-US" sz="2178"/>
              </a:p>
            </p:txBody>
          </p:sp>
          <p:sp>
            <p:nvSpPr>
              <p:cNvPr id="507" name="Line 125">
                <a:extLst>
                  <a:ext uri="{FF2B5EF4-FFF2-40B4-BE49-F238E27FC236}">
                    <a16:creationId xmlns:a16="http://schemas.microsoft.com/office/drawing/2014/main" id="{4867810F-F9AC-4C44-AF56-37ACFC497DC7}"/>
                  </a:ext>
                </a:extLst>
              </p:cNvPr>
              <p:cNvSpPr>
                <a:spLocks noChangeShapeType="1"/>
              </p:cNvSpPr>
              <p:nvPr/>
            </p:nvSpPr>
            <p:spPr bwMode="auto">
              <a:xfrm>
                <a:off x="3981" y="2559"/>
                <a:ext cx="2" cy="1"/>
              </a:xfrm>
              <a:prstGeom prst="line">
                <a:avLst/>
              </a:prstGeom>
              <a:grpFill/>
              <a:ln w="9525">
                <a:noFill/>
                <a:round/>
                <a:headEnd/>
                <a:tailEnd/>
              </a:ln>
            </p:spPr>
            <p:txBody>
              <a:bodyPr/>
              <a:lstStyle/>
              <a:p>
                <a:endParaRPr lang="en-US" sz="2178"/>
              </a:p>
            </p:txBody>
          </p:sp>
          <p:sp>
            <p:nvSpPr>
              <p:cNvPr id="508" name="Freeform 126">
                <a:extLst>
                  <a:ext uri="{FF2B5EF4-FFF2-40B4-BE49-F238E27FC236}">
                    <a16:creationId xmlns:a16="http://schemas.microsoft.com/office/drawing/2014/main" id="{89501156-CA7B-494F-BC2C-657216EDE125}"/>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noFill/>
                <a:prstDash val="solid"/>
                <a:round/>
                <a:headEnd/>
                <a:tailEnd/>
              </a:ln>
            </p:spPr>
            <p:txBody>
              <a:bodyPr/>
              <a:lstStyle/>
              <a:p>
                <a:endParaRPr lang="en-US" sz="2178"/>
              </a:p>
            </p:txBody>
          </p:sp>
          <p:sp>
            <p:nvSpPr>
              <p:cNvPr id="509" name="Freeform 127">
                <a:extLst>
                  <a:ext uri="{FF2B5EF4-FFF2-40B4-BE49-F238E27FC236}">
                    <a16:creationId xmlns:a16="http://schemas.microsoft.com/office/drawing/2014/main" id="{60B5EF87-04E0-4634-AF1D-2751C21BA540}"/>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noFill/>
                <a:prstDash val="solid"/>
                <a:round/>
                <a:headEnd/>
                <a:tailEnd/>
              </a:ln>
            </p:spPr>
            <p:txBody>
              <a:bodyPr/>
              <a:lstStyle/>
              <a:p>
                <a:endParaRPr lang="en-US" sz="2178"/>
              </a:p>
            </p:txBody>
          </p:sp>
          <p:sp>
            <p:nvSpPr>
              <p:cNvPr id="510" name="Line 128">
                <a:extLst>
                  <a:ext uri="{FF2B5EF4-FFF2-40B4-BE49-F238E27FC236}">
                    <a16:creationId xmlns:a16="http://schemas.microsoft.com/office/drawing/2014/main" id="{7D751E3F-BC9D-45ED-864D-C8BD1DD9365B}"/>
                  </a:ext>
                </a:extLst>
              </p:cNvPr>
              <p:cNvSpPr>
                <a:spLocks noChangeShapeType="1"/>
              </p:cNvSpPr>
              <p:nvPr/>
            </p:nvSpPr>
            <p:spPr bwMode="auto">
              <a:xfrm flipV="1">
                <a:off x="3981" y="2599"/>
                <a:ext cx="1" cy="4"/>
              </a:xfrm>
              <a:prstGeom prst="line">
                <a:avLst/>
              </a:prstGeom>
              <a:grpFill/>
              <a:ln w="9525">
                <a:noFill/>
                <a:round/>
                <a:headEnd/>
                <a:tailEnd/>
              </a:ln>
            </p:spPr>
            <p:txBody>
              <a:bodyPr/>
              <a:lstStyle/>
              <a:p>
                <a:endParaRPr lang="en-US" sz="2178"/>
              </a:p>
            </p:txBody>
          </p:sp>
          <p:sp>
            <p:nvSpPr>
              <p:cNvPr id="511" name="Freeform 129">
                <a:extLst>
                  <a:ext uri="{FF2B5EF4-FFF2-40B4-BE49-F238E27FC236}">
                    <a16:creationId xmlns:a16="http://schemas.microsoft.com/office/drawing/2014/main" id="{AB10E172-8F4D-428B-BF89-6F93A457C8CE}"/>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noFill/>
                <a:prstDash val="solid"/>
                <a:round/>
                <a:headEnd/>
                <a:tailEnd/>
              </a:ln>
            </p:spPr>
            <p:txBody>
              <a:bodyPr/>
              <a:lstStyle/>
              <a:p>
                <a:endParaRPr lang="en-US" sz="2178"/>
              </a:p>
            </p:txBody>
          </p:sp>
          <p:sp>
            <p:nvSpPr>
              <p:cNvPr id="512" name="Freeform 130">
                <a:extLst>
                  <a:ext uri="{FF2B5EF4-FFF2-40B4-BE49-F238E27FC236}">
                    <a16:creationId xmlns:a16="http://schemas.microsoft.com/office/drawing/2014/main" id="{3DD3EE2E-6CAC-488C-B0E6-2D6913D1DF2C}"/>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noFill/>
                <a:prstDash val="solid"/>
                <a:round/>
                <a:headEnd/>
                <a:tailEnd/>
              </a:ln>
            </p:spPr>
            <p:txBody>
              <a:bodyPr/>
              <a:lstStyle/>
              <a:p>
                <a:endParaRPr lang="en-US" sz="2178"/>
              </a:p>
            </p:txBody>
          </p:sp>
          <p:sp>
            <p:nvSpPr>
              <p:cNvPr id="513" name="Freeform 131">
                <a:extLst>
                  <a:ext uri="{FF2B5EF4-FFF2-40B4-BE49-F238E27FC236}">
                    <a16:creationId xmlns:a16="http://schemas.microsoft.com/office/drawing/2014/main" id="{2A0308CA-FAEB-4D7F-8F41-CBB259497FEC}"/>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noFill/>
                <a:prstDash val="solid"/>
                <a:round/>
                <a:headEnd/>
                <a:tailEnd/>
              </a:ln>
            </p:spPr>
            <p:txBody>
              <a:bodyPr/>
              <a:lstStyle/>
              <a:p>
                <a:endParaRPr lang="en-US" sz="2178"/>
              </a:p>
            </p:txBody>
          </p:sp>
          <p:sp>
            <p:nvSpPr>
              <p:cNvPr id="514" name="Freeform 132">
                <a:extLst>
                  <a:ext uri="{FF2B5EF4-FFF2-40B4-BE49-F238E27FC236}">
                    <a16:creationId xmlns:a16="http://schemas.microsoft.com/office/drawing/2014/main" id="{4C84261C-E690-4712-9097-5EF5B3840E6B}"/>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noFill/>
                <a:prstDash val="solid"/>
                <a:round/>
                <a:headEnd/>
                <a:tailEnd/>
              </a:ln>
            </p:spPr>
            <p:txBody>
              <a:bodyPr/>
              <a:lstStyle/>
              <a:p>
                <a:endParaRPr lang="en-US" sz="2178"/>
              </a:p>
            </p:txBody>
          </p:sp>
          <p:sp>
            <p:nvSpPr>
              <p:cNvPr id="515" name="Freeform 133">
                <a:extLst>
                  <a:ext uri="{FF2B5EF4-FFF2-40B4-BE49-F238E27FC236}">
                    <a16:creationId xmlns:a16="http://schemas.microsoft.com/office/drawing/2014/main" id="{D017C8CE-9C26-4A58-BF79-E2D55B520BD9}"/>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noFill/>
                <a:prstDash val="solid"/>
                <a:round/>
                <a:headEnd/>
                <a:tailEnd/>
              </a:ln>
            </p:spPr>
            <p:txBody>
              <a:bodyPr/>
              <a:lstStyle/>
              <a:p>
                <a:endParaRPr lang="en-US" sz="2178"/>
              </a:p>
            </p:txBody>
          </p:sp>
          <p:sp>
            <p:nvSpPr>
              <p:cNvPr id="516" name="Freeform 134">
                <a:extLst>
                  <a:ext uri="{FF2B5EF4-FFF2-40B4-BE49-F238E27FC236}">
                    <a16:creationId xmlns:a16="http://schemas.microsoft.com/office/drawing/2014/main" id="{E0BC55C9-A151-41F4-BBFE-D982C7127B5E}"/>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noFill/>
                <a:prstDash val="solid"/>
                <a:round/>
                <a:headEnd/>
                <a:tailEnd/>
              </a:ln>
            </p:spPr>
            <p:txBody>
              <a:bodyPr/>
              <a:lstStyle/>
              <a:p>
                <a:endParaRPr lang="en-US" sz="2178"/>
              </a:p>
            </p:txBody>
          </p:sp>
          <p:sp>
            <p:nvSpPr>
              <p:cNvPr id="517" name="Freeform 135">
                <a:extLst>
                  <a:ext uri="{FF2B5EF4-FFF2-40B4-BE49-F238E27FC236}">
                    <a16:creationId xmlns:a16="http://schemas.microsoft.com/office/drawing/2014/main" id="{8E4C9F5C-C41E-4F78-9E88-3A87E2829C11}"/>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noFill/>
                <a:prstDash val="solid"/>
                <a:round/>
                <a:headEnd/>
                <a:tailEnd/>
              </a:ln>
            </p:spPr>
            <p:txBody>
              <a:bodyPr/>
              <a:lstStyle/>
              <a:p>
                <a:endParaRPr lang="en-US" sz="2178"/>
              </a:p>
            </p:txBody>
          </p:sp>
          <p:sp>
            <p:nvSpPr>
              <p:cNvPr id="518" name="Rectangle 136">
                <a:extLst>
                  <a:ext uri="{FF2B5EF4-FFF2-40B4-BE49-F238E27FC236}">
                    <a16:creationId xmlns:a16="http://schemas.microsoft.com/office/drawing/2014/main" id="{0DB83835-B604-4310-A5F1-CAFA2B81A090}"/>
                  </a:ext>
                </a:extLst>
              </p:cNvPr>
              <p:cNvSpPr>
                <a:spLocks noChangeArrowheads="1"/>
              </p:cNvSpPr>
              <p:nvPr/>
            </p:nvSpPr>
            <p:spPr bwMode="auto">
              <a:xfrm>
                <a:off x="3975" y="2632"/>
                <a:ext cx="8" cy="2"/>
              </a:xfrm>
              <a:prstGeom prst="rect">
                <a:avLst/>
              </a:prstGeom>
              <a:grpFill/>
              <a:ln w="9525">
                <a:noFill/>
                <a:miter lim="800000"/>
                <a:headEnd/>
                <a:tailEnd/>
              </a:ln>
            </p:spPr>
            <p:txBody>
              <a:bodyPr/>
              <a:lstStyle/>
              <a:p>
                <a:endParaRPr lang="en-US" sz="2178"/>
              </a:p>
            </p:txBody>
          </p:sp>
          <p:sp>
            <p:nvSpPr>
              <p:cNvPr id="519" name="Line 137">
                <a:extLst>
                  <a:ext uri="{FF2B5EF4-FFF2-40B4-BE49-F238E27FC236}">
                    <a16:creationId xmlns:a16="http://schemas.microsoft.com/office/drawing/2014/main" id="{6486AE18-98B8-4EAD-9562-64C57FB09C47}"/>
                  </a:ext>
                </a:extLst>
              </p:cNvPr>
              <p:cNvSpPr>
                <a:spLocks noChangeShapeType="1"/>
              </p:cNvSpPr>
              <p:nvPr/>
            </p:nvSpPr>
            <p:spPr bwMode="auto">
              <a:xfrm flipV="1">
                <a:off x="3972" y="2595"/>
                <a:ext cx="5" cy="4"/>
              </a:xfrm>
              <a:prstGeom prst="line">
                <a:avLst/>
              </a:prstGeom>
              <a:grpFill/>
              <a:ln w="9525">
                <a:noFill/>
                <a:round/>
                <a:headEnd/>
                <a:tailEnd/>
              </a:ln>
            </p:spPr>
            <p:txBody>
              <a:bodyPr/>
              <a:lstStyle/>
              <a:p>
                <a:endParaRPr lang="en-US" sz="2178"/>
              </a:p>
            </p:txBody>
          </p:sp>
          <p:sp>
            <p:nvSpPr>
              <p:cNvPr id="520" name="Freeform 138">
                <a:extLst>
                  <a:ext uri="{FF2B5EF4-FFF2-40B4-BE49-F238E27FC236}">
                    <a16:creationId xmlns:a16="http://schemas.microsoft.com/office/drawing/2014/main" id="{C7541E82-B5D2-4DDE-9C7B-54094C8C2B11}"/>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noFill/>
                <a:prstDash val="solid"/>
                <a:round/>
                <a:headEnd/>
                <a:tailEnd/>
              </a:ln>
            </p:spPr>
            <p:txBody>
              <a:bodyPr/>
              <a:lstStyle/>
              <a:p>
                <a:endParaRPr lang="en-US" sz="2178"/>
              </a:p>
            </p:txBody>
          </p:sp>
          <p:sp>
            <p:nvSpPr>
              <p:cNvPr id="521" name="Freeform 139">
                <a:extLst>
                  <a:ext uri="{FF2B5EF4-FFF2-40B4-BE49-F238E27FC236}">
                    <a16:creationId xmlns:a16="http://schemas.microsoft.com/office/drawing/2014/main" id="{EADED8DC-E3CB-40E6-9102-2BDC834D0248}"/>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noFill/>
                <a:prstDash val="solid"/>
                <a:round/>
                <a:headEnd/>
                <a:tailEnd/>
              </a:ln>
            </p:spPr>
            <p:txBody>
              <a:bodyPr/>
              <a:lstStyle/>
              <a:p>
                <a:endParaRPr lang="en-US" sz="2178"/>
              </a:p>
            </p:txBody>
          </p:sp>
          <p:sp>
            <p:nvSpPr>
              <p:cNvPr id="522" name="Line 140">
                <a:extLst>
                  <a:ext uri="{FF2B5EF4-FFF2-40B4-BE49-F238E27FC236}">
                    <a16:creationId xmlns:a16="http://schemas.microsoft.com/office/drawing/2014/main" id="{B7EB7B50-5F4D-4A58-A9A8-51A8BA316CD6}"/>
                  </a:ext>
                </a:extLst>
              </p:cNvPr>
              <p:cNvSpPr>
                <a:spLocks noChangeShapeType="1"/>
              </p:cNvSpPr>
              <p:nvPr/>
            </p:nvSpPr>
            <p:spPr bwMode="auto">
              <a:xfrm>
                <a:off x="3981" y="2559"/>
                <a:ext cx="2" cy="1"/>
              </a:xfrm>
              <a:prstGeom prst="line">
                <a:avLst/>
              </a:prstGeom>
              <a:grpFill/>
              <a:ln w="9525">
                <a:noFill/>
                <a:round/>
                <a:headEnd/>
                <a:tailEnd/>
              </a:ln>
            </p:spPr>
            <p:txBody>
              <a:bodyPr/>
              <a:lstStyle/>
              <a:p>
                <a:endParaRPr lang="en-US" sz="2178"/>
              </a:p>
            </p:txBody>
          </p:sp>
          <p:sp>
            <p:nvSpPr>
              <p:cNvPr id="523" name="Freeform 141">
                <a:extLst>
                  <a:ext uri="{FF2B5EF4-FFF2-40B4-BE49-F238E27FC236}">
                    <a16:creationId xmlns:a16="http://schemas.microsoft.com/office/drawing/2014/main" id="{79E13C66-8D96-4E74-8201-08BE87E282CD}"/>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noFill/>
                <a:prstDash val="solid"/>
                <a:round/>
                <a:headEnd/>
                <a:tailEnd/>
              </a:ln>
            </p:spPr>
            <p:txBody>
              <a:bodyPr/>
              <a:lstStyle/>
              <a:p>
                <a:endParaRPr lang="en-US" sz="2178"/>
              </a:p>
            </p:txBody>
          </p:sp>
          <p:sp>
            <p:nvSpPr>
              <p:cNvPr id="524" name="Freeform 142">
                <a:extLst>
                  <a:ext uri="{FF2B5EF4-FFF2-40B4-BE49-F238E27FC236}">
                    <a16:creationId xmlns:a16="http://schemas.microsoft.com/office/drawing/2014/main" id="{53761AA1-7599-4D90-9DB8-4ACA72626566}"/>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noFill/>
                <a:prstDash val="solid"/>
                <a:round/>
                <a:headEnd/>
                <a:tailEnd/>
              </a:ln>
            </p:spPr>
            <p:txBody>
              <a:bodyPr/>
              <a:lstStyle/>
              <a:p>
                <a:endParaRPr lang="en-US" sz="2178"/>
              </a:p>
            </p:txBody>
          </p:sp>
          <p:sp>
            <p:nvSpPr>
              <p:cNvPr id="525" name="Line 143">
                <a:extLst>
                  <a:ext uri="{FF2B5EF4-FFF2-40B4-BE49-F238E27FC236}">
                    <a16:creationId xmlns:a16="http://schemas.microsoft.com/office/drawing/2014/main" id="{6393C355-6CE0-4946-9C12-F38A7C8C5F09}"/>
                  </a:ext>
                </a:extLst>
              </p:cNvPr>
              <p:cNvSpPr>
                <a:spLocks noChangeShapeType="1"/>
              </p:cNvSpPr>
              <p:nvPr/>
            </p:nvSpPr>
            <p:spPr bwMode="auto">
              <a:xfrm flipV="1">
                <a:off x="3981" y="2599"/>
                <a:ext cx="1" cy="4"/>
              </a:xfrm>
              <a:prstGeom prst="line">
                <a:avLst/>
              </a:prstGeom>
              <a:grpFill/>
              <a:ln w="9525">
                <a:noFill/>
                <a:round/>
                <a:headEnd/>
                <a:tailEnd/>
              </a:ln>
            </p:spPr>
            <p:txBody>
              <a:bodyPr/>
              <a:lstStyle/>
              <a:p>
                <a:endParaRPr lang="en-US" sz="2178"/>
              </a:p>
            </p:txBody>
          </p:sp>
          <p:sp>
            <p:nvSpPr>
              <p:cNvPr id="526" name="Freeform 144">
                <a:extLst>
                  <a:ext uri="{FF2B5EF4-FFF2-40B4-BE49-F238E27FC236}">
                    <a16:creationId xmlns:a16="http://schemas.microsoft.com/office/drawing/2014/main" id="{81295155-E42D-44CB-8A4B-ED9A83A2DF1E}"/>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noFill/>
                <a:prstDash val="solid"/>
                <a:round/>
                <a:headEnd/>
                <a:tailEnd/>
              </a:ln>
            </p:spPr>
            <p:txBody>
              <a:bodyPr/>
              <a:lstStyle/>
              <a:p>
                <a:endParaRPr lang="en-US" sz="2178"/>
              </a:p>
            </p:txBody>
          </p:sp>
          <p:sp>
            <p:nvSpPr>
              <p:cNvPr id="527" name="Freeform 145">
                <a:extLst>
                  <a:ext uri="{FF2B5EF4-FFF2-40B4-BE49-F238E27FC236}">
                    <a16:creationId xmlns:a16="http://schemas.microsoft.com/office/drawing/2014/main" id="{7FAD9DB6-11D0-4F55-9DD3-D3025FAEBA60}"/>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noFill/>
                <a:prstDash val="solid"/>
                <a:round/>
                <a:headEnd/>
                <a:tailEnd/>
              </a:ln>
            </p:spPr>
            <p:txBody>
              <a:bodyPr/>
              <a:lstStyle/>
              <a:p>
                <a:endParaRPr lang="en-US" sz="2178"/>
              </a:p>
            </p:txBody>
          </p:sp>
          <p:sp>
            <p:nvSpPr>
              <p:cNvPr id="528" name="Freeform 146">
                <a:extLst>
                  <a:ext uri="{FF2B5EF4-FFF2-40B4-BE49-F238E27FC236}">
                    <a16:creationId xmlns:a16="http://schemas.microsoft.com/office/drawing/2014/main" id="{7758E074-21DB-45C0-8F5A-95DCD937E22B}"/>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noFill/>
                <a:prstDash val="solid"/>
                <a:round/>
                <a:headEnd/>
                <a:tailEnd/>
              </a:ln>
            </p:spPr>
            <p:txBody>
              <a:bodyPr/>
              <a:lstStyle/>
              <a:p>
                <a:endParaRPr lang="en-US" sz="2178"/>
              </a:p>
            </p:txBody>
          </p:sp>
          <p:sp>
            <p:nvSpPr>
              <p:cNvPr id="529" name="Freeform 147">
                <a:extLst>
                  <a:ext uri="{FF2B5EF4-FFF2-40B4-BE49-F238E27FC236}">
                    <a16:creationId xmlns:a16="http://schemas.microsoft.com/office/drawing/2014/main" id="{1B45A0C1-9F2C-403B-8B70-1F87C1C60F42}"/>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noFill/>
                <a:prstDash val="solid"/>
                <a:round/>
                <a:headEnd/>
                <a:tailEnd/>
              </a:ln>
            </p:spPr>
            <p:txBody>
              <a:bodyPr/>
              <a:lstStyle/>
              <a:p>
                <a:endParaRPr lang="en-US" sz="2178"/>
              </a:p>
            </p:txBody>
          </p:sp>
          <p:sp>
            <p:nvSpPr>
              <p:cNvPr id="530" name="Freeform 148">
                <a:extLst>
                  <a:ext uri="{FF2B5EF4-FFF2-40B4-BE49-F238E27FC236}">
                    <a16:creationId xmlns:a16="http://schemas.microsoft.com/office/drawing/2014/main" id="{AD6F0801-5D2C-4774-BFAF-E2BA18FD3F68}"/>
                  </a:ext>
                </a:extLst>
              </p:cNvPr>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9525" cmpd="sng">
                <a:noFill/>
                <a:prstDash val="solid"/>
                <a:round/>
                <a:headEnd/>
                <a:tailEnd/>
              </a:ln>
            </p:spPr>
            <p:txBody>
              <a:bodyPr/>
              <a:lstStyle/>
              <a:p>
                <a:endParaRPr lang="en-US" sz="2178"/>
              </a:p>
            </p:txBody>
          </p:sp>
        </p:grpSp>
        <p:grpSp>
          <p:nvGrpSpPr>
            <p:cNvPr id="98" name="Group 149">
              <a:extLst>
                <a:ext uri="{FF2B5EF4-FFF2-40B4-BE49-F238E27FC236}">
                  <a16:creationId xmlns:a16="http://schemas.microsoft.com/office/drawing/2014/main" id="{37D763CC-C607-4485-A0E9-E893C4E3E868}"/>
                </a:ext>
              </a:extLst>
            </p:cNvPr>
            <p:cNvGrpSpPr>
              <a:grpSpLocks/>
            </p:cNvGrpSpPr>
            <p:nvPr>
              <p:custDataLst>
                <p:tags r:id="rId89"/>
              </p:custDataLst>
            </p:nvPr>
          </p:nvGrpSpPr>
          <p:grpSpPr bwMode="auto">
            <a:xfrm>
              <a:off x="7870825" y="3810000"/>
              <a:ext cx="185738" cy="214313"/>
              <a:chOff x="5486" y="2743"/>
              <a:chExt cx="137" cy="132"/>
            </a:xfrm>
            <a:grpFill/>
          </p:grpSpPr>
          <p:sp>
            <p:nvSpPr>
              <p:cNvPr id="491" name="Freeform 150">
                <a:extLst>
                  <a:ext uri="{FF2B5EF4-FFF2-40B4-BE49-F238E27FC236}">
                    <a16:creationId xmlns:a16="http://schemas.microsoft.com/office/drawing/2014/main" id="{B6D24EB6-291B-4E53-AD7E-17F5378DC573}"/>
                  </a:ext>
                </a:extLst>
              </p:cNvPr>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noFill/>
                <a:prstDash val="solid"/>
                <a:round/>
                <a:headEnd/>
                <a:tailEnd/>
              </a:ln>
            </p:spPr>
            <p:txBody>
              <a:bodyPr/>
              <a:lstStyle/>
              <a:p>
                <a:endParaRPr lang="en-US" sz="2178"/>
              </a:p>
            </p:txBody>
          </p:sp>
          <p:sp>
            <p:nvSpPr>
              <p:cNvPr id="492" name="Freeform 151">
                <a:extLst>
                  <a:ext uri="{FF2B5EF4-FFF2-40B4-BE49-F238E27FC236}">
                    <a16:creationId xmlns:a16="http://schemas.microsoft.com/office/drawing/2014/main" id="{CF576F4A-A01D-43FC-92E5-5E054C426199}"/>
                  </a:ext>
                </a:extLst>
              </p:cNvPr>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noFill/>
                <a:prstDash val="solid"/>
                <a:round/>
                <a:headEnd/>
                <a:tailEnd/>
              </a:ln>
            </p:spPr>
            <p:txBody>
              <a:bodyPr/>
              <a:lstStyle/>
              <a:p>
                <a:endParaRPr lang="en-US" sz="2178"/>
              </a:p>
            </p:txBody>
          </p:sp>
          <p:sp>
            <p:nvSpPr>
              <p:cNvPr id="493" name="Freeform 152">
                <a:extLst>
                  <a:ext uri="{FF2B5EF4-FFF2-40B4-BE49-F238E27FC236}">
                    <a16:creationId xmlns:a16="http://schemas.microsoft.com/office/drawing/2014/main" id="{0806C6F7-95FE-4E59-841F-2377CBE4750C}"/>
                  </a:ext>
                </a:extLst>
              </p:cNvPr>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noFill/>
                <a:prstDash val="solid"/>
                <a:round/>
                <a:headEnd/>
                <a:tailEnd/>
              </a:ln>
            </p:spPr>
            <p:txBody>
              <a:bodyPr/>
              <a:lstStyle/>
              <a:p>
                <a:endParaRPr lang="en-US" sz="2178"/>
              </a:p>
            </p:txBody>
          </p:sp>
          <p:sp>
            <p:nvSpPr>
              <p:cNvPr id="494" name="Freeform 153">
                <a:extLst>
                  <a:ext uri="{FF2B5EF4-FFF2-40B4-BE49-F238E27FC236}">
                    <a16:creationId xmlns:a16="http://schemas.microsoft.com/office/drawing/2014/main" id="{F6C06AE2-3679-42BA-ACB4-3577616D2EA2}"/>
                  </a:ext>
                </a:extLst>
              </p:cNvPr>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noFill/>
                <a:prstDash val="solid"/>
                <a:round/>
                <a:headEnd/>
                <a:tailEnd/>
              </a:ln>
            </p:spPr>
            <p:txBody>
              <a:bodyPr/>
              <a:lstStyle/>
              <a:p>
                <a:endParaRPr lang="en-US" sz="2178"/>
              </a:p>
            </p:txBody>
          </p:sp>
          <p:sp>
            <p:nvSpPr>
              <p:cNvPr id="495" name="Freeform 154">
                <a:extLst>
                  <a:ext uri="{FF2B5EF4-FFF2-40B4-BE49-F238E27FC236}">
                    <a16:creationId xmlns:a16="http://schemas.microsoft.com/office/drawing/2014/main" id="{C70B425E-7C23-47BA-9DC0-1A71B17D882D}"/>
                  </a:ext>
                </a:extLst>
              </p:cNvPr>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noFill/>
                <a:prstDash val="solid"/>
                <a:round/>
                <a:headEnd/>
                <a:tailEnd/>
              </a:ln>
            </p:spPr>
            <p:txBody>
              <a:bodyPr/>
              <a:lstStyle/>
              <a:p>
                <a:endParaRPr lang="en-US" sz="2178"/>
              </a:p>
            </p:txBody>
          </p:sp>
          <p:sp>
            <p:nvSpPr>
              <p:cNvPr id="496" name="Freeform 155">
                <a:extLst>
                  <a:ext uri="{FF2B5EF4-FFF2-40B4-BE49-F238E27FC236}">
                    <a16:creationId xmlns:a16="http://schemas.microsoft.com/office/drawing/2014/main" id="{9638329D-5416-4FC5-B688-7B25A67E40F2}"/>
                  </a:ext>
                </a:extLst>
              </p:cNvPr>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noFill/>
                <a:prstDash val="solid"/>
                <a:round/>
                <a:headEnd/>
                <a:tailEnd/>
              </a:ln>
            </p:spPr>
            <p:txBody>
              <a:bodyPr/>
              <a:lstStyle/>
              <a:p>
                <a:endParaRPr lang="en-US" sz="2178"/>
              </a:p>
            </p:txBody>
          </p:sp>
          <p:sp>
            <p:nvSpPr>
              <p:cNvPr id="497" name="Freeform 156">
                <a:extLst>
                  <a:ext uri="{FF2B5EF4-FFF2-40B4-BE49-F238E27FC236}">
                    <a16:creationId xmlns:a16="http://schemas.microsoft.com/office/drawing/2014/main" id="{CA996453-1234-4E0A-B391-0D5AA5FB91F2}"/>
                  </a:ext>
                </a:extLst>
              </p:cNvPr>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noFill/>
                <a:prstDash val="solid"/>
                <a:round/>
                <a:headEnd/>
                <a:tailEnd/>
              </a:ln>
            </p:spPr>
            <p:txBody>
              <a:bodyPr/>
              <a:lstStyle/>
              <a:p>
                <a:endParaRPr lang="en-US" sz="2178"/>
              </a:p>
            </p:txBody>
          </p:sp>
          <p:sp>
            <p:nvSpPr>
              <p:cNvPr id="498" name="Freeform 157">
                <a:extLst>
                  <a:ext uri="{FF2B5EF4-FFF2-40B4-BE49-F238E27FC236}">
                    <a16:creationId xmlns:a16="http://schemas.microsoft.com/office/drawing/2014/main" id="{AA770BE0-BE89-4BEF-AB60-EAFBD4A4B8C1}"/>
                  </a:ext>
                </a:extLst>
              </p:cNvPr>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noFill/>
                <a:prstDash val="solid"/>
                <a:round/>
                <a:headEnd/>
                <a:tailEnd/>
              </a:ln>
            </p:spPr>
            <p:txBody>
              <a:bodyPr/>
              <a:lstStyle/>
              <a:p>
                <a:endParaRPr lang="en-US" sz="2178"/>
              </a:p>
            </p:txBody>
          </p:sp>
          <p:sp>
            <p:nvSpPr>
              <p:cNvPr id="499" name="Freeform 158">
                <a:extLst>
                  <a:ext uri="{FF2B5EF4-FFF2-40B4-BE49-F238E27FC236}">
                    <a16:creationId xmlns:a16="http://schemas.microsoft.com/office/drawing/2014/main" id="{13CCC3A9-518F-48F0-92BA-F9682EE478C8}"/>
                  </a:ext>
                </a:extLst>
              </p:cNvPr>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noFill/>
                <a:prstDash val="solid"/>
                <a:round/>
                <a:headEnd/>
                <a:tailEnd/>
              </a:ln>
            </p:spPr>
            <p:txBody>
              <a:bodyPr/>
              <a:lstStyle/>
              <a:p>
                <a:endParaRPr lang="en-US" sz="2178"/>
              </a:p>
            </p:txBody>
          </p:sp>
        </p:grpSp>
        <p:sp>
          <p:nvSpPr>
            <p:cNvPr id="99" name="Freeform 159">
              <a:extLst>
                <a:ext uri="{FF2B5EF4-FFF2-40B4-BE49-F238E27FC236}">
                  <a16:creationId xmlns:a16="http://schemas.microsoft.com/office/drawing/2014/main" id="{9A50639F-8CBC-4BF0-B95F-65774F39A6F7}"/>
                </a:ext>
              </a:extLst>
            </p:cNvPr>
            <p:cNvSpPr>
              <a:spLocks/>
            </p:cNvSpPr>
            <p:nvPr>
              <p:custDataLst>
                <p:tags r:id="rId90"/>
              </p:custDataLst>
            </p:nvPr>
          </p:nvSpPr>
          <p:spPr bwMode="auto">
            <a:xfrm>
              <a:off x="4216400" y="3548063"/>
              <a:ext cx="11113" cy="55562"/>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grpFill/>
            <a:ln w="9525" cmpd="sng">
              <a:noFill/>
              <a:prstDash val="solid"/>
              <a:round/>
              <a:headEnd/>
              <a:tailEnd/>
            </a:ln>
          </p:spPr>
          <p:txBody>
            <a:bodyPr/>
            <a:lstStyle/>
            <a:p>
              <a:endParaRPr lang="en-US" sz="2178"/>
            </a:p>
          </p:txBody>
        </p:sp>
        <p:sp>
          <p:nvSpPr>
            <p:cNvPr id="100" name="Freeform 160">
              <a:extLst>
                <a:ext uri="{FF2B5EF4-FFF2-40B4-BE49-F238E27FC236}">
                  <a16:creationId xmlns:a16="http://schemas.microsoft.com/office/drawing/2014/main" id="{96075B69-39EF-4064-BBF0-58346DE6141A}"/>
                </a:ext>
              </a:extLst>
            </p:cNvPr>
            <p:cNvSpPr>
              <a:spLocks/>
            </p:cNvSpPr>
            <p:nvPr>
              <p:custDataLst>
                <p:tags r:id="rId91"/>
              </p:custDataLst>
            </p:nvPr>
          </p:nvSpPr>
          <p:spPr bwMode="auto">
            <a:xfrm>
              <a:off x="4140200" y="3687763"/>
              <a:ext cx="14288" cy="57150"/>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grpFill/>
            <a:ln w="9525" cmpd="sng">
              <a:noFill/>
              <a:prstDash val="solid"/>
              <a:round/>
              <a:headEnd/>
              <a:tailEnd/>
            </a:ln>
          </p:spPr>
          <p:txBody>
            <a:bodyPr/>
            <a:lstStyle/>
            <a:p>
              <a:endParaRPr lang="en-US" sz="2178"/>
            </a:p>
          </p:txBody>
        </p:sp>
        <p:sp>
          <p:nvSpPr>
            <p:cNvPr id="101" name="Freeform 161">
              <a:extLst>
                <a:ext uri="{FF2B5EF4-FFF2-40B4-BE49-F238E27FC236}">
                  <a16:creationId xmlns:a16="http://schemas.microsoft.com/office/drawing/2014/main" id="{CCDDA6EC-97BD-4816-BF7C-0C3D8B32E4A7}"/>
                </a:ext>
              </a:extLst>
            </p:cNvPr>
            <p:cNvSpPr>
              <a:spLocks/>
            </p:cNvSpPr>
            <p:nvPr>
              <p:custDataLst>
                <p:tags r:id="rId92"/>
              </p:custDataLst>
            </p:nvPr>
          </p:nvSpPr>
          <p:spPr bwMode="auto">
            <a:xfrm>
              <a:off x="5938838" y="2014538"/>
              <a:ext cx="728662" cy="331787"/>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grpFill/>
            <a:ln w="9525" cmpd="sng">
              <a:noFill/>
              <a:prstDash val="solid"/>
              <a:round/>
              <a:headEnd/>
              <a:tailEnd/>
            </a:ln>
          </p:spPr>
          <p:txBody>
            <a:bodyPr/>
            <a:lstStyle/>
            <a:p>
              <a:endParaRPr lang="en-US" sz="2178"/>
            </a:p>
          </p:txBody>
        </p:sp>
        <p:sp>
          <p:nvSpPr>
            <p:cNvPr id="102" name="Freeform 162">
              <a:extLst>
                <a:ext uri="{FF2B5EF4-FFF2-40B4-BE49-F238E27FC236}">
                  <a16:creationId xmlns:a16="http://schemas.microsoft.com/office/drawing/2014/main" id="{A4F84A85-BF8E-4BDE-B885-5BAC6102958C}"/>
                </a:ext>
              </a:extLst>
            </p:cNvPr>
            <p:cNvSpPr>
              <a:spLocks/>
            </p:cNvSpPr>
            <p:nvPr>
              <p:custDataLst>
                <p:tags r:id="rId93"/>
              </p:custDataLst>
            </p:nvPr>
          </p:nvSpPr>
          <p:spPr bwMode="auto">
            <a:xfrm>
              <a:off x="2265363" y="3981450"/>
              <a:ext cx="328612" cy="415925"/>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103" name="Freeform 163">
              <a:extLst>
                <a:ext uri="{FF2B5EF4-FFF2-40B4-BE49-F238E27FC236}">
                  <a16:creationId xmlns:a16="http://schemas.microsoft.com/office/drawing/2014/main" id="{209D3BE2-EC8F-4B1A-B240-36FC0E730480}"/>
                </a:ext>
              </a:extLst>
            </p:cNvPr>
            <p:cNvSpPr>
              <a:spLocks/>
            </p:cNvSpPr>
            <p:nvPr>
              <p:custDataLst>
                <p:tags r:id="rId94"/>
              </p:custDataLst>
            </p:nvPr>
          </p:nvSpPr>
          <p:spPr bwMode="auto">
            <a:xfrm>
              <a:off x="2479675" y="3411538"/>
              <a:ext cx="119063" cy="215900"/>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grpSp>
          <p:nvGrpSpPr>
            <p:cNvPr id="104" name="Group 164">
              <a:extLst>
                <a:ext uri="{FF2B5EF4-FFF2-40B4-BE49-F238E27FC236}">
                  <a16:creationId xmlns:a16="http://schemas.microsoft.com/office/drawing/2014/main" id="{49D05562-E0F0-401B-84F5-5CBABEE232D6}"/>
                </a:ext>
              </a:extLst>
            </p:cNvPr>
            <p:cNvGrpSpPr>
              <a:grpSpLocks/>
            </p:cNvGrpSpPr>
            <p:nvPr>
              <p:custDataLst>
                <p:tags r:id="rId95"/>
              </p:custDataLst>
            </p:nvPr>
          </p:nvGrpSpPr>
          <p:grpSpPr bwMode="auto">
            <a:xfrm>
              <a:off x="2193925" y="3246438"/>
              <a:ext cx="323850" cy="401637"/>
              <a:chOff x="1486" y="2412"/>
              <a:chExt cx="244" cy="256"/>
            </a:xfrm>
            <a:grpFill/>
          </p:grpSpPr>
          <p:sp>
            <p:nvSpPr>
              <p:cNvPr id="487" name="Freeform 165">
                <a:extLst>
                  <a:ext uri="{FF2B5EF4-FFF2-40B4-BE49-F238E27FC236}">
                    <a16:creationId xmlns:a16="http://schemas.microsoft.com/office/drawing/2014/main" id="{564F8EEF-AF45-4A38-B9F8-9637BE90BE8F}"/>
                  </a:ext>
                </a:extLst>
              </p:cNvPr>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88" name="Freeform 166">
                <a:extLst>
                  <a:ext uri="{FF2B5EF4-FFF2-40B4-BE49-F238E27FC236}">
                    <a16:creationId xmlns:a16="http://schemas.microsoft.com/office/drawing/2014/main" id="{0F550749-371D-4BB6-9D9F-56DAD26D9519}"/>
                  </a:ext>
                </a:extLst>
              </p:cNvPr>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89" name="Freeform 167">
                <a:extLst>
                  <a:ext uri="{FF2B5EF4-FFF2-40B4-BE49-F238E27FC236}">
                    <a16:creationId xmlns:a16="http://schemas.microsoft.com/office/drawing/2014/main" id="{E26F6E8C-D46C-4DB0-8FAA-4482B782A1F7}"/>
                  </a:ext>
                </a:extLst>
              </p:cNvPr>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90" name="Freeform 168">
                <a:extLst>
                  <a:ext uri="{FF2B5EF4-FFF2-40B4-BE49-F238E27FC236}">
                    <a16:creationId xmlns:a16="http://schemas.microsoft.com/office/drawing/2014/main" id="{60A3E99E-3CE7-46CF-9BD3-E7FA1E43526C}"/>
                  </a:ext>
                </a:extLst>
              </p:cNvPr>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grpSp>
        <p:sp>
          <p:nvSpPr>
            <p:cNvPr id="105" name="Freeform 169">
              <a:extLst>
                <a:ext uri="{FF2B5EF4-FFF2-40B4-BE49-F238E27FC236}">
                  <a16:creationId xmlns:a16="http://schemas.microsoft.com/office/drawing/2014/main" id="{6DCF050C-42F0-483E-A77D-0EC25D512885}"/>
                </a:ext>
              </a:extLst>
            </p:cNvPr>
            <p:cNvSpPr>
              <a:spLocks/>
            </p:cNvSpPr>
            <p:nvPr>
              <p:custDataLst>
                <p:tags r:id="rId96"/>
              </p:custDataLst>
            </p:nvPr>
          </p:nvSpPr>
          <p:spPr bwMode="auto">
            <a:xfrm>
              <a:off x="7215188" y="4786313"/>
              <a:ext cx="31750" cy="11112"/>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grpFill/>
            <a:ln w="9525" cmpd="sng">
              <a:noFill/>
              <a:prstDash val="solid"/>
              <a:round/>
              <a:headEnd/>
              <a:tailEnd/>
            </a:ln>
          </p:spPr>
          <p:txBody>
            <a:bodyPr/>
            <a:lstStyle/>
            <a:p>
              <a:endParaRPr lang="en-US" sz="2178"/>
            </a:p>
          </p:txBody>
        </p:sp>
        <p:sp>
          <p:nvSpPr>
            <p:cNvPr id="106" name="Freeform 170">
              <a:extLst>
                <a:ext uri="{FF2B5EF4-FFF2-40B4-BE49-F238E27FC236}">
                  <a16:creationId xmlns:a16="http://schemas.microsoft.com/office/drawing/2014/main" id="{07CB5C74-B85A-4815-811F-1259D1DB2959}"/>
                </a:ext>
              </a:extLst>
            </p:cNvPr>
            <p:cNvSpPr>
              <a:spLocks/>
            </p:cNvSpPr>
            <p:nvPr>
              <p:custDataLst>
                <p:tags r:id="rId97"/>
              </p:custDataLst>
            </p:nvPr>
          </p:nvSpPr>
          <p:spPr bwMode="auto">
            <a:xfrm>
              <a:off x="7331075" y="4919663"/>
              <a:ext cx="1588" cy="4762"/>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grpFill/>
            <a:ln w="9525" cmpd="sng">
              <a:noFill/>
              <a:prstDash val="solid"/>
              <a:round/>
              <a:headEnd/>
              <a:tailEnd/>
            </a:ln>
          </p:spPr>
          <p:txBody>
            <a:bodyPr/>
            <a:lstStyle/>
            <a:p>
              <a:endParaRPr lang="en-US" sz="2178"/>
            </a:p>
          </p:txBody>
        </p:sp>
        <p:sp>
          <p:nvSpPr>
            <p:cNvPr id="107" name="Line 171">
              <a:extLst>
                <a:ext uri="{FF2B5EF4-FFF2-40B4-BE49-F238E27FC236}">
                  <a16:creationId xmlns:a16="http://schemas.microsoft.com/office/drawing/2014/main" id="{9646DA81-916A-4BC7-A173-64079129571B}"/>
                </a:ext>
              </a:extLst>
            </p:cNvPr>
            <p:cNvSpPr>
              <a:spLocks noChangeShapeType="1"/>
            </p:cNvSpPr>
            <p:nvPr>
              <p:custDataLst>
                <p:tags r:id="rId98"/>
              </p:custDataLst>
            </p:nvPr>
          </p:nvSpPr>
          <p:spPr bwMode="auto">
            <a:xfrm flipV="1">
              <a:off x="7421563" y="4918075"/>
              <a:ext cx="1587" cy="12700"/>
            </a:xfrm>
            <a:prstGeom prst="line">
              <a:avLst/>
            </a:prstGeom>
            <a:grpFill/>
            <a:ln w="9525">
              <a:noFill/>
              <a:round/>
              <a:headEnd/>
              <a:tailEnd/>
            </a:ln>
          </p:spPr>
          <p:txBody>
            <a:bodyPr/>
            <a:lstStyle/>
            <a:p>
              <a:endParaRPr lang="en-US" sz="2178"/>
            </a:p>
          </p:txBody>
        </p:sp>
        <p:sp>
          <p:nvSpPr>
            <p:cNvPr id="108" name="Freeform 172">
              <a:extLst>
                <a:ext uri="{FF2B5EF4-FFF2-40B4-BE49-F238E27FC236}">
                  <a16:creationId xmlns:a16="http://schemas.microsoft.com/office/drawing/2014/main" id="{BD00214B-4624-4A08-82C2-A6318B3E18BD}"/>
                </a:ext>
              </a:extLst>
            </p:cNvPr>
            <p:cNvSpPr>
              <a:spLocks/>
            </p:cNvSpPr>
            <p:nvPr>
              <p:custDataLst>
                <p:tags r:id="rId99"/>
              </p:custDataLst>
            </p:nvPr>
          </p:nvSpPr>
          <p:spPr bwMode="auto">
            <a:xfrm>
              <a:off x="7421563" y="4918075"/>
              <a:ext cx="3175" cy="15875"/>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grpFill/>
            <a:ln w="9525" cmpd="sng">
              <a:noFill/>
              <a:prstDash val="solid"/>
              <a:round/>
              <a:headEnd/>
              <a:tailEnd/>
            </a:ln>
          </p:spPr>
          <p:txBody>
            <a:bodyPr/>
            <a:lstStyle/>
            <a:p>
              <a:endParaRPr lang="en-US" sz="2178"/>
            </a:p>
          </p:txBody>
        </p:sp>
        <p:sp>
          <p:nvSpPr>
            <p:cNvPr id="109" name="Freeform 173">
              <a:extLst>
                <a:ext uri="{FF2B5EF4-FFF2-40B4-BE49-F238E27FC236}">
                  <a16:creationId xmlns:a16="http://schemas.microsoft.com/office/drawing/2014/main" id="{9719CCFC-D78F-4D71-8DF9-EBE5D00EB908}"/>
                </a:ext>
              </a:extLst>
            </p:cNvPr>
            <p:cNvSpPr>
              <a:spLocks/>
            </p:cNvSpPr>
            <p:nvPr>
              <p:custDataLst>
                <p:tags r:id="rId100"/>
              </p:custDataLst>
            </p:nvPr>
          </p:nvSpPr>
          <p:spPr bwMode="auto">
            <a:xfrm>
              <a:off x="7720013" y="4387850"/>
              <a:ext cx="22225" cy="28575"/>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grpFill/>
            <a:ln w="9525" cmpd="sng">
              <a:noFill/>
              <a:prstDash val="solid"/>
              <a:round/>
              <a:headEnd/>
              <a:tailEnd/>
            </a:ln>
          </p:spPr>
          <p:txBody>
            <a:bodyPr/>
            <a:lstStyle/>
            <a:p>
              <a:endParaRPr lang="en-US" sz="2178"/>
            </a:p>
          </p:txBody>
        </p:sp>
        <p:sp>
          <p:nvSpPr>
            <p:cNvPr id="110" name="Freeform 174">
              <a:extLst>
                <a:ext uri="{FF2B5EF4-FFF2-40B4-BE49-F238E27FC236}">
                  <a16:creationId xmlns:a16="http://schemas.microsoft.com/office/drawing/2014/main" id="{DACAB5E3-75FF-4E2B-B1AE-0A529A87C3FE}"/>
                </a:ext>
              </a:extLst>
            </p:cNvPr>
            <p:cNvSpPr>
              <a:spLocks/>
            </p:cNvSpPr>
            <p:nvPr>
              <p:custDataLst>
                <p:tags r:id="rId101"/>
              </p:custDataLst>
            </p:nvPr>
          </p:nvSpPr>
          <p:spPr bwMode="auto">
            <a:xfrm>
              <a:off x="7726363" y="4314825"/>
              <a:ext cx="26987" cy="39688"/>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grpFill/>
            <a:ln w="9525" cmpd="sng">
              <a:noFill/>
              <a:prstDash val="solid"/>
              <a:round/>
              <a:headEnd/>
              <a:tailEnd/>
            </a:ln>
          </p:spPr>
          <p:txBody>
            <a:bodyPr/>
            <a:lstStyle/>
            <a:p>
              <a:endParaRPr lang="en-US" sz="2178"/>
            </a:p>
          </p:txBody>
        </p:sp>
        <p:sp>
          <p:nvSpPr>
            <p:cNvPr id="111" name="Freeform 175">
              <a:extLst>
                <a:ext uri="{FF2B5EF4-FFF2-40B4-BE49-F238E27FC236}">
                  <a16:creationId xmlns:a16="http://schemas.microsoft.com/office/drawing/2014/main" id="{A006EE8C-289D-4BE4-A19A-8F3E4835E102}"/>
                </a:ext>
              </a:extLst>
            </p:cNvPr>
            <p:cNvSpPr>
              <a:spLocks/>
            </p:cNvSpPr>
            <p:nvPr>
              <p:custDataLst>
                <p:tags r:id="rId102"/>
              </p:custDataLst>
            </p:nvPr>
          </p:nvSpPr>
          <p:spPr bwMode="auto">
            <a:xfrm>
              <a:off x="7702550" y="4291013"/>
              <a:ext cx="17463" cy="30162"/>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grpFill/>
            <a:ln w="9525" cmpd="sng">
              <a:noFill/>
              <a:prstDash val="solid"/>
              <a:round/>
              <a:headEnd/>
              <a:tailEnd/>
            </a:ln>
          </p:spPr>
          <p:txBody>
            <a:bodyPr/>
            <a:lstStyle/>
            <a:p>
              <a:endParaRPr lang="en-US" sz="2178"/>
            </a:p>
          </p:txBody>
        </p:sp>
        <p:sp>
          <p:nvSpPr>
            <p:cNvPr id="112" name="Freeform 176">
              <a:extLst>
                <a:ext uri="{FF2B5EF4-FFF2-40B4-BE49-F238E27FC236}">
                  <a16:creationId xmlns:a16="http://schemas.microsoft.com/office/drawing/2014/main" id="{EBA5A947-48B6-4B8A-B8A7-1A684E140908}"/>
                </a:ext>
              </a:extLst>
            </p:cNvPr>
            <p:cNvSpPr>
              <a:spLocks/>
            </p:cNvSpPr>
            <p:nvPr>
              <p:custDataLst>
                <p:tags r:id="rId103"/>
              </p:custDataLst>
            </p:nvPr>
          </p:nvSpPr>
          <p:spPr bwMode="auto">
            <a:xfrm>
              <a:off x="7621588" y="4168775"/>
              <a:ext cx="68262" cy="138113"/>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grpFill/>
            <a:ln w="9525" cmpd="sng">
              <a:noFill/>
              <a:prstDash val="solid"/>
              <a:round/>
              <a:headEnd/>
              <a:tailEnd/>
            </a:ln>
          </p:spPr>
          <p:txBody>
            <a:bodyPr/>
            <a:lstStyle/>
            <a:p>
              <a:endParaRPr lang="en-US" sz="2178"/>
            </a:p>
          </p:txBody>
        </p:sp>
        <p:sp>
          <p:nvSpPr>
            <p:cNvPr id="113" name="Line 177">
              <a:extLst>
                <a:ext uri="{FF2B5EF4-FFF2-40B4-BE49-F238E27FC236}">
                  <a16:creationId xmlns:a16="http://schemas.microsoft.com/office/drawing/2014/main" id="{FD21310D-B345-4E38-8AE9-79BBD4C4A42C}"/>
                </a:ext>
              </a:extLst>
            </p:cNvPr>
            <p:cNvSpPr>
              <a:spLocks noChangeShapeType="1"/>
            </p:cNvSpPr>
            <p:nvPr>
              <p:custDataLst>
                <p:tags r:id="rId104"/>
              </p:custDataLst>
            </p:nvPr>
          </p:nvSpPr>
          <p:spPr bwMode="auto">
            <a:xfrm flipH="1" flipV="1">
              <a:off x="7615238" y="4135438"/>
              <a:ext cx="6350" cy="33337"/>
            </a:xfrm>
            <a:prstGeom prst="line">
              <a:avLst/>
            </a:prstGeom>
            <a:grpFill/>
            <a:ln w="9525">
              <a:noFill/>
              <a:round/>
              <a:headEnd/>
              <a:tailEnd/>
            </a:ln>
          </p:spPr>
          <p:txBody>
            <a:bodyPr/>
            <a:lstStyle/>
            <a:p>
              <a:endParaRPr lang="en-US" sz="2178"/>
            </a:p>
          </p:txBody>
        </p:sp>
        <p:sp>
          <p:nvSpPr>
            <p:cNvPr id="114" name="Freeform 178">
              <a:extLst>
                <a:ext uri="{FF2B5EF4-FFF2-40B4-BE49-F238E27FC236}">
                  <a16:creationId xmlns:a16="http://schemas.microsoft.com/office/drawing/2014/main" id="{89D2796C-831E-4EB8-A086-39FF6A4B2426}"/>
                </a:ext>
              </a:extLst>
            </p:cNvPr>
            <p:cNvSpPr>
              <a:spLocks/>
            </p:cNvSpPr>
            <p:nvPr>
              <p:custDataLst>
                <p:tags r:id="rId105"/>
              </p:custDataLst>
            </p:nvPr>
          </p:nvSpPr>
          <p:spPr bwMode="auto">
            <a:xfrm>
              <a:off x="7615238" y="4119563"/>
              <a:ext cx="6350" cy="15875"/>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grpFill/>
            <a:ln w="9525" cmpd="sng">
              <a:noFill/>
              <a:prstDash val="solid"/>
              <a:round/>
              <a:headEnd/>
              <a:tailEnd/>
            </a:ln>
          </p:spPr>
          <p:txBody>
            <a:bodyPr/>
            <a:lstStyle/>
            <a:p>
              <a:endParaRPr lang="en-US" sz="2178"/>
            </a:p>
          </p:txBody>
        </p:sp>
        <p:sp>
          <p:nvSpPr>
            <p:cNvPr id="115" name="Line 179">
              <a:extLst>
                <a:ext uri="{FF2B5EF4-FFF2-40B4-BE49-F238E27FC236}">
                  <a16:creationId xmlns:a16="http://schemas.microsoft.com/office/drawing/2014/main" id="{959FC234-0FA6-48A7-B091-D7372F8FC2CB}"/>
                </a:ext>
              </a:extLst>
            </p:cNvPr>
            <p:cNvSpPr>
              <a:spLocks noChangeShapeType="1"/>
            </p:cNvSpPr>
            <p:nvPr>
              <p:custDataLst>
                <p:tags r:id="rId106"/>
              </p:custDataLst>
            </p:nvPr>
          </p:nvSpPr>
          <p:spPr bwMode="auto">
            <a:xfrm flipV="1">
              <a:off x="7621588" y="4106863"/>
              <a:ext cx="0" cy="12700"/>
            </a:xfrm>
            <a:prstGeom prst="line">
              <a:avLst/>
            </a:prstGeom>
            <a:grpFill/>
            <a:ln w="9525">
              <a:noFill/>
              <a:round/>
              <a:headEnd/>
              <a:tailEnd/>
            </a:ln>
          </p:spPr>
          <p:txBody>
            <a:bodyPr/>
            <a:lstStyle/>
            <a:p>
              <a:endParaRPr lang="en-US" sz="2178"/>
            </a:p>
          </p:txBody>
        </p:sp>
        <p:sp>
          <p:nvSpPr>
            <p:cNvPr id="116" name="Freeform 180">
              <a:extLst>
                <a:ext uri="{FF2B5EF4-FFF2-40B4-BE49-F238E27FC236}">
                  <a16:creationId xmlns:a16="http://schemas.microsoft.com/office/drawing/2014/main" id="{C5F6C6E6-3888-4BBD-8609-E4BC028D2C2A}"/>
                </a:ext>
              </a:extLst>
            </p:cNvPr>
            <p:cNvSpPr>
              <a:spLocks/>
            </p:cNvSpPr>
            <p:nvPr>
              <p:custDataLst>
                <p:tags r:id="rId107"/>
              </p:custDataLst>
            </p:nvPr>
          </p:nvSpPr>
          <p:spPr bwMode="auto">
            <a:xfrm>
              <a:off x="7575550" y="4040188"/>
              <a:ext cx="46038" cy="66675"/>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grpFill/>
            <a:ln w="9525" cmpd="sng">
              <a:noFill/>
              <a:prstDash val="solid"/>
              <a:round/>
              <a:headEnd/>
              <a:tailEnd/>
            </a:ln>
          </p:spPr>
          <p:txBody>
            <a:bodyPr/>
            <a:lstStyle/>
            <a:p>
              <a:endParaRPr lang="en-US" sz="2178"/>
            </a:p>
          </p:txBody>
        </p:sp>
        <p:sp>
          <p:nvSpPr>
            <p:cNvPr id="117" name="Freeform 181">
              <a:extLst>
                <a:ext uri="{FF2B5EF4-FFF2-40B4-BE49-F238E27FC236}">
                  <a16:creationId xmlns:a16="http://schemas.microsoft.com/office/drawing/2014/main" id="{434F48E6-ABCA-4EB6-ABF4-B2F635CCE9A7}"/>
                </a:ext>
              </a:extLst>
            </p:cNvPr>
            <p:cNvSpPr>
              <a:spLocks/>
            </p:cNvSpPr>
            <p:nvPr>
              <p:custDataLst>
                <p:tags r:id="rId108"/>
              </p:custDataLst>
            </p:nvPr>
          </p:nvSpPr>
          <p:spPr bwMode="auto">
            <a:xfrm>
              <a:off x="7589838" y="3983038"/>
              <a:ext cx="1587" cy="50800"/>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grpFill/>
            <a:ln w="9525" cmpd="sng">
              <a:noFill/>
              <a:prstDash val="solid"/>
              <a:round/>
              <a:headEnd/>
              <a:tailEnd/>
            </a:ln>
          </p:spPr>
          <p:txBody>
            <a:bodyPr/>
            <a:lstStyle/>
            <a:p>
              <a:endParaRPr lang="en-US" sz="2178"/>
            </a:p>
          </p:txBody>
        </p:sp>
        <p:sp>
          <p:nvSpPr>
            <p:cNvPr id="118" name="Freeform 182">
              <a:extLst>
                <a:ext uri="{FF2B5EF4-FFF2-40B4-BE49-F238E27FC236}">
                  <a16:creationId xmlns:a16="http://schemas.microsoft.com/office/drawing/2014/main" id="{C05386CF-CF5B-462F-BB1C-187660B6A099}"/>
                </a:ext>
              </a:extLst>
            </p:cNvPr>
            <p:cNvSpPr>
              <a:spLocks/>
            </p:cNvSpPr>
            <p:nvPr>
              <p:custDataLst>
                <p:tags r:id="rId109"/>
              </p:custDataLst>
            </p:nvPr>
          </p:nvSpPr>
          <p:spPr bwMode="auto">
            <a:xfrm>
              <a:off x="7596188" y="3976688"/>
              <a:ext cx="7937" cy="36512"/>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grpFill/>
            <a:ln w="9525" cmpd="sng">
              <a:noFill/>
              <a:prstDash val="solid"/>
              <a:round/>
              <a:headEnd/>
              <a:tailEnd/>
            </a:ln>
          </p:spPr>
          <p:txBody>
            <a:bodyPr/>
            <a:lstStyle/>
            <a:p>
              <a:endParaRPr lang="en-US" sz="2178"/>
            </a:p>
          </p:txBody>
        </p:sp>
        <p:sp>
          <p:nvSpPr>
            <p:cNvPr id="119" name="Freeform 183">
              <a:extLst>
                <a:ext uri="{FF2B5EF4-FFF2-40B4-BE49-F238E27FC236}">
                  <a16:creationId xmlns:a16="http://schemas.microsoft.com/office/drawing/2014/main" id="{01EC7977-5291-4F03-8A13-7D4B47A68075}"/>
                </a:ext>
              </a:extLst>
            </p:cNvPr>
            <p:cNvSpPr>
              <a:spLocks/>
            </p:cNvSpPr>
            <p:nvPr>
              <p:custDataLst>
                <p:tags r:id="rId110"/>
              </p:custDataLst>
            </p:nvPr>
          </p:nvSpPr>
          <p:spPr bwMode="auto">
            <a:xfrm>
              <a:off x="7612063" y="3957638"/>
              <a:ext cx="1587" cy="22225"/>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grpFill/>
            <a:ln w="9525" cmpd="sng">
              <a:noFill/>
              <a:prstDash val="solid"/>
              <a:round/>
              <a:headEnd/>
              <a:tailEnd/>
            </a:ln>
          </p:spPr>
          <p:txBody>
            <a:bodyPr/>
            <a:lstStyle/>
            <a:p>
              <a:endParaRPr lang="en-US" sz="2178"/>
            </a:p>
          </p:txBody>
        </p:sp>
        <p:sp>
          <p:nvSpPr>
            <p:cNvPr id="120" name="Line 184">
              <a:extLst>
                <a:ext uri="{FF2B5EF4-FFF2-40B4-BE49-F238E27FC236}">
                  <a16:creationId xmlns:a16="http://schemas.microsoft.com/office/drawing/2014/main" id="{78D15760-4D1D-49E9-A8B0-CF2AE42A4B1C}"/>
                </a:ext>
              </a:extLst>
            </p:cNvPr>
            <p:cNvSpPr>
              <a:spLocks noChangeShapeType="1"/>
            </p:cNvSpPr>
            <p:nvPr>
              <p:custDataLst>
                <p:tags r:id="rId111"/>
              </p:custDataLst>
            </p:nvPr>
          </p:nvSpPr>
          <p:spPr bwMode="auto">
            <a:xfrm flipV="1">
              <a:off x="7612063" y="3976688"/>
              <a:ext cx="1587" cy="3175"/>
            </a:xfrm>
            <a:prstGeom prst="line">
              <a:avLst/>
            </a:prstGeom>
            <a:grpFill/>
            <a:ln w="9525">
              <a:noFill/>
              <a:round/>
              <a:headEnd/>
              <a:tailEnd/>
            </a:ln>
          </p:spPr>
          <p:txBody>
            <a:bodyPr/>
            <a:lstStyle/>
            <a:p>
              <a:endParaRPr lang="en-US" sz="2178"/>
            </a:p>
          </p:txBody>
        </p:sp>
        <p:sp>
          <p:nvSpPr>
            <p:cNvPr id="121" name="Freeform 185">
              <a:extLst>
                <a:ext uri="{FF2B5EF4-FFF2-40B4-BE49-F238E27FC236}">
                  <a16:creationId xmlns:a16="http://schemas.microsoft.com/office/drawing/2014/main" id="{0322851C-9DF3-46D7-85C6-2EC3FF8F8578}"/>
                </a:ext>
              </a:extLst>
            </p:cNvPr>
            <p:cNvSpPr>
              <a:spLocks/>
            </p:cNvSpPr>
            <p:nvPr>
              <p:custDataLst>
                <p:tags r:id="rId112"/>
              </p:custDataLst>
            </p:nvPr>
          </p:nvSpPr>
          <p:spPr bwMode="auto">
            <a:xfrm>
              <a:off x="7596188" y="3960813"/>
              <a:ext cx="1587" cy="15875"/>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grpFill/>
            <a:ln w="9525" cmpd="sng">
              <a:noFill/>
              <a:prstDash val="solid"/>
              <a:round/>
              <a:headEnd/>
              <a:tailEnd/>
            </a:ln>
          </p:spPr>
          <p:txBody>
            <a:bodyPr/>
            <a:lstStyle/>
            <a:p>
              <a:endParaRPr lang="en-US" sz="2178"/>
            </a:p>
          </p:txBody>
        </p:sp>
        <p:sp>
          <p:nvSpPr>
            <p:cNvPr id="122" name="Freeform 186">
              <a:extLst>
                <a:ext uri="{FF2B5EF4-FFF2-40B4-BE49-F238E27FC236}">
                  <a16:creationId xmlns:a16="http://schemas.microsoft.com/office/drawing/2014/main" id="{BB85C4EC-077E-4223-8739-842989237954}"/>
                </a:ext>
              </a:extLst>
            </p:cNvPr>
            <p:cNvSpPr>
              <a:spLocks/>
            </p:cNvSpPr>
            <p:nvPr>
              <p:custDataLst>
                <p:tags r:id="rId113"/>
              </p:custDataLst>
            </p:nvPr>
          </p:nvSpPr>
          <p:spPr bwMode="auto">
            <a:xfrm>
              <a:off x="7316788" y="4949825"/>
              <a:ext cx="96837" cy="87313"/>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grpFill/>
            <a:ln w="9525" cmpd="sng">
              <a:noFill/>
              <a:prstDash val="solid"/>
              <a:round/>
              <a:headEnd/>
              <a:tailEnd/>
            </a:ln>
          </p:spPr>
          <p:txBody>
            <a:bodyPr/>
            <a:lstStyle/>
            <a:p>
              <a:endParaRPr lang="en-US" sz="2178"/>
            </a:p>
          </p:txBody>
        </p:sp>
        <p:sp>
          <p:nvSpPr>
            <p:cNvPr id="123" name="Freeform 187">
              <a:extLst>
                <a:ext uri="{FF2B5EF4-FFF2-40B4-BE49-F238E27FC236}">
                  <a16:creationId xmlns:a16="http://schemas.microsoft.com/office/drawing/2014/main" id="{1FFE4C80-CA64-46D3-B4FB-9EDFB906DF67}"/>
                </a:ext>
              </a:extLst>
            </p:cNvPr>
            <p:cNvSpPr>
              <a:spLocks/>
            </p:cNvSpPr>
            <p:nvPr>
              <p:custDataLst>
                <p:tags r:id="rId114"/>
              </p:custDataLst>
            </p:nvPr>
          </p:nvSpPr>
          <p:spPr bwMode="auto">
            <a:xfrm>
              <a:off x="7454900" y="4168775"/>
              <a:ext cx="3175" cy="17463"/>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grpFill/>
            <a:ln w="9525" cmpd="sng">
              <a:noFill/>
              <a:prstDash val="solid"/>
              <a:round/>
              <a:headEnd/>
              <a:tailEnd/>
            </a:ln>
          </p:spPr>
          <p:txBody>
            <a:bodyPr/>
            <a:lstStyle/>
            <a:p>
              <a:endParaRPr lang="en-US" sz="2178"/>
            </a:p>
          </p:txBody>
        </p:sp>
        <p:sp>
          <p:nvSpPr>
            <p:cNvPr id="124" name="Freeform 188">
              <a:extLst>
                <a:ext uri="{FF2B5EF4-FFF2-40B4-BE49-F238E27FC236}">
                  <a16:creationId xmlns:a16="http://schemas.microsoft.com/office/drawing/2014/main" id="{9FFD992A-C0E4-416E-A754-BA1D690BAA93}"/>
                </a:ext>
              </a:extLst>
            </p:cNvPr>
            <p:cNvSpPr>
              <a:spLocks/>
            </p:cNvSpPr>
            <p:nvPr>
              <p:custDataLst>
                <p:tags r:id="rId115"/>
              </p:custDataLst>
            </p:nvPr>
          </p:nvSpPr>
          <p:spPr bwMode="auto">
            <a:xfrm>
              <a:off x="7388225" y="4090988"/>
              <a:ext cx="15875" cy="15875"/>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grpFill/>
            <a:ln w="9525" cmpd="sng">
              <a:noFill/>
              <a:prstDash val="solid"/>
              <a:round/>
              <a:headEnd/>
              <a:tailEnd/>
            </a:ln>
          </p:spPr>
          <p:txBody>
            <a:bodyPr/>
            <a:lstStyle/>
            <a:p>
              <a:endParaRPr lang="en-US" sz="2178"/>
            </a:p>
          </p:txBody>
        </p:sp>
        <p:sp>
          <p:nvSpPr>
            <p:cNvPr id="125" name="Freeform 189">
              <a:extLst>
                <a:ext uri="{FF2B5EF4-FFF2-40B4-BE49-F238E27FC236}">
                  <a16:creationId xmlns:a16="http://schemas.microsoft.com/office/drawing/2014/main" id="{4E52188A-5C39-40D0-86C5-F296C8DA15BC}"/>
                </a:ext>
              </a:extLst>
            </p:cNvPr>
            <p:cNvSpPr>
              <a:spLocks/>
            </p:cNvSpPr>
            <p:nvPr>
              <p:custDataLst>
                <p:tags r:id="rId116"/>
              </p:custDataLst>
            </p:nvPr>
          </p:nvSpPr>
          <p:spPr bwMode="auto">
            <a:xfrm>
              <a:off x="7404100" y="4003675"/>
              <a:ext cx="3175" cy="9525"/>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grpFill/>
            <a:ln w="9525" cmpd="sng">
              <a:noFill/>
              <a:prstDash val="solid"/>
              <a:round/>
              <a:headEnd/>
              <a:tailEnd/>
            </a:ln>
          </p:spPr>
          <p:txBody>
            <a:bodyPr/>
            <a:lstStyle/>
            <a:p>
              <a:endParaRPr lang="en-US" sz="2178"/>
            </a:p>
          </p:txBody>
        </p:sp>
        <p:sp>
          <p:nvSpPr>
            <p:cNvPr id="126" name="Freeform 190">
              <a:extLst>
                <a:ext uri="{FF2B5EF4-FFF2-40B4-BE49-F238E27FC236}">
                  <a16:creationId xmlns:a16="http://schemas.microsoft.com/office/drawing/2014/main" id="{3EFE0171-0ABB-49B1-AFB8-301905459AE8}"/>
                </a:ext>
              </a:extLst>
            </p:cNvPr>
            <p:cNvSpPr>
              <a:spLocks/>
            </p:cNvSpPr>
            <p:nvPr>
              <p:custDataLst>
                <p:tags r:id="rId117"/>
              </p:custDataLst>
            </p:nvPr>
          </p:nvSpPr>
          <p:spPr bwMode="auto">
            <a:xfrm>
              <a:off x="7243763" y="4006850"/>
              <a:ext cx="36512" cy="22225"/>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grpFill/>
            <a:ln w="9525" cmpd="sng">
              <a:noFill/>
              <a:prstDash val="solid"/>
              <a:round/>
              <a:headEnd/>
              <a:tailEnd/>
            </a:ln>
          </p:spPr>
          <p:txBody>
            <a:bodyPr/>
            <a:lstStyle/>
            <a:p>
              <a:endParaRPr lang="en-US" sz="2178"/>
            </a:p>
          </p:txBody>
        </p:sp>
        <p:sp>
          <p:nvSpPr>
            <p:cNvPr id="127" name="Freeform 191">
              <a:extLst>
                <a:ext uri="{FF2B5EF4-FFF2-40B4-BE49-F238E27FC236}">
                  <a16:creationId xmlns:a16="http://schemas.microsoft.com/office/drawing/2014/main" id="{941F2FC0-20C9-4603-AB79-6E73A2CBFD78}"/>
                </a:ext>
              </a:extLst>
            </p:cNvPr>
            <p:cNvSpPr>
              <a:spLocks/>
            </p:cNvSpPr>
            <p:nvPr>
              <p:custDataLst>
                <p:tags r:id="rId118"/>
              </p:custDataLst>
            </p:nvPr>
          </p:nvSpPr>
          <p:spPr bwMode="auto">
            <a:xfrm>
              <a:off x="7488238" y="4470400"/>
              <a:ext cx="1587" cy="14288"/>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grpFill/>
            <a:ln w="9525" cmpd="sng">
              <a:noFill/>
              <a:prstDash val="solid"/>
              <a:round/>
              <a:headEnd/>
              <a:tailEnd/>
            </a:ln>
          </p:spPr>
          <p:txBody>
            <a:bodyPr/>
            <a:lstStyle/>
            <a:p>
              <a:endParaRPr lang="en-US" sz="2178"/>
            </a:p>
          </p:txBody>
        </p:sp>
        <p:sp>
          <p:nvSpPr>
            <p:cNvPr id="128" name="Freeform 192">
              <a:extLst>
                <a:ext uri="{FF2B5EF4-FFF2-40B4-BE49-F238E27FC236}">
                  <a16:creationId xmlns:a16="http://schemas.microsoft.com/office/drawing/2014/main" id="{1090899A-1969-424A-945E-524374D03D74}"/>
                </a:ext>
              </a:extLst>
            </p:cNvPr>
            <p:cNvSpPr>
              <a:spLocks/>
            </p:cNvSpPr>
            <p:nvPr>
              <p:custDataLst>
                <p:tags r:id="rId119"/>
              </p:custDataLst>
            </p:nvPr>
          </p:nvSpPr>
          <p:spPr bwMode="auto">
            <a:xfrm>
              <a:off x="6724650" y="3976688"/>
              <a:ext cx="1019175" cy="908050"/>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grpFill/>
            <a:ln w="9525" cmpd="sng">
              <a:noFill/>
              <a:prstDash val="solid"/>
              <a:round/>
              <a:headEnd/>
              <a:tailEnd/>
            </a:ln>
          </p:spPr>
          <p:txBody>
            <a:bodyPr/>
            <a:lstStyle/>
            <a:p>
              <a:endParaRPr lang="en-US" sz="2178"/>
            </a:p>
          </p:txBody>
        </p:sp>
        <p:sp>
          <p:nvSpPr>
            <p:cNvPr id="129" name="Freeform 193">
              <a:extLst>
                <a:ext uri="{FF2B5EF4-FFF2-40B4-BE49-F238E27FC236}">
                  <a16:creationId xmlns:a16="http://schemas.microsoft.com/office/drawing/2014/main" id="{FE92D89F-12C0-47E8-8215-B66D4AD659BD}"/>
                </a:ext>
              </a:extLst>
            </p:cNvPr>
            <p:cNvSpPr>
              <a:spLocks/>
            </p:cNvSpPr>
            <p:nvPr>
              <p:custDataLst>
                <p:tags r:id="rId120"/>
              </p:custDataLst>
            </p:nvPr>
          </p:nvSpPr>
          <p:spPr bwMode="auto">
            <a:xfrm>
              <a:off x="1211263" y="2643188"/>
              <a:ext cx="668337" cy="581025"/>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grpFill/>
            <a:ln w="9525" cap="flat" cmpd="sng">
              <a:noFill/>
              <a:prstDash val="solid"/>
              <a:round/>
              <a:headEnd type="none" w="med" len="med"/>
              <a:tailEnd type="none" w="med" len="med"/>
            </a:ln>
            <a:effectLst/>
          </p:spPr>
          <p:txBody>
            <a:bodyPr/>
            <a:lstStyle/>
            <a:p>
              <a:endParaRPr lang="en-US" sz="2178"/>
            </a:p>
          </p:txBody>
        </p:sp>
        <p:sp>
          <p:nvSpPr>
            <p:cNvPr id="130" name="Freeform 194">
              <a:extLst>
                <a:ext uri="{FF2B5EF4-FFF2-40B4-BE49-F238E27FC236}">
                  <a16:creationId xmlns:a16="http://schemas.microsoft.com/office/drawing/2014/main" id="{D3C1D5C0-1ACD-4DD8-A1F7-EB7D87135A61}"/>
                </a:ext>
              </a:extLst>
            </p:cNvPr>
            <p:cNvSpPr>
              <a:spLocks/>
            </p:cNvSpPr>
            <p:nvPr>
              <p:custDataLst>
                <p:tags r:id="rId121"/>
              </p:custDataLst>
            </p:nvPr>
          </p:nvSpPr>
          <p:spPr bwMode="auto">
            <a:xfrm>
              <a:off x="2486025" y="4283075"/>
              <a:ext cx="211138" cy="265113"/>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grpFill/>
            <a:ln w="9525" cap="flat" cmpd="sng">
              <a:noFill/>
              <a:prstDash val="solid"/>
              <a:round/>
              <a:headEnd type="none" w="med" len="med"/>
              <a:tailEnd type="none" w="med" len="med"/>
            </a:ln>
            <a:effectLst/>
          </p:spPr>
          <p:txBody>
            <a:bodyPr/>
            <a:lstStyle/>
            <a:p>
              <a:endParaRPr lang="en-US" sz="2178"/>
            </a:p>
          </p:txBody>
        </p:sp>
        <p:sp>
          <p:nvSpPr>
            <p:cNvPr id="131" name="Freeform 195">
              <a:extLst>
                <a:ext uri="{FF2B5EF4-FFF2-40B4-BE49-F238E27FC236}">
                  <a16:creationId xmlns:a16="http://schemas.microsoft.com/office/drawing/2014/main" id="{42C6A43D-8B25-4556-80A9-C8D669707B01}"/>
                </a:ext>
              </a:extLst>
            </p:cNvPr>
            <p:cNvSpPr>
              <a:spLocks/>
            </p:cNvSpPr>
            <p:nvPr>
              <p:custDataLst>
                <p:tags r:id="rId122"/>
              </p:custDataLst>
            </p:nvPr>
          </p:nvSpPr>
          <p:spPr bwMode="auto">
            <a:xfrm>
              <a:off x="2655888" y="3487738"/>
              <a:ext cx="73025" cy="109537"/>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132" name="Freeform 196">
              <a:extLst>
                <a:ext uri="{FF2B5EF4-FFF2-40B4-BE49-F238E27FC236}">
                  <a16:creationId xmlns:a16="http://schemas.microsoft.com/office/drawing/2014/main" id="{7041D630-B130-4857-AC6C-2ECB18DFA884}"/>
                </a:ext>
              </a:extLst>
            </p:cNvPr>
            <p:cNvSpPr>
              <a:spLocks/>
            </p:cNvSpPr>
            <p:nvPr>
              <p:custDataLst>
                <p:tags r:id="rId123"/>
              </p:custDataLst>
            </p:nvPr>
          </p:nvSpPr>
          <p:spPr bwMode="auto">
            <a:xfrm>
              <a:off x="2170113" y="3046413"/>
              <a:ext cx="69850" cy="58737"/>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grpFill/>
            <a:ln w="9525" cmpd="sng">
              <a:noFill/>
              <a:prstDash val="solid"/>
              <a:round/>
              <a:headEnd/>
              <a:tailEnd/>
            </a:ln>
          </p:spPr>
          <p:txBody>
            <a:bodyPr/>
            <a:lstStyle/>
            <a:p>
              <a:endParaRPr lang="en-US" sz="2178"/>
            </a:p>
          </p:txBody>
        </p:sp>
        <p:sp>
          <p:nvSpPr>
            <p:cNvPr id="133" name="Freeform 197">
              <a:extLst>
                <a:ext uri="{FF2B5EF4-FFF2-40B4-BE49-F238E27FC236}">
                  <a16:creationId xmlns:a16="http://schemas.microsoft.com/office/drawing/2014/main" id="{FEEAFBFD-2E19-4F49-BACC-7CD1983E4EFA}"/>
                </a:ext>
              </a:extLst>
            </p:cNvPr>
            <p:cNvSpPr>
              <a:spLocks/>
            </p:cNvSpPr>
            <p:nvPr>
              <p:custDataLst>
                <p:tags r:id="rId124"/>
              </p:custDataLst>
            </p:nvPr>
          </p:nvSpPr>
          <p:spPr bwMode="auto">
            <a:xfrm>
              <a:off x="2536825" y="5400675"/>
              <a:ext cx="23813" cy="57150"/>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grpFill/>
            <a:ln w="9525" cmpd="sng">
              <a:noFill/>
              <a:prstDash val="solid"/>
              <a:round/>
              <a:headEnd/>
              <a:tailEnd/>
            </a:ln>
          </p:spPr>
          <p:txBody>
            <a:bodyPr/>
            <a:lstStyle/>
            <a:p>
              <a:endParaRPr lang="en-US" sz="2178"/>
            </a:p>
          </p:txBody>
        </p:sp>
        <p:sp>
          <p:nvSpPr>
            <p:cNvPr id="134" name="Freeform 198">
              <a:extLst>
                <a:ext uri="{FF2B5EF4-FFF2-40B4-BE49-F238E27FC236}">
                  <a16:creationId xmlns:a16="http://schemas.microsoft.com/office/drawing/2014/main" id="{35EE78BF-5E11-418A-A56E-93583D54E5E3}"/>
                </a:ext>
              </a:extLst>
            </p:cNvPr>
            <p:cNvSpPr>
              <a:spLocks/>
            </p:cNvSpPr>
            <p:nvPr>
              <p:custDataLst>
                <p:tags r:id="rId125"/>
              </p:custDataLst>
            </p:nvPr>
          </p:nvSpPr>
          <p:spPr bwMode="auto">
            <a:xfrm>
              <a:off x="2501900" y="5380038"/>
              <a:ext cx="34925" cy="58737"/>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grpFill/>
            <a:ln w="9525" cmpd="sng">
              <a:noFill/>
              <a:prstDash val="solid"/>
              <a:round/>
              <a:headEnd/>
              <a:tailEnd/>
            </a:ln>
          </p:spPr>
          <p:txBody>
            <a:bodyPr/>
            <a:lstStyle/>
            <a:p>
              <a:endParaRPr lang="en-US" sz="2178"/>
            </a:p>
          </p:txBody>
        </p:sp>
        <p:sp>
          <p:nvSpPr>
            <p:cNvPr id="135" name="Freeform 199">
              <a:extLst>
                <a:ext uri="{FF2B5EF4-FFF2-40B4-BE49-F238E27FC236}">
                  <a16:creationId xmlns:a16="http://schemas.microsoft.com/office/drawing/2014/main" id="{2061567A-1670-47C1-A44A-869911377F99}"/>
                </a:ext>
              </a:extLst>
            </p:cNvPr>
            <p:cNvSpPr>
              <a:spLocks/>
            </p:cNvSpPr>
            <p:nvPr>
              <p:custDataLst>
                <p:tags r:id="rId126"/>
              </p:custDataLst>
            </p:nvPr>
          </p:nvSpPr>
          <p:spPr bwMode="auto">
            <a:xfrm>
              <a:off x="2501900" y="5359400"/>
              <a:ext cx="22225" cy="60325"/>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grpFill/>
            <a:ln w="9525" cmpd="sng">
              <a:noFill/>
              <a:prstDash val="solid"/>
              <a:round/>
              <a:headEnd/>
              <a:tailEnd/>
            </a:ln>
          </p:spPr>
          <p:txBody>
            <a:bodyPr/>
            <a:lstStyle/>
            <a:p>
              <a:endParaRPr lang="en-US" sz="2178"/>
            </a:p>
          </p:txBody>
        </p:sp>
        <p:sp>
          <p:nvSpPr>
            <p:cNvPr id="136" name="Freeform 200">
              <a:extLst>
                <a:ext uri="{FF2B5EF4-FFF2-40B4-BE49-F238E27FC236}">
                  <a16:creationId xmlns:a16="http://schemas.microsoft.com/office/drawing/2014/main" id="{F4420A65-DDEE-40FB-9793-DCECEE8E54C0}"/>
                </a:ext>
              </a:extLst>
            </p:cNvPr>
            <p:cNvSpPr>
              <a:spLocks/>
            </p:cNvSpPr>
            <p:nvPr>
              <p:custDataLst>
                <p:tags r:id="rId127"/>
              </p:custDataLst>
            </p:nvPr>
          </p:nvSpPr>
          <p:spPr bwMode="auto">
            <a:xfrm>
              <a:off x="2471738" y="5353050"/>
              <a:ext cx="25400" cy="60325"/>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grpFill/>
            <a:ln w="9525" cmpd="sng">
              <a:noFill/>
              <a:prstDash val="solid"/>
              <a:round/>
              <a:headEnd/>
              <a:tailEnd/>
            </a:ln>
          </p:spPr>
          <p:txBody>
            <a:bodyPr/>
            <a:lstStyle/>
            <a:p>
              <a:endParaRPr lang="en-US" sz="2178"/>
            </a:p>
          </p:txBody>
        </p:sp>
        <p:sp>
          <p:nvSpPr>
            <p:cNvPr id="137" name="Freeform 201">
              <a:extLst>
                <a:ext uri="{FF2B5EF4-FFF2-40B4-BE49-F238E27FC236}">
                  <a16:creationId xmlns:a16="http://schemas.microsoft.com/office/drawing/2014/main" id="{8B605ADB-8BC2-4BC3-8174-94D482EE0D66}"/>
                </a:ext>
              </a:extLst>
            </p:cNvPr>
            <p:cNvSpPr>
              <a:spLocks/>
            </p:cNvSpPr>
            <p:nvPr>
              <p:custDataLst>
                <p:tags r:id="rId128"/>
              </p:custDataLst>
            </p:nvPr>
          </p:nvSpPr>
          <p:spPr bwMode="auto">
            <a:xfrm>
              <a:off x="2446338" y="5343525"/>
              <a:ext cx="28575" cy="58738"/>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grpFill/>
            <a:ln w="9525" cmpd="sng">
              <a:noFill/>
              <a:prstDash val="solid"/>
              <a:round/>
              <a:headEnd/>
              <a:tailEnd/>
            </a:ln>
          </p:spPr>
          <p:txBody>
            <a:bodyPr/>
            <a:lstStyle/>
            <a:p>
              <a:endParaRPr lang="en-US" sz="2178"/>
            </a:p>
          </p:txBody>
        </p:sp>
        <p:sp>
          <p:nvSpPr>
            <p:cNvPr id="138" name="Freeform 202">
              <a:extLst>
                <a:ext uri="{FF2B5EF4-FFF2-40B4-BE49-F238E27FC236}">
                  <a16:creationId xmlns:a16="http://schemas.microsoft.com/office/drawing/2014/main" id="{934450C8-4A1A-4D14-A25D-9BEA361902E5}"/>
                </a:ext>
              </a:extLst>
            </p:cNvPr>
            <p:cNvSpPr>
              <a:spLocks/>
            </p:cNvSpPr>
            <p:nvPr>
              <p:custDataLst>
                <p:tags r:id="rId129"/>
              </p:custDataLst>
            </p:nvPr>
          </p:nvSpPr>
          <p:spPr bwMode="auto">
            <a:xfrm>
              <a:off x="2422525" y="5330825"/>
              <a:ext cx="33338" cy="57150"/>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grpFill/>
            <a:ln w="9525" cmpd="sng">
              <a:noFill/>
              <a:prstDash val="solid"/>
              <a:round/>
              <a:headEnd/>
              <a:tailEnd/>
            </a:ln>
          </p:spPr>
          <p:txBody>
            <a:bodyPr/>
            <a:lstStyle/>
            <a:p>
              <a:endParaRPr lang="en-US" sz="2178"/>
            </a:p>
          </p:txBody>
        </p:sp>
        <p:sp>
          <p:nvSpPr>
            <p:cNvPr id="139" name="Freeform 203">
              <a:extLst>
                <a:ext uri="{FF2B5EF4-FFF2-40B4-BE49-F238E27FC236}">
                  <a16:creationId xmlns:a16="http://schemas.microsoft.com/office/drawing/2014/main" id="{1D7B7FDF-3C15-48AD-92D8-E489CC56DFCC}"/>
                </a:ext>
              </a:extLst>
            </p:cNvPr>
            <p:cNvSpPr>
              <a:spLocks/>
            </p:cNvSpPr>
            <p:nvPr>
              <p:custDataLst>
                <p:tags r:id="rId130"/>
              </p:custDataLst>
            </p:nvPr>
          </p:nvSpPr>
          <p:spPr bwMode="auto">
            <a:xfrm>
              <a:off x="2416175" y="5311775"/>
              <a:ext cx="30163" cy="57150"/>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grpFill/>
            <a:ln w="9525" cmpd="sng">
              <a:noFill/>
              <a:prstDash val="solid"/>
              <a:round/>
              <a:headEnd/>
              <a:tailEnd/>
            </a:ln>
          </p:spPr>
          <p:txBody>
            <a:bodyPr/>
            <a:lstStyle/>
            <a:p>
              <a:endParaRPr lang="en-US" sz="2178"/>
            </a:p>
          </p:txBody>
        </p:sp>
        <p:sp>
          <p:nvSpPr>
            <p:cNvPr id="140" name="Freeform 204">
              <a:extLst>
                <a:ext uri="{FF2B5EF4-FFF2-40B4-BE49-F238E27FC236}">
                  <a16:creationId xmlns:a16="http://schemas.microsoft.com/office/drawing/2014/main" id="{67E0E5A8-A9C1-4FB8-BAA4-460BEE167263}"/>
                </a:ext>
              </a:extLst>
            </p:cNvPr>
            <p:cNvSpPr>
              <a:spLocks/>
            </p:cNvSpPr>
            <p:nvPr>
              <p:custDataLst>
                <p:tags r:id="rId131"/>
              </p:custDataLst>
            </p:nvPr>
          </p:nvSpPr>
          <p:spPr bwMode="auto">
            <a:xfrm>
              <a:off x="2316163" y="5002213"/>
              <a:ext cx="25400" cy="60325"/>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grpFill/>
            <a:ln w="9525" cmpd="sng">
              <a:noFill/>
              <a:prstDash val="solid"/>
              <a:round/>
              <a:headEnd/>
              <a:tailEnd/>
            </a:ln>
          </p:spPr>
          <p:txBody>
            <a:bodyPr/>
            <a:lstStyle/>
            <a:p>
              <a:endParaRPr lang="en-US" sz="2178"/>
            </a:p>
          </p:txBody>
        </p:sp>
        <p:sp>
          <p:nvSpPr>
            <p:cNvPr id="141" name="Freeform 205">
              <a:extLst>
                <a:ext uri="{FF2B5EF4-FFF2-40B4-BE49-F238E27FC236}">
                  <a16:creationId xmlns:a16="http://schemas.microsoft.com/office/drawing/2014/main" id="{D04891C4-C1B0-41E6-9AB4-9819C2991059}"/>
                </a:ext>
              </a:extLst>
            </p:cNvPr>
            <p:cNvSpPr>
              <a:spLocks/>
            </p:cNvSpPr>
            <p:nvPr>
              <p:custDataLst>
                <p:tags r:id="rId132"/>
              </p:custDataLst>
            </p:nvPr>
          </p:nvSpPr>
          <p:spPr bwMode="auto">
            <a:xfrm>
              <a:off x="2346325" y="5097463"/>
              <a:ext cx="17463" cy="53975"/>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grpFill/>
            <a:ln w="9525" cmpd="sng">
              <a:noFill/>
              <a:prstDash val="solid"/>
              <a:round/>
              <a:headEnd/>
              <a:tailEnd/>
            </a:ln>
          </p:spPr>
          <p:txBody>
            <a:bodyPr/>
            <a:lstStyle/>
            <a:p>
              <a:endParaRPr lang="en-US" sz="2178"/>
            </a:p>
          </p:txBody>
        </p:sp>
        <p:sp>
          <p:nvSpPr>
            <p:cNvPr id="142" name="Freeform 206">
              <a:extLst>
                <a:ext uri="{FF2B5EF4-FFF2-40B4-BE49-F238E27FC236}">
                  <a16:creationId xmlns:a16="http://schemas.microsoft.com/office/drawing/2014/main" id="{84F6EAE4-69CF-4200-86C5-BFAFD0AAFF41}"/>
                </a:ext>
              </a:extLst>
            </p:cNvPr>
            <p:cNvSpPr>
              <a:spLocks/>
            </p:cNvSpPr>
            <p:nvPr>
              <p:custDataLst>
                <p:tags r:id="rId133"/>
              </p:custDataLst>
            </p:nvPr>
          </p:nvSpPr>
          <p:spPr bwMode="auto">
            <a:xfrm>
              <a:off x="2351088" y="5119688"/>
              <a:ext cx="7937" cy="58737"/>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grpFill/>
            <a:ln w="9525" cmpd="sng">
              <a:noFill/>
              <a:prstDash val="solid"/>
              <a:round/>
              <a:headEnd/>
              <a:tailEnd/>
            </a:ln>
          </p:spPr>
          <p:txBody>
            <a:bodyPr/>
            <a:lstStyle/>
            <a:p>
              <a:endParaRPr lang="en-US" sz="2178"/>
            </a:p>
          </p:txBody>
        </p:sp>
        <p:sp>
          <p:nvSpPr>
            <p:cNvPr id="143" name="Freeform 207">
              <a:extLst>
                <a:ext uri="{FF2B5EF4-FFF2-40B4-BE49-F238E27FC236}">
                  <a16:creationId xmlns:a16="http://schemas.microsoft.com/office/drawing/2014/main" id="{6536313A-5562-4FCA-BC9D-EDBFB2C3C431}"/>
                </a:ext>
              </a:extLst>
            </p:cNvPr>
            <p:cNvSpPr>
              <a:spLocks/>
            </p:cNvSpPr>
            <p:nvPr>
              <p:custDataLst>
                <p:tags r:id="rId134"/>
              </p:custDataLst>
            </p:nvPr>
          </p:nvSpPr>
          <p:spPr bwMode="auto">
            <a:xfrm>
              <a:off x="2365375" y="5181600"/>
              <a:ext cx="17463" cy="60325"/>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grpFill/>
            <a:ln w="9525" cmpd="sng">
              <a:noFill/>
              <a:prstDash val="solid"/>
              <a:round/>
              <a:headEnd/>
              <a:tailEnd/>
            </a:ln>
          </p:spPr>
          <p:txBody>
            <a:bodyPr/>
            <a:lstStyle/>
            <a:p>
              <a:endParaRPr lang="en-US" sz="2178"/>
            </a:p>
          </p:txBody>
        </p:sp>
        <p:sp>
          <p:nvSpPr>
            <p:cNvPr id="144" name="Freeform 208">
              <a:extLst>
                <a:ext uri="{FF2B5EF4-FFF2-40B4-BE49-F238E27FC236}">
                  <a16:creationId xmlns:a16="http://schemas.microsoft.com/office/drawing/2014/main" id="{0F637391-88EC-4C9E-A1B5-40B9C148E9CA}"/>
                </a:ext>
              </a:extLst>
            </p:cNvPr>
            <p:cNvSpPr>
              <a:spLocks/>
            </p:cNvSpPr>
            <p:nvPr>
              <p:custDataLst>
                <p:tags r:id="rId135"/>
              </p:custDataLst>
            </p:nvPr>
          </p:nvSpPr>
          <p:spPr bwMode="auto">
            <a:xfrm>
              <a:off x="2352675" y="5194300"/>
              <a:ext cx="26988" cy="58738"/>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grpFill/>
            <a:ln w="9525" cmpd="sng">
              <a:noFill/>
              <a:prstDash val="solid"/>
              <a:round/>
              <a:headEnd/>
              <a:tailEnd/>
            </a:ln>
          </p:spPr>
          <p:txBody>
            <a:bodyPr/>
            <a:lstStyle/>
            <a:p>
              <a:endParaRPr lang="en-US" sz="2178"/>
            </a:p>
          </p:txBody>
        </p:sp>
        <p:sp>
          <p:nvSpPr>
            <p:cNvPr id="145" name="Freeform 209">
              <a:extLst>
                <a:ext uri="{FF2B5EF4-FFF2-40B4-BE49-F238E27FC236}">
                  <a16:creationId xmlns:a16="http://schemas.microsoft.com/office/drawing/2014/main" id="{A5A371CF-B262-4D57-B9AA-7528811CE3E9}"/>
                </a:ext>
              </a:extLst>
            </p:cNvPr>
            <p:cNvSpPr>
              <a:spLocks/>
            </p:cNvSpPr>
            <p:nvPr>
              <p:custDataLst>
                <p:tags r:id="rId136"/>
              </p:custDataLst>
            </p:nvPr>
          </p:nvSpPr>
          <p:spPr bwMode="auto">
            <a:xfrm>
              <a:off x="2382838" y="5227638"/>
              <a:ext cx="11112" cy="58737"/>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grpFill/>
            <a:ln w="9525" cmpd="sng">
              <a:noFill/>
              <a:prstDash val="solid"/>
              <a:round/>
              <a:headEnd/>
              <a:tailEnd/>
            </a:ln>
          </p:spPr>
          <p:txBody>
            <a:bodyPr/>
            <a:lstStyle/>
            <a:p>
              <a:endParaRPr lang="en-US" sz="2178"/>
            </a:p>
          </p:txBody>
        </p:sp>
        <p:sp>
          <p:nvSpPr>
            <p:cNvPr id="146" name="Freeform 210">
              <a:extLst>
                <a:ext uri="{FF2B5EF4-FFF2-40B4-BE49-F238E27FC236}">
                  <a16:creationId xmlns:a16="http://schemas.microsoft.com/office/drawing/2014/main" id="{A453A909-605E-4DA0-87D1-CCA79E823CB1}"/>
                </a:ext>
              </a:extLst>
            </p:cNvPr>
            <p:cNvSpPr>
              <a:spLocks/>
            </p:cNvSpPr>
            <p:nvPr>
              <p:custDataLst>
                <p:tags r:id="rId137"/>
              </p:custDataLst>
            </p:nvPr>
          </p:nvSpPr>
          <p:spPr bwMode="auto">
            <a:xfrm>
              <a:off x="2379663" y="5260975"/>
              <a:ext cx="20637" cy="55563"/>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grpFill/>
            <a:ln w="9525" cmpd="sng">
              <a:noFill/>
              <a:prstDash val="solid"/>
              <a:round/>
              <a:headEnd/>
              <a:tailEnd/>
            </a:ln>
          </p:spPr>
          <p:txBody>
            <a:bodyPr/>
            <a:lstStyle/>
            <a:p>
              <a:endParaRPr lang="en-US" sz="2178"/>
            </a:p>
          </p:txBody>
        </p:sp>
        <p:sp>
          <p:nvSpPr>
            <p:cNvPr id="147" name="Freeform 211">
              <a:extLst>
                <a:ext uri="{FF2B5EF4-FFF2-40B4-BE49-F238E27FC236}">
                  <a16:creationId xmlns:a16="http://schemas.microsoft.com/office/drawing/2014/main" id="{725D70C9-3C64-42BC-AB5D-B157F194B67A}"/>
                </a:ext>
              </a:extLst>
            </p:cNvPr>
            <p:cNvSpPr>
              <a:spLocks/>
            </p:cNvSpPr>
            <p:nvPr>
              <p:custDataLst>
                <p:tags r:id="rId138"/>
              </p:custDataLst>
            </p:nvPr>
          </p:nvSpPr>
          <p:spPr bwMode="auto">
            <a:xfrm>
              <a:off x="2403475" y="5275263"/>
              <a:ext cx="17463" cy="57150"/>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grpFill/>
            <a:ln w="9525" cmpd="sng">
              <a:noFill/>
              <a:prstDash val="solid"/>
              <a:round/>
              <a:headEnd/>
              <a:tailEnd/>
            </a:ln>
          </p:spPr>
          <p:txBody>
            <a:bodyPr/>
            <a:lstStyle/>
            <a:p>
              <a:endParaRPr lang="en-US" sz="2178"/>
            </a:p>
          </p:txBody>
        </p:sp>
        <p:sp>
          <p:nvSpPr>
            <p:cNvPr id="148" name="Freeform 212">
              <a:extLst>
                <a:ext uri="{FF2B5EF4-FFF2-40B4-BE49-F238E27FC236}">
                  <a16:creationId xmlns:a16="http://schemas.microsoft.com/office/drawing/2014/main" id="{BB65FBD0-2FCA-40E8-AB25-D2EE8A4ADD0E}"/>
                </a:ext>
              </a:extLst>
            </p:cNvPr>
            <p:cNvSpPr>
              <a:spLocks/>
            </p:cNvSpPr>
            <p:nvPr>
              <p:custDataLst>
                <p:tags r:id="rId139"/>
              </p:custDataLst>
            </p:nvPr>
          </p:nvSpPr>
          <p:spPr bwMode="auto">
            <a:xfrm>
              <a:off x="2405063" y="5303838"/>
              <a:ext cx="6350" cy="57150"/>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grpFill/>
            <a:ln w="9525" cmpd="sng">
              <a:noFill/>
              <a:prstDash val="solid"/>
              <a:round/>
              <a:headEnd/>
              <a:tailEnd/>
            </a:ln>
          </p:spPr>
          <p:txBody>
            <a:bodyPr/>
            <a:lstStyle/>
            <a:p>
              <a:endParaRPr lang="en-US" sz="2178"/>
            </a:p>
          </p:txBody>
        </p:sp>
        <p:sp>
          <p:nvSpPr>
            <p:cNvPr id="149" name="Freeform 213">
              <a:extLst>
                <a:ext uri="{FF2B5EF4-FFF2-40B4-BE49-F238E27FC236}">
                  <a16:creationId xmlns:a16="http://schemas.microsoft.com/office/drawing/2014/main" id="{3C778672-8C57-45E9-B933-548862D66FB0}"/>
                </a:ext>
              </a:extLst>
            </p:cNvPr>
            <p:cNvSpPr>
              <a:spLocks/>
            </p:cNvSpPr>
            <p:nvPr>
              <p:custDataLst>
                <p:tags r:id="rId140"/>
              </p:custDataLst>
            </p:nvPr>
          </p:nvSpPr>
          <p:spPr bwMode="auto">
            <a:xfrm>
              <a:off x="2479675" y="5373688"/>
              <a:ext cx="34925" cy="57150"/>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grpFill/>
            <a:ln w="9525" cmpd="sng">
              <a:noFill/>
              <a:prstDash val="solid"/>
              <a:round/>
              <a:headEnd/>
              <a:tailEnd/>
            </a:ln>
          </p:spPr>
          <p:txBody>
            <a:bodyPr/>
            <a:lstStyle/>
            <a:p>
              <a:endParaRPr lang="en-US" sz="2178"/>
            </a:p>
          </p:txBody>
        </p:sp>
        <p:sp>
          <p:nvSpPr>
            <p:cNvPr id="150" name="Freeform 214">
              <a:extLst>
                <a:ext uri="{FF2B5EF4-FFF2-40B4-BE49-F238E27FC236}">
                  <a16:creationId xmlns:a16="http://schemas.microsoft.com/office/drawing/2014/main" id="{ECD783EB-AF68-4FB8-BAFD-1E6BAED6DDC8}"/>
                </a:ext>
              </a:extLst>
            </p:cNvPr>
            <p:cNvSpPr>
              <a:spLocks/>
            </p:cNvSpPr>
            <p:nvPr>
              <p:custDataLst>
                <p:tags r:id="rId141"/>
              </p:custDataLst>
            </p:nvPr>
          </p:nvSpPr>
          <p:spPr bwMode="auto">
            <a:xfrm>
              <a:off x="2517775" y="5314950"/>
              <a:ext cx="123825" cy="100013"/>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grpFill/>
            <a:ln w="9525" cmpd="sng">
              <a:noFill/>
              <a:prstDash val="solid"/>
              <a:round/>
              <a:headEnd/>
              <a:tailEnd/>
            </a:ln>
          </p:spPr>
          <p:txBody>
            <a:bodyPr/>
            <a:lstStyle/>
            <a:p>
              <a:endParaRPr lang="en-US" sz="2178"/>
            </a:p>
          </p:txBody>
        </p:sp>
        <p:sp>
          <p:nvSpPr>
            <p:cNvPr id="151" name="Freeform 215">
              <a:extLst>
                <a:ext uri="{FF2B5EF4-FFF2-40B4-BE49-F238E27FC236}">
                  <a16:creationId xmlns:a16="http://schemas.microsoft.com/office/drawing/2014/main" id="{760BF09C-39DB-42E5-81E0-AF5871727648}"/>
                </a:ext>
              </a:extLst>
            </p:cNvPr>
            <p:cNvSpPr>
              <a:spLocks/>
            </p:cNvSpPr>
            <p:nvPr>
              <p:custDataLst>
                <p:tags r:id="rId142"/>
              </p:custDataLst>
            </p:nvPr>
          </p:nvSpPr>
          <p:spPr bwMode="auto">
            <a:xfrm>
              <a:off x="2070100" y="3081338"/>
              <a:ext cx="52388" cy="58737"/>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grpFill/>
            <a:ln w="9525" cmpd="sng">
              <a:noFill/>
              <a:prstDash val="solid"/>
              <a:round/>
              <a:headEnd/>
              <a:tailEnd/>
            </a:ln>
          </p:spPr>
          <p:txBody>
            <a:bodyPr/>
            <a:lstStyle/>
            <a:p>
              <a:endParaRPr lang="en-US" sz="2178"/>
            </a:p>
          </p:txBody>
        </p:sp>
        <p:sp>
          <p:nvSpPr>
            <p:cNvPr id="152" name="Freeform 216">
              <a:extLst>
                <a:ext uri="{FF2B5EF4-FFF2-40B4-BE49-F238E27FC236}">
                  <a16:creationId xmlns:a16="http://schemas.microsoft.com/office/drawing/2014/main" id="{1E0DF9FA-4CC7-47A5-8F08-4FD72EAF61B6}"/>
                </a:ext>
              </a:extLst>
            </p:cNvPr>
            <p:cNvSpPr>
              <a:spLocks/>
            </p:cNvSpPr>
            <p:nvPr>
              <p:custDataLst>
                <p:tags r:id="rId143"/>
              </p:custDataLst>
            </p:nvPr>
          </p:nvSpPr>
          <p:spPr bwMode="auto">
            <a:xfrm>
              <a:off x="1927225" y="2943225"/>
              <a:ext cx="250825" cy="109538"/>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grpFill/>
            <a:ln w="9525" cmpd="sng">
              <a:noFill/>
              <a:prstDash val="solid"/>
              <a:round/>
              <a:headEnd/>
              <a:tailEnd/>
            </a:ln>
          </p:spPr>
          <p:txBody>
            <a:bodyPr/>
            <a:lstStyle/>
            <a:p>
              <a:endParaRPr lang="en-US" sz="2178"/>
            </a:p>
          </p:txBody>
        </p:sp>
        <p:sp>
          <p:nvSpPr>
            <p:cNvPr id="153" name="Freeform 217">
              <a:extLst>
                <a:ext uri="{FF2B5EF4-FFF2-40B4-BE49-F238E27FC236}">
                  <a16:creationId xmlns:a16="http://schemas.microsoft.com/office/drawing/2014/main" id="{CC9F5B70-8432-447F-B64D-0D83AC5FDA04}"/>
                </a:ext>
              </a:extLst>
            </p:cNvPr>
            <p:cNvSpPr>
              <a:spLocks/>
            </p:cNvSpPr>
            <p:nvPr>
              <p:custDataLst>
                <p:tags r:id="rId144"/>
              </p:custDataLst>
            </p:nvPr>
          </p:nvSpPr>
          <p:spPr bwMode="auto">
            <a:xfrm>
              <a:off x="2232025" y="3046413"/>
              <a:ext cx="88900" cy="69850"/>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grpFill/>
            <a:ln w="9525" cmpd="sng">
              <a:noFill/>
              <a:prstDash val="solid"/>
              <a:round/>
              <a:headEnd/>
              <a:tailEnd/>
            </a:ln>
          </p:spPr>
          <p:txBody>
            <a:bodyPr/>
            <a:lstStyle/>
            <a:p>
              <a:endParaRPr lang="en-US" sz="2178"/>
            </a:p>
          </p:txBody>
        </p:sp>
        <p:sp>
          <p:nvSpPr>
            <p:cNvPr id="154" name="Freeform 218">
              <a:extLst>
                <a:ext uri="{FF2B5EF4-FFF2-40B4-BE49-F238E27FC236}">
                  <a16:creationId xmlns:a16="http://schemas.microsoft.com/office/drawing/2014/main" id="{F7CE5730-A421-406C-96BF-6B243B2D3009}"/>
                </a:ext>
              </a:extLst>
            </p:cNvPr>
            <p:cNvSpPr>
              <a:spLocks/>
            </p:cNvSpPr>
            <p:nvPr>
              <p:custDataLst>
                <p:tags r:id="rId145"/>
              </p:custDataLst>
            </p:nvPr>
          </p:nvSpPr>
          <p:spPr bwMode="auto">
            <a:xfrm>
              <a:off x="1800225" y="3106738"/>
              <a:ext cx="33338" cy="84137"/>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155" name="Freeform 219">
              <a:extLst>
                <a:ext uri="{FF2B5EF4-FFF2-40B4-BE49-F238E27FC236}">
                  <a16:creationId xmlns:a16="http://schemas.microsoft.com/office/drawing/2014/main" id="{380E5DCD-96E6-48A6-AF4B-A230E9B30780}"/>
                </a:ext>
              </a:extLst>
            </p:cNvPr>
            <p:cNvSpPr>
              <a:spLocks/>
            </p:cNvSpPr>
            <p:nvPr>
              <p:custDataLst>
                <p:tags r:id="rId146"/>
              </p:custDataLst>
            </p:nvPr>
          </p:nvSpPr>
          <p:spPr bwMode="auto">
            <a:xfrm>
              <a:off x="1720850" y="3106738"/>
              <a:ext cx="93663" cy="146050"/>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grpFill/>
            <a:ln w="9525" cap="flat" cmpd="sng">
              <a:noFill/>
              <a:prstDash val="solid"/>
              <a:round/>
              <a:headEnd type="none" w="med" len="med"/>
              <a:tailEnd type="none" w="med" len="med"/>
            </a:ln>
            <a:effectLst/>
          </p:spPr>
          <p:txBody>
            <a:bodyPr/>
            <a:lstStyle/>
            <a:p>
              <a:endParaRPr lang="en-US" sz="2178"/>
            </a:p>
          </p:txBody>
        </p:sp>
        <p:sp>
          <p:nvSpPr>
            <p:cNvPr id="156" name="Freeform 220">
              <a:extLst>
                <a:ext uri="{FF2B5EF4-FFF2-40B4-BE49-F238E27FC236}">
                  <a16:creationId xmlns:a16="http://schemas.microsoft.com/office/drawing/2014/main" id="{EFEB5BED-2097-49F7-B3EE-B6CF9CAE9564}"/>
                </a:ext>
              </a:extLst>
            </p:cNvPr>
            <p:cNvSpPr>
              <a:spLocks/>
            </p:cNvSpPr>
            <p:nvPr>
              <p:custDataLst>
                <p:tags r:id="rId147"/>
              </p:custDataLst>
            </p:nvPr>
          </p:nvSpPr>
          <p:spPr bwMode="auto">
            <a:xfrm>
              <a:off x="1768475" y="3217863"/>
              <a:ext cx="71438" cy="57150"/>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157" name="Freeform 221">
              <a:extLst>
                <a:ext uri="{FF2B5EF4-FFF2-40B4-BE49-F238E27FC236}">
                  <a16:creationId xmlns:a16="http://schemas.microsoft.com/office/drawing/2014/main" id="{994E1DD5-B11E-4F86-BFF3-CE7B525B8D59}"/>
                </a:ext>
              </a:extLst>
            </p:cNvPr>
            <p:cNvSpPr>
              <a:spLocks/>
            </p:cNvSpPr>
            <p:nvPr>
              <p:custDataLst>
                <p:tags r:id="rId148"/>
              </p:custDataLst>
            </p:nvPr>
          </p:nvSpPr>
          <p:spPr bwMode="auto">
            <a:xfrm>
              <a:off x="1800225" y="3179763"/>
              <a:ext cx="142875" cy="87312"/>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158" name="Freeform 222">
              <a:extLst>
                <a:ext uri="{FF2B5EF4-FFF2-40B4-BE49-F238E27FC236}">
                  <a16:creationId xmlns:a16="http://schemas.microsoft.com/office/drawing/2014/main" id="{21BBB0A3-F119-4476-BB1F-B98CD00DC62F}"/>
                </a:ext>
              </a:extLst>
            </p:cNvPr>
            <p:cNvSpPr>
              <a:spLocks/>
            </p:cNvSpPr>
            <p:nvPr>
              <p:custDataLst>
                <p:tags r:id="rId149"/>
              </p:custDataLst>
            </p:nvPr>
          </p:nvSpPr>
          <p:spPr bwMode="auto">
            <a:xfrm>
              <a:off x="1817688" y="3209925"/>
              <a:ext cx="125412" cy="122238"/>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grpFill/>
            <a:ln w="9525" cap="flat" cmpd="sng">
              <a:noFill/>
              <a:prstDash val="solid"/>
              <a:round/>
              <a:headEnd type="none" w="med" len="med"/>
              <a:tailEnd type="none" w="med" len="med"/>
            </a:ln>
            <a:effectLst/>
          </p:spPr>
          <p:txBody>
            <a:bodyPr/>
            <a:lstStyle/>
            <a:p>
              <a:endParaRPr lang="en-US" sz="2178"/>
            </a:p>
          </p:txBody>
        </p:sp>
        <p:sp>
          <p:nvSpPr>
            <p:cNvPr id="159" name="Freeform 223">
              <a:extLst>
                <a:ext uri="{FF2B5EF4-FFF2-40B4-BE49-F238E27FC236}">
                  <a16:creationId xmlns:a16="http://schemas.microsoft.com/office/drawing/2014/main" id="{71719D06-C51D-4F42-988D-E6CE89E3C8BC}"/>
                </a:ext>
              </a:extLst>
            </p:cNvPr>
            <p:cNvSpPr>
              <a:spLocks/>
            </p:cNvSpPr>
            <p:nvPr>
              <p:custDataLst>
                <p:tags r:id="rId150"/>
              </p:custDataLst>
            </p:nvPr>
          </p:nvSpPr>
          <p:spPr bwMode="auto">
            <a:xfrm>
              <a:off x="1868488" y="3322638"/>
              <a:ext cx="84137" cy="100012"/>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grpFill/>
            <a:ln w="9525" cap="flat" cmpd="sng">
              <a:noFill/>
              <a:prstDash val="solid"/>
              <a:round/>
              <a:headEnd type="none" w="med" len="med"/>
              <a:tailEnd type="none" w="med" len="med"/>
            </a:ln>
            <a:effectLst/>
          </p:spPr>
          <p:txBody>
            <a:bodyPr/>
            <a:lstStyle/>
            <a:p>
              <a:endParaRPr lang="en-US" sz="2178"/>
            </a:p>
          </p:txBody>
        </p:sp>
        <p:sp>
          <p:nvSpPr>
            <p:cNvPr id="160" name="Freeform 224">
              <a:extLst>
                <a:ext uri="{FF2B5EF4-FFF2-40B4-BE49-F238E27FC236}">
                  <a16:creationId xmlns:a16="http://schemas.microsoft.com/office/drawing/2014/main" id="{844A6C2D-300E-44DD-B26A-BAB8B3987824}"/>
                </a:ext>
              </a:extLst>
            </p:cNvPr>
            <p:cNvSpPr>
              <a:spLocks/>
            </p:cNvSpPr>
            <p:nvPr>
              <p:custDataLst>
                <p:tags r:id="rId151"/>
              </p:custDataLst>
            </p:nvPr>
          </p:nvSpPr>
          <p:spPr bwMode="auto">
            <a:xfrm>
              <a:off x="1949450" y="3376613"/>
              <a:ext cx="142875" cy="79375"/>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grpFill/>
            <a:ln w="9525" cap="flat" cmpd="sng">
              <a:noFill/>
              <a:prstDash val="solid"/>
              <a:round/>
              <a:headEnd type="none" w="med" len="med"/>
              <a:tailEnd type="none" w="med" len="med"/>
            </a:ln>
            <a:effectLst/>
          </p:spPr>
          <p:txBody>
            <a:bodyPr/>
            <a:lstStyle/>
            <a:p>
              <a:endParaRPr lang="en-US" sz="2178"/>
            </a:p>
          </p:txBody>
        </p:sp>
        <p:sp>
          <p:nvSpPr>
            <p:cNvPr id="161" name="Freeform 225">
              <a:extLst>
                <a:ext uri="{FF2B5EF4-FFF2-40B4-BE49-F238E27FC236}">
                  <a16:creationId xmlns:a16="http://schemas.microsoft.com/office/drawing/2014/main" id="{B89FB85D-647A-4355-9A6A-613A26C07D59}"/>
                </a:ext>
              </a:extLst>
            </p:cNvPr>
            <p:cNvSpPr>
              <a:spLocks/>
            </p:cNvSpPr>
            <p:nvPr>
              <p:custDataLst>
                <p:tags r:id="rId152"/>
              </p:custDataLst>
            </p:nvPr>
          </p:nvSpPr>
          <p:spPr bwMode="auto">
            <a:xfrm>
              <a:off x="2630488" y="4630738"/>
              <a:ext cx="133350" cy="155575"/>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grpFill/>
            <a:ln w="9525" cap="flat" cmpd="sng">
              <a:noFill/>
              <a:prstDash val="solid"/>
              <a:round/>
              <a:headEnd type="none" w="med" len="med"/>
              <a:tailEnd type="none" w="med" len="med"/>
            </a:ln>
            <a:effectLst/>
          </p:spPr>
          <p:txBody>
            <a:bodyPr/>
            <a:lstStyle/>
            <a:p>
              <a:endParaRPr lang="en-US" sz="2178"/>
            </a:p>
          </p:txBody>
        </p:sp>
        <p:sp>
          <p:nvSpPr>
            <p:cNvPr id="162" name="Freeform 226">
              <a:extLst>
                <a:ext uri="{FF2B5EF4-FFF2-40B4-BE49-F238E27FC236}">
                  <a16:creationId xmlns:a16="http://schemas.microsoft.com/office/drawing/2014/main" id="{1BE92629-791E-4D8E-BF0A-B9BECC732B80}"/>
                </a:ext>
              </a:extLst>
            </p:cNvPr>
            <p:cNvSpPr>
              <a:spLocks/>
            </p:cNvSpPr>
            <p:nvPr>
              <p:custDataLst>
                <p:tags r:id="rId153"/>
              </p:custDataLst>
            </p:nvPr>
          </p:nvSpPr>
          <p:spPr bwMode="auto">
            <a:xfrm>
              <a:off x="4176713" y="1247775"/>
              <a:ext cx="236537" cy="92075"/>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163" name="Freeform 227">
              <a:extLst>
                <a:ext uri="{FF2B5EF4-FFF2-40B4-BE49-F238E27FC236}">
                  <a16:creationId xmlns:a16="http://schemas.microsoft.com/office/drawing/2014/main" id="{82E09460-FA33-4FB7-AB2C-2A5D4ECD2263}"/>
                </a:ext>
              </a:extLst>
            </p:cNvPr>
            <p:cNvSpPr>
              <a:spLocks/>
            </p:cNvSpPr>
            <p:nvPr>
              <p:custDataLst>
                <p:tags r:id="rId154"/>
              </p:custDataLst>
            </p:nvPr>
          </p:nvSpPr>
          <p:spPr bwMode="auto">
            <a:xfrm>
              <a:off x="4103688" y="1477963"/>
              <a:ext cx="449262" cy="361950"/>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grpFill/>
            <a:ln w="9525" cap="flat" cmpd="sng">
              <a:noFill/>
              <a:prstDash val="solid"/>
              <a:round/>
              <a:headEnd type="none" w="med" len="med"/>
              <a:tailEnd type="none" w="med" len="med"/>
            </a:ln>
            <a:effectLst/>
          </p:spPr>
          <p:txBody>
            <a:bodyPr/>
            <a:lstStyle/>
            <a:p>
              <a:endParaRPr lang="en-US" sz="2178"/>
            </a:p>
          </p:txBody>
        </p:sp>
        <p:sp>
          <p:nvSpPr>
            <p:cNvPr id="164" name="Freeform 228">
              <a:extLst>
                <a:ext uri="{FF2B5EF4-FFF2-40B4-BE49-F238E27FC236}">
                  <a16:creationId xmlns:a16="http://schemas.microsoft.com/office/drawing/2014/main" id="{8D6B90F0-6D41-4856-BA42-685F8A024158}"/>
                </a:ext>
              </a:extLst>
            </p:cNvPr>
            <p:cNvSpPr>
              <a:spLocks/>
            </p:cNvSpPr>
            <p:nvPr>
              <p:custDataLst>
                <p:tags r:id="rId155"/>
              </p:custDataLst>
            </p:nvPr>
          </p:nvSpPr>
          <p:spPr bwMode="auto">
            <a:xfrm>
              <a:off x="4443413" y="2319338"/>
              <a:ext cx="49212" cy="90487"/>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grpFill/>
            <a:ln w="9525" cmpd="sng">
              <a:noFill/>
              <a:prstDash val="solid"/>
              <a:round/>
              <a:headEnd/>
              <a:tailEnd/>
            </a:ln>
          </p:spPr>
          <p:txBody>
            <a:bodyPr/>
            <a:lstStyle/>
            <a:p>
              <a:endParaRPr lang="en-US" sz="2178"/>
            </a:p>
          </p:txBody>
        </p:sp>
        <p:sp>
          <p:nvSpPr>
            <p:cNvPr id="165" name="Freeform 229">
              <a:extLst>
                <a:ext uri="{FF2B5EF4-FFF2-40B4-BE49-F238E27FC236}">
                  <a16:creationId xmlns:a16="http://schemas.microsoft.com/office/drawing/2014/main" id="{9BDCC214-214E-4CF1-9C7D-AF4BA94060B8}"/>
                </a:ext>
              </a:extLst>
            </p:cNvPr>
            <p:cNvSpPr>
              <a:spLocks/>
            </p:cNvSpPr>
            <p:nvPr>
              <p:custDataLst>
                <p:tags r:id="rId156"/>
              </p:custDataLst>
            </p:nvPr>
          </p:nvSpPr>
          <p:spPr bwMode="auto">
            <a:xfrm>
              <a:off x="4151313" y="2159000"/>
              <a:ext cx="84137" cy="58738"/>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grpFill/>
            <a:ln w="9525" cap="flat" cmpd="sng">
              <a:noFill/>
              <a:prstDash val="solid"/>
              <a:round/>
              <a:headEnd type="none" w="med" len="med"/>
              <a:tailEnd type="none" w="med" len="med"/>
            </a:ln>
            <a:effectLst/>
          </p:spPr>
          <p:txBody>
            <a:bodyPr/>
            <a:lstStyle/>
            <a:p>
              <a:endParaRPr lang="en-US" sz="2178"/>
            </a:p>
          </p:txBody>
        </p:sp>
        <p:sp>
          <p:nvSpPr>
            <p:cNvPr id="166" name="Freeform 230">
              <a:extLst>
                <a:ext uri="{FF2B5EF4-FFF2-40B4-BE49-F238E27FC236}">
                  <a16:creationId xmlns:a16="http://schemas.microsoft.com/office/drawing/2014/main" id="{B098A508-AAC6-4D58-9CE9-20F9A7C50E53}"/>
                </a:ext>
              </a:extLst>
            </p:cNvPr>
            <p:cNvSpPr>
              <a:spLocks/>
            </p:cNvSpPr>
            <p:nvPr>
              <p:custDataLst>
                <p:tags r:id="rId157"/>
              </p:custDataLst>
            </p:nvPr>
          </p:nvSpPr>
          <p:spPr bwMode="auto">
            <a:xfrm>
              <a:off x="4089400" y="1978025"/>
              <a:ext cx="84138" cy="73025"/>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grpFill/>
            <a:ln w="9525" cap="flat" cmpd="sng">
              <a:noFill/>
              <a:prstDash val="solid"/>
              <a:round/>
              <a:headEnd type="none" w="med" len="med"/>
              <a:tailEnd type="none" w="med" len="med"/>
            </a:ln>
            <a:effectLst/>
          </p:spPr>
          <p:txBody>
            <a:bodyPr/>
            <a:lstStyle/>
            <a:p>
              <a:endParaRPr lang="en-US" sz="2178"/>
            </a:p>
          </p:txBody>
        </p:sp>
        <p:sp>
          <p:nvSpPr>
            <p:cNvPr id="167" name="Freeform 231">
              <a:extLst>
                <a:ext uri="{FF2B5EF4-FFF2-40B4-BE49-F238E27FC236}">
                  <a16:creationId xmlns:a16="http://schemas.microsoft.com/office/drawing/2014/main" id="{04B6D9D8-C76D-4AD6-9F77-ECD9F3E3C012}"/>
                </a:ext>
              </a:extLst>
            </p:cNvPr>
            <p:cNvSpPr>
              <a:spLocks/>
            </p:cNvSpPr>
            <p:nvPr>
              <p:custDataLst>
                <p:tags r:id="rId158"/>
              </p:custDataLst>
            </p:nvPr>
          </p:nvSpPr>
          <p:spPr bwMode="auto">
            <a:xfrm>
              <a:off x="4070350" y="2041525"/>
              <a:ext cx="84138" cy="57150"/>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grpFill/>
            <a:ln w="9525" cap="flat" cmpd="sng">
              <a:noFill/>
              <a:prstDash val="solid"/>
              <a:round/>
              <a:headEnd type="none" w="med" len="med"/>
              <a:tailEnd type="none" w="med" len="med"/>
            </a:ln>
            <a:effectLst/>
          </p:spPr>
          <p:txBody>
            <a:bodyPr/>
            <a:lstStyle/>
            <a:p>
              <a:endParaRPr lang="en-US" sz="2178"/>
            </a:p>
          </p:txBody>
        </p:sp>
        <p:sp>
          <p:nvSpPr>
            <p:cNvPr id="168" name="Freeform 232">
              <a:extLst>
                <a:ext uri="{FF2B5EF4-FFF2-40B4-BE49-F238E27FC236}">
                  <a16:creationId xmlns:a16="http://schemas.microsoft.com/office/drawing/2014/main" id="{A678FA81-4147-43A0-82CF-EAA78FA3E5C1}"/>
                </a:ext>
              </a:extLst>
            </p:cNvPr>
            <p:cNvSpPr>
              <a:spLocks/>
            </p:cNvSpPr>
            <p:nvPr>
              <p:custDataLst>
                <p:tags r:id="rId159"/>
              </p:custDataLst>
            </p:nvPr>
          </p:nvSpPr>
          <p:spPr bwMode="auto">
            <a:xfrm>
              <a:off x="4830763" y="2595563"/>
              <a:ext cx="33337" cy="131762"/>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grpFill/>
            <a:ln w="9525" cmpd="sng">
              <a:noFill/>
              <a:prstDash val="solid"/>
              <a:round/>
              <a:headEnd/>
              <a:tailEnd/>
            </a:ln>
          </p:spPr>
          <p:txBody>
            <a:bodyPr/>
            <a:lstStyle/>
            <a:p>
              <a:endParaRPr lang="en-US" sz="2178"/>
            </a:p>
          </p:txBody>
        </p:sp>
        <p:sp>
          <p:nvSpPr>
            <p:cNvPr id="169" name="Freeform 233">
              <a:extLst>
                <a:ext uri="{FF2B5EF4-FFF2-40B4-BE49-F238E27FC236}">
                  <a16:creationId xmlns:a16="http://schemas.microsoft.com/office/drawing/2014/main" id="{BCFACD55-2194-4339-AB68-543768438B1D}"/>
                </a:ext>
              </a:extLst>
            </p:cNvPr>
            <p:cNvSpPr>
              <a:spLocks/>
            </p:cNvSpPr>
            <p:nvPr>
              <p:custDataLst>
                <p:tags r:id="rId160"/>
              </p:custDataLst>
            </p:nvPr>
          </p:nvSpPr>
          <p:spPr bwMode="auto">
            <a:xfrm>
              <a:off x="4779963" y="2647950"/>
              <a:ext cx="69850" cy="130175"/>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grpFill/>
            <a:ln w="9525" cmpd="sng">
              <a:noFill/>
              <a:prstDash val="solid"/>
              <a:round/>
              <a:headEnd/>
              <a:tailEnd/>
            </a:ln>
          </p:spPr>
          <p:txBody>
            <a:bodyPr/>
            <a:lstStyle/>
            <a:p>
              <a:endParaRPr lang="en-US" sz="2178"/>
            </a:p>
          </p:txBody>
        </p:sp>
        <p:sp>
          <p:nvSpPr>
            <p:cNvPr id="170" name="Freeform 234">
              <a:extLst>
                <a:ext uri="{FF2B5EF4-FFF2-40B4-BE49-F238E27FC236}">
                  <a16:creationId xmlns:a16="http://schemas.microsoft.com/office/drawing/2014/main" id="{EB2A2E94-4DD9-4B42-B1DC-8F186919DA53}"/>
                </a:ext>
              </a:extLst>
            </p:cNvPr>
            <p:cNvSpPr>
              <a:spLocks/>
            </p:cNvSpPr>
            <p:nvPr>
              <p:custDataLst>
                <p:tags r:id="rId161"/>
              </p:custDataLst>
            </p:nvPr>
          </p:nvSpPr>
          <p:spPr bwMode="auto">
            <a:xfrm>
              <a:off x="3781425" y="1901825"/>
              <a:ext cx="96838" cy="144463"/>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grpFill/>
            <a:ln w="9525" cap="flat" cmpd="sng">
              <a:noFill/>
              <a:prstDash val="solid"/>
              <a:round/>
              <a:headEnd type="none" w="med" len="med"/>
              <a:tailEnd type="none" w="med" len="med"/>
            </a:ln>
            <a:effectLst/>
          </p:spPr>
          <p:txBody>
            <a:bodyPr/>
            <a:lstStyle/>
            <a:p>
              <a:endParaRPr lang="en-US" sz="2178"/>
            </a:p>
          </p:txBody>
        </p:sp>
        <p:sp>
          <p:nvSpPr>
            <p:cNvPr id="171" name="Freeform 235">
              <a:extLst>
                <a:ext uri="{FF2B5EF4-FFF2-40B4-BE49-F238E27FC236}">
                  <a16:creationId xmlns:a16="http://schemas.microsoft.com/office/drawing/2014/main" id="{93F30C61-735B-4933-9209-48E5D4E3F2E5}"/>
                </a:ext>
              </a:extLst>
            </p:cNvPr>
            <p:cNvSpPr>
              <a:spLocks/>
            </p:cNvSpPr>
            <p:nvPr>
              <p:custDataLst>
                <p:tags r:id="rId162"/>
              </p:custDataLst>
            </p:nvPr>
          </p:nvSpPr>
          <p:spPr bwMode="auto">
            <a:xfrm>
              <a:off x="3594100" y="2813050"/>
              <a:ext cx="306388" cy="390525"/>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grpFill/>
            <a:ln w="9525" cmpd="sng">
              <a:noFill/>
              <a:prstDash val="solid"/>
              <a:round/>
              <a:headEnd/>
              <a:tailEnd/>
            </a:ln>
          </p:spPr>
          <p:txBody>
            <a:bodyPr/>
            <a:lstStyle/>
            <a:p>
              <a:endParaRPr lang="en-US" sz="2178"/>
            </a:p>
          </p:txBody>
        </p:sp>
        <p:sp>
          <p:nvSpPr>
            <p:cNvPr id="172" name="Freeform 236">
              <a:extLst>
                <a:ext uri="{FF2B5EF4-FFF2-40B4-BE49-F238E27FC236}">
                  <a16:creationId xmlns:a16="http://schemas.microsoft.com/office/drawing/2014/main" id="{62560F00-D482-46C2-986F-48BC505484F8}"/>
                </a:ext>
              </a:extLst>
            </p:cNvPr>
            <p:cNvSpPr>
              <a:spLocks/>
            </p:cNvSpPr>
            <p:nvPr>
              <p:custDataLst>
                <p:tags r:id="rId163"/>
              </p:custDataLst>
            </p:nvPr>
          </p:nvSpPr>
          <p:spPr bwMode="auto">
            <a:xfrm>
              <a:off x="3709988" y="2873375"/>
              <a:ext cx="414337" cy="468313"/>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grpFill/>
            <a:ln w="9525" cmpd="sng">
              <a:noFill/>
              <a:prstDash val="solid"/>
              <a:round/>
              <a:headEnd/>
              <a:tailEnd/>
            </a:ln>
          </p:spPr>
          <p:txBody>
            <a:bodyPr/>
            <a:lstStyle/>
            <a:p>
              <a:endParaRPr lang="en-US" sz="2178"/>
            </a:p>
          </p:txBody>
        </p:sp>
        <p:sp>
          <p:nvSpPr>
            <p:cNvPr id="173" name="Freeform 237">
              <a:extLst>
                <a:ext uri="{FF2B5EF4-FFF2-40B4-BE49-F238E27FC236}">
                  <a16:creationId xmlns:a16="http://schemas.microsoft.com/office/drawing/2014/main" id="{4D1ED254-CF87-4077-AD40-983E228E281E}"/>
                </a:ext>
              </a:extLst>
            </p:cNvPr>
            <p:cNvSpPr>
              <a:spLocks/>
            </p:cNvSpPr>
            <p:nvPr>
              <p:custDataLst>
                <p:tags r:id="rId164"/>
              </p:custDataLst>
            </p:nvPr>
          </p:nvSpPr>
          <p:spPr bwMode="auto">
            <a:xfrm>
              <a:off x="3808413" y="2479675"/>
              <a:ext cx="493712" cy="579438"/>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grpFill/>
            <a:ln w="9525" cmpd="sng">
              <a:noFill/>
              <a:prstDash val="solid"/>
              <a:round/>
              <a:headEnd/>
              <a:tailEnd/>
            </a:ln>
          </p:spPr>
          <p:txBody>
            <a:bodyPr/>
            <a:lstStyle/>
            <a:p>
              <a:endParaRPr lang="en-US" sz="2178"/>
            </a:p>
          </p:txBody>
        </p:sp>
        <p:sp>
          <p:nvSpPr>
            <p:cNvPr id="174" name="Freeform 238">
              <a:extLst>
                <a:ext uri="{FF2B5EF4-FFF2-40B4-BE49-F238E27FC236}">
                  <a16:creationId xmlns:a16="http://schemas.microsoft.com/office/drawing/2014/main" id="{EBDC0858-E054-4417-88AA-19935476ADCB}"/>
                </a:ext>
              </a:extLst>
            </p:cNvPr>
            <p:cNvSpPr>
              <a:spLocks/>
            </p:cNvSpPr>
            <p:nvPr>
              <p:custDataLst>
                <p:tags r:id="rId165"/>
              </p:custDataLst>
            </p:nvPr>
          </p:nvSpPr>
          <p:spPr bwMode="auto">
            <a:xfrm>
              <a:off x="4244975" y="2614613"/>
              <a:ext cx="384175" cy="436562"/>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grpFill/>
            <a:ln w="9525" cmpd="sng">
              <a:noFill/>
              <a:prstDash val="solid"/>
              <a:round/>
              <a:headEnd/>
              <a:tailEnd/>
            </a:ln>
          </p:spPr>
          <p:txBody>
            <a:bodyPr/>
            <a:lstStyle/>
            <a:p>
              <a:endParaRPr lang="en-US" sz="2178"/>
            </a:p>
          </p:txBody>
        </p:sp>
        <p:sp>
          <p:nvSpPr>
            <p:cNvPr id="175" name="Freeform 239">
              <a:extLst>
                <a:ext uri="{FF2B5EF4-FFF2-40B4-BE49-F238E27FC236}">
                  <a16:creationId xmlns:a16="http://schemas.microsoft.com/office/drawing/2014/main" id="{006A6704-8CC0-4308-B883-22CAD5F4E5A6}"/>
                </a:ext>
              </a:extLst>
            </p:cNvPr>
            <p:cNvSpPr>
              <a:spLocks/>
            </p:cNvSpPr>
            <p:nvPr>
              <p:custDataLst>
                <p:tags r:id="rId166"/>
              </p:custDataLst>
            </p:nvPr>
          </p:nvSpPr>
          <p:spPr bwMode="auto">
            <a:xfrm>
              <a:off x="4197350" y="2479675"/>
              <a:ext cx="93663" cy="236538"/>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grpFill/>
            <a:ln w="9525" cmpd="sng">
              <a:noFill/>
              <a:prstDash val="solid"/>
              <a:round/>
              <a:headEnd/>
              <a:tailEnd/>
            </a:ln>
          </p:spPr>
          <p:txBody>
            <a:bodyPr/>
            <a:lstStyle/>
            <a:p>
              <a:endParaRPr lang="en-US" sz="2178"/>
            </a:p>
          </p:txBody>
        </p:sp>
        <p:sp>
          <p:nvSpPr>
            <p:cNvPr id="176" name="Freeform 240">
              <a:extLst>
                <a:ext uri="{FF2B5EF4-FFF2-40B4-BE49-F238E27FC236}">
                  <a16:creationId xmlns:a16="http://schemas.microsoft.com/office/drawing/2014/main" id="{61B99B7F-AAD2-475D-B440-E0CED568C205}"/>
                </a:ext>
              </a:extLst>
            </p:cNvPr>
            <p:cNvSpPr>
              <a:spLocks/>
            </p:cNvSpPr>
            <p:nvPr>
              <p:custDataLst>
                <p:tags r:id="rId167"/>
              </p:custDataLst>
            </p:nvPr>
          </p:nvSpPr>
          <p:spPr bwMode="auto">
            <a:xfrm>
              <a:off x="3579813" y="2790825"/>
              <a:ext cx="231775" cy="215900"/>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grpFill/>
            <a:ln w="9525" cmpd="sng">
              <a:noFill/>
              <a:prstDash val="solid"/>
              <a:round/>
              <a:headEnd/>
              <a:tailEnd/>
            </a:ln>
          </p:spPr>
          <p:txBody>
            <a:bodyPr/>
            <a:lstStyle/>
            <a:p>
              <a:endParaRPr lang="en-US" sz="2178"/>
            </a:p>
          </p:txBody>
        </p:sp>
        <p:sp>
          <p:nvSpPr>
            <p:cNvPr id="177" name="Freeform 241">
              <a:extLst>
                <a:ext uri="{FF2B5EF4-FFF2-40B4-BE49-F238E27FC236}">
                  <a16:creationId xmlns:a16="http://schemas.microsoft.com/office/drawing/2014/main" id="{FFC67748-9117-4B48-8494-9C3830E9E030}"/>
                </a:ext>
              </a:extLst>
            </p:cNvPr>
            <p:cNvSpPr>
              <a:spLocks/>
            </p:cNvSpPr>
            <p:nvPr>
              <p:custDataLst>
                <p:tags r:id="rId168"/>
              </p:custDataLst>
            </p:nvPr>
          </p:nvSpPr>
          <p:spPr bwMode="auto">
            <a:xfrm>
              <a:off x="3548063" y="1598613"/>
              <a:ext cx="190500" cy="93662"/>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grpFill/>
            <a:ln w="9525" cmpd="sng">
              <a:noFill/>
              <a:prstDash val="solid"/>
              <a:round/>
              <a:headEnd/>
              <a:tailEnd/>
            </a:ln>
          </p:spPr>
          <p:txBody>
            <a:bodyPr/>
            <a:lstStyle/>
            <a:p>
              <a:endParaRPr lang="en-US" sz="2178"/>
            </a:p>
          </p:txBody>
        </p:sp>
        <p:sp>
          <p:nvSpPr>
            <p:cNvPr id="178" name="Freeform 242">
              <a:extLst>
                <a:ext uri="{FF2B5EF4-FFF2-40B4-BE49-F238E27FC236}">
                  <a16:creationId xmlns:a16="http://schemas.microsoft.com/office/drawing/2014/main" id="{285310D5-B95B-4E2B-9F16-7CA9AD6EB62E}"/>
                </a:ext>
              </a:extLst>
            </p:cNvPr>
            <p:cNvSpPr>
              <a:spLocks/>
            </p:cNvSpPr>
            <p:nvPr>
              <p:custDataLst>
                <p:tags r:id="rId169"/>
              </p:custDataLst>
            </p:nvPr>
          </p:nvSpPr>
          <p:spPr bwMode="auto">
            <a:xfrm>
              <a:off x="4340225" y="1862138"/>
              <a:ext cx="14288" cy="57150"/>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179" name="Freeform 243">
              <a:extLst>
                <a:ext uri="{FF2B5EF4-FFF2-40B4-BE49-F238E27FC236}">
                  <a16:creationId xmlns:a16="http://schemas.microsoft.com/office/drawing/2014/main" id="{E37F2898-3712-4C91-9F45-48F749037A6B}"/>
                </a:ext>
              </a:extLst>
            </p:cNvPr>
            <p:cNvSpPr>
              <a:spLocks/>
            </p:cNvSpPr>
            <p:nvPr>
              <p:custDataLst>
                <p:tags r:id="rId170"/>
              </p:custDataLst>
            </p:nvPr>
          </p:nvSpPr>
          <p:spPr bwMode="auto">
            <a:xfrm>
              <a:off x="4227513" y="1525588"/>
              <a:ext cx="234950" cy="395287"/>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180" name="Freeform 244">
              <a:extLst>
                <a:ext uri="{FF2B5EF4-FFF2-40B4-BE49-F238E27FC236}">
                  <a16:creationId xmlns:a16="http://schemas.microsoft.com/office/drawing/2014/main" id="{F04AE781-2F26-459A-A782-1DF63B86E714}"/>
                </a:ext>
              </a:extLst>
            </p:cNvPr>
            <p:cNvSpPr>
              <a:spLocks/>
            </p:cNvSpPr>
            <p:nvPr>
              <p:custDataLst>
                <p:tags r:id="rId171"/>
              </p:custDataLst>
            </p:nvPr>
          </p:nvSpPr>
          <p:spPr bwMode="auto">
            <a:xfrm>
              <a:off x="4365625" y="1839913"/>
              <a:ext cx="26988" cy="57150"/>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181" name="Freeform 245">
              <a:extLst>
                <a:ext uri="{FF2B5EF4-FFF2-40B4-BE49-F238E27FC236}">
                  <a16:creationId xmlns:a16="http://schemas.microsoft.com/office/drawing/2014/main" id="{3A0A4EC6-EFBB-4EFC-8DD6-37262CED7DD6}"/>
                </a:ext>
              </a:extLst>
            </p:cNvPr>
            <p:cNvSpPr>
              <a:spLocks/>
            </p:cNvSpPr>
            <p:nvPr>
              <p:custDataLst>
                <p:tags r:id="rId172"/>
              </p:custDataLst>
            </p:nvPr>
          </p:nvSpPr>
          <p:spPr bwMode="auto">
            <a:xfrm>
              <a:off x="3810000" y="2001838"/>
              <a:ext cx="28575" cy="57150"/>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182" name="Freeform 246">
              <a:extLst>
                <a:ext uri="{FF2B5EF4-FFF2-40B4-BE49-F238E27FC236}">
                  <a16:creationId xmlns:a16="http://schemas.microsoft.com/office/drawing/2014/main" id="{E0E6181B-E18F-4AC3-84CB-B3280CAC8DDD}"/>
                </a:ext>
              </a:extLst>
            </p:cNvPr>
            <p:cNvSpPr>
              <a:spLocks/>
            </p:cNvSpPr>
            <p:nvPr>
              <p:custDataLst>
                <p:tags r:id="rId173"/>
              </p:custDataLst>
            </p:nvPr>
          </p:nvSpPr>
          <p:spPr bwMode="auto">
            <a:xfrm>
              <a:off x="4762500" y="2530475"/>
              <a:ext cx="50800" cy="57150"/>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grpFill/>
            <a:ln w="9525" cmpd="sng">
              <a:noFill/>
              <a:prstDash val="solid"/>
              <a:round/>
              <a:headEnd/>
              <a:tailEnd/>
            </a:ln>
          </p:spPr>
          <p:txBody>
            <a:bodyPr/>
            <a:lstStyle/>
            <a:p>
              <a:endParaRPr lang="en-US" sz="2178"/>
            </a:p>
          </p:txBody>
        </p:sp>
        <p:sp>
          <p:nvSpPr>
            <p:cNvPr id="183" name="Freeform 247">
              <a:extLst>
                <a:ext uri="{FF2B5EF4-FFF2-40B4-BE49-F238E27FC236}">
                  <a16:creationId xmlns:a16="http://schemas.microsoft.com/office/drawing/2014/main" id="{051E4724-B541-4780-86B5-73DBE4FF587A}"/>
                </a:ext>
              </a:extLst>
            </p:cNvPr>
            <p:cNvSpPr>
              <a:spLocks/>
            </p:cNvSpPr>
            <p:nvPr>
              <p:custDataLst>
                <p:tags r:id="rId174"/>
              </p:custDataLst>
            </p:nvPr>
          </p:nvSpPr>
          <p:spPr bwMode="auto">
            <a:xfrm>
              <a:off x="4370388" y="3322638"/>
              <a:ext cx="325437" cy="244475"/>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grpFill/>
            <a:ln w="9525" cmpd="sng">
              <a:noFill/>
              <a:prstDash val="solid"/>
              <a:round/>
              <a:headEnd/>
              <a:tailEnd/>
            </a:ln>
          </p:spPr>
          <p:txBody>
            <a:bodyPr/>
            <a:lstStyle/>
            <a:p>
              <a:endParaRPr lang="en-US" sz="2178"/>
            </a:p>
          </p:txBody>
        </p:sp>
        <p:sp>
          <p:nvSpPr>
            <p:cNvPr id="184" name="Freeform 248">
              <a:extLst>
                <a:ext uri="{FF2B5EF4-FFF2-40B4-BE49-F238E27FC236}">
                  <a16:creationId xmlns:a16="http://schemas.microsoft.com/office/drawing/2014/main" id="{4E45C44B-F56C-4115-A153-979BFB049E81}"/>
                </a:ext>
              </a:extLst>
            </p:cNvPr>
            <p:cNvSpPr>
              <a:spLocks/>
            </p:cNvSpPr>
            <p:nvPr>
              <p:custDataLst>
                <p:tags r:id="rId175"/>
              </p:custDataLst>
            </p:nvPr>
          </p:nvSpPr>
          <p:spPr bwMode="auto">
            <a:xfrm>
              <a:off x="4306888" y="3490913"/>
              <a:ext cx="500062" cy="552450"/>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grpFill/>
            <a:ln w="9525" cmpd="sng">
              <a:noFill/>
              <a:prstDash val="solid"/>
              <a:round/>
              <a:headEnd/>
              <a:tailEnd/>
            </a:ln>
          </p:spPr>
          <p:txBody>
            <a:bodyPr/>
            <a:lstStyle/>
            <a:p>
              <a:endParaRPr lang="en-US" sz="2178"/>
            </a:p>
          </p:txBody>
        </p:sp>
        <p:sp>
          <p:nvSpPr>
            <p:cNvPr id="185" name="Freeform 249">
              <a:extLst>
                <a:ext uri="{FF2B5EF4-FFF2-40B4-BE49-F238E27FC236}">
                  <a16:creationId xmlns:a16="http://schemas.microsoft.com/office/drawing/2014/main" id="{251AF7D4-DAFC-47F7-854B-3718406E7D82}"/>
                </a:ext>
              </a:extLst>
            </p:cNvPr>
            <p:cNvSpPr>
              <a:spLocks/>
            </p:cNvSpPr>
            <p:nvPr>
              <p:custDataLst>
                <p:tags r:id="rId176"/>
              </p:custDataLst>
            </p:nvPr>
          </p:nvSpPr>
          <p:spPr bwMode="auto">
            <a:xfrm>
              <a:off x="4243388" y="3590925"/>
              <a:ext cx="55562" cy="5556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grpFill/>
            <a:ln w="9525" cmpd="sng">
              <a:noFill/>
              <a:prstDash val="solid"/>
              <a:round/>
              <a:headEnd/>
              <a:tailEnd/>
            </a:ln>
          </p:spPr>
          <p:txBody>
            <a:bodyPr/>
            <a:lstStyle/>
            <a:p>
              <a:endParaRPr lang="en-US" sz="2178"/>
            </a:p>
          </p:txBody>
        </p:sp>
        <p:sp>
          <p:nvSpPr>
            <p:cNvPr id="186" name="Freeform 250">
              <a:extLst>
                <a:ext uri="{FF2B5EF4-FFF2-40B4-BE49-F238E27FC236}">
                  <a16:creationId xmlns:a16="http://schemas.microsoft.com/office/drawing/2014/main" id="{C9E158A9-E128-4282-8E43-26F076C243C2}"/>
                </a:ext>
              </a:extLst>
            </p:cNvPr>
            <p:cNvSpPr>
              <a:spLocks/>
            </p:cNvSpPr>
            <p:nvPr>
              <p:custDataLst>
                <p:tags r:id="rId177"/>
              </p:custDataLst>
            </p:nvPr>
          </p:nvSpPr>
          <p:spPr bwMode="auto">
            <a:xfrm>
              <a:off x="4225925" y="3590925"/>
              <a:ext cx="152400" cy="201613"/>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grpFill/>
            <a:ln w="9525" cmpd="sng">
              <a:noFill/>
              <a:prstDash val="solid"/>
              <a:round/>
              <a:headEnd/>
              <a:tailEnd/>
            </a:ln>
          </p:spPr>
          <p:txBody>
            <a:bodyPr/>
            <a:lstStyle/>
            <a:p>
              <a:endParaRPr lang="en-US" sz="2178"/>
            </a:p>
          </p:txBody>
        </p:sp>
        <p:sp>
          <p:nvSpPr>
            <p:cNvPr id="187" name="Freeform 251">
              <a:extLst>
                <a:ext uri="{FF2B5EF4-FFF2-40B4-BE49-F238E27FC236}">
                  <a16:creationId xmlns:a16="http://schemas.microsoft.com/office/drawing/2014/main" id="{8621BCA5-7EDB-4182-A7AE-05DD2E78D081}"/>
                </a:ext>
              </a:extLst>
            </p:cNvPr>
            <p:cNvSpPr>
              <a:spLocks/>
            </p:cNvSpPr>
            <p:nvPr>
              <p:custDataLst>
                <p:tags r:id="rId178"/>
              </p:custDataLst>
            </p:nvPr>
          </p:nvSpPr>
          <p:spPr bwMode="auto">
            <a:xfrm>
              <a:off x="4759325" y="3995738"/>
              <a:ext cx="260350" cy="520700"/>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grpFill/>
            <a:ln w="9525" cmpd="sng">
              <a:noFill/>
              <a:prstDash val="solid"/>
              <a:round/>
              <a:headEnd/>
              <a:tailEnd/>
            </a:ln>
          </p:spPr>
          <p:txBody>
            <a:bodyPr/>
            <a:lstStyle/>
            <a:p>
              <a:endParaRPr lang="en-US" sz="2178"/>
            </a:p>
          </p:txBody>
        </p:sp>
        <p:sp>
          <p:nvSpPr>
            <p:cNvPr id="188" name="Freeform 252">
              <a:extLst>
                <a:ext uri="{FF2B5EF4-FFF2-40B4-BE49-F238E27FC236}">
                  <a16:creationId xmlns:a16="http://schemas.microsoft.com/office/drawing/2014/main" id="{32436F4C-2BD4-4913-9D5A-EA7E8A97AE7F}"/>
                </a:ext>
              </a:extLst>
            </p:cNvPr>
            <p:cNvSpPr>
              <a:spLocks/>
            </p:cNvSpPr>
            <p:nvPr>
              <p:custDataLst>
                <p:tags r:id="rId179"/>
              </p:custDataLst>
            </p:nvPr>
          </p:nvSpPr>
          <p:spPr bwMode="auto">
            <a:xfrm>
              <a:off x="4494213" y="4235450"/>
              <a:ext cx="238125" cy="287338"/>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grpFill/>
            <a:ln w="9525" cmpd="sng">
              <a:noFill/>
              <a:prstDash val="solid"/>
              <a:round/>
              <a:headEnd/>
              <a:tailEnd/>
            </a:ln>
          </p:spPr>
          <p:txBody>
            <a:bodyPr/>
            <a:lstStyle/>
            <a:p>
              <a:endParaRPr lang="en-US" sz="2178"/>
            </a:p>
          </p:txBody>
        </p:sp>
        <p:sp>
          <p:nvSpPr>
            <p:cNvPr id="189" name="Freeform 253">
              <a:extLst>
                <a:ext uri="{FF2B5EF4-FFF2-40B4-BE49-F238E27FC236}">
                  <a16:creationId xmlns:a16="http://schemas.microsoft.com/office/drawing/2014/main" id="{81835779-BD9C-4026-A959-94BD948CE1C8}"/>
                </a:ext>
              </a:extLst>
            </p:cNvPr>
            <p:cNvSpPr>
              <a:spLocks/>
            </p:cNvSpPr>
            <p:nvPr>
              <p:custDataLst>
                <p:tags r:id="rId180"/>
              </p:custDataLst>
            </p:nvPr>
          </p:nvSpPr>
          <p:spPr bwMode="auto">
            <a:xfrm>
              <a:off x="5067300" y="4037013"/>
              <a:ext cx="196850" cy="434975"/>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grpFill/>
            <a:ln w="9525" cmpd="sng">
              <a:noFill/>
              <a:prstDash val="solid"/>
              <a:round/>
              <a:headEnd/>
              <a:tailEnd/>
            </a:ln>
          </p:spPr>
          <p:txBody>
            <a:bodyPr/>
            <a:lstStyle/>
            <a:p>
              <a:endParaRPr lang="en-US" sz="2178"/>
            </a:p>
          </p:txBody>
        </p:sp>
        <p:sp>
          <p:nvSpPr>
            <p:cNvPr id="190" name="Freeform 254">
              <a:extLst>
                <a:ext uri="{FF2B5EF4-FFF2-40B4-BE49-F238E27FC236}">
                  <a16:creationId xmlns:a16="http://schemas.microsoft.com/office/drawing/2014/main" id="{B9E8563E-AE8F-4B5B-BE8C-4926FC8E9441}"/>
                </a:ext>
              </a:extLst>
            </p:cNvPr>
            <p:cNvSpPr>
              <a:spLocks/>
            </p:cNvSpPr>
            <p:nvPr>
              <p:custDataLst>
                <p:tags r:id="rId181"/>
              </p:custDataLst>
            </p:nvPr>
          </p:nvSpPr>
          <p:spPr bwMode="auto">
            <a:xfrm>
              <a:off x="4743450" y="3735388"/>
              <a:ext cx="36513" cy="66675"/>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grpFill/>
            <a:ln w="9525" cmpd="sng">
              <a:noFill/>
              <a:prstDash val="solid"/>
              <a:round/>
              <a:headEnd/>
              <a:tailEnd/>
            </a:ln>
          </p:spPr>
          <p:txBody>
            <a:bodyPr/>
            <a:lstStyle/>
            <a:p>
              <a:endParaRPr lang="en-US" sz="2178"/>
            </a:p>
          </p:txBody>
        </p:sp>
        <p:sp>
          <p:nvSpPr>
            <p:cNvPr id="191" name="Freeform 255">
              <a:extLst>
                <a:ext uri="{FF2B5EF4-FFF2-40B4-BE49-F238E27FC236}">
                  <a16:creationId xmlns:a16="http://schemas.microsoft.com/office/drawing/2014/main" id="{913CA24B-7794-489D-A33A-037ED8423029}"/>
                </a:ext>
              </a:extLst>
            </p:cNvPr>
            <p:cNvSpPr>
              <a:spLocks/>
            </p:cNvSpPr>
            <p:nvPr>
              <p:custDataLst>
                <p:tags r:id="rId182"/>
              </p:custDataLst>
            </p:nvPr>
          </p:nvSpPr>
          <p:spPr bwMode="auto">
            <a:xfrm>
              <a:off x="4732338" y="3695700"/>
              <a:ext cx="55562" cy="60325"/>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grpFill/>
            <a:ln w="9525" cmpd="sng">
              <a:noFill/>
              <a:prstDash val="solid"/>
              <a:round/>
              <a:headEnd/>
              <a:tailEnd/>
            </a:ln>
          </p:spPr>
          <p:txBody>
            <a:bodyPr/>
            <a:lstStyle/>
            <a:p>
              <a:endParaRPr lang="en-US" sz="2178"/>
            </a:p>
          </p:txBody>
        </p:sp>
        <p:sp>
          <p:nvSpPr>
            <p:cNvPr id="192" name="Freeform 256">
              <a:extLst>
                <a:ext uri="{FF2B5EF4-FFF2-40B4-BE49-F238E27FC236}">
                  <a16:creationId xmlns:a16="http://schemas.microsoft.com/office/drawing/2014/main" id="{D46FD142-EC18-451E-BBF2-2B967E1D89A5}"/>
                </a:ext>
              </a:extLst>
            </p:cNvPr>
            <p:cNvSpPr>
              <a:spLocks/>
            </p:cNvSpPr>
            <p:nvPr>
              <p:custDataLst>
                <p:tags r:id="rId183"/>
              </p:custDataLst>
            </p:nvPr>
          </p:nvSpPr>
          <p:spPr bwMode="auto">
            <a:xfrm>
              <a:off x="5041900" y="2395538"/>
              <a:ext cx="503238" cy="473075"/>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grpFill/>
            <a:ln w="9525" cmpd="sng">
              <a:noFill/>
              <a:prstDash val="solid"/>
              <a:round/>
              <a:headEnd/>
              <a:tailEnd/>
            </a:ln>
          </p:spPr>
          <p:txBody>
            <a:bodyPr/>
            <a:lstStyle/>
            <a:p>
              <a:endParaRPr lang="en-US" sz="2178"/>
            </a:p>
          </p:txBody>
        </p:sp>
        <p:sp>
          <p:nvSpPr>
            <p:cNvPr id="193" name="Freeform 257">
              <a:extLst>
                <a:ext uri="{FF2B5EF4-FFF2-40B4-BE49-F238E27FC236}">
                  <a16:creationId xmlns:a16="http://schemas.microsoft.com/office/drawing/2014/main" id="{FF3543F0-1800-4A0B-A544-D89E69A906F4}"/>
                </a:ext>
              </a:extLst>
            </p:cNvPr>
            <p:cNvSpPr>
              <a:spLocks/>
            </p:cNvSpPr>
            <p:nvPr>
              <p:custDataLst>
                <p:tags r:id="rId184"/>
              </p:custDataLst>
            </p:nvPr>
          </p:nvSpPr>
          <p:spPr bwMode="auto">
            <a:xfrm>
              <a:off x="5065713" y="3052763"/>
              <a:ext cx="247650" cy="22860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grpFill/>
            <a:ln w="9525" cmpd="sng">
              <a:noFill/>
              <a:prstDash val="solid"/>
              <a:round/>
              <a:headEnd/>
              <a:tailEnd/>
            </a:ln>
          </p:spPr>
          <p:txBody>
            <a:bodyPr/>
            <a:lstStyle/>
            <a:p>
              <a:endParaRPr lang="en-US" sz="2178"/>
            </a:p>
          </p:txBody>
        </p:sp>
        <p:sp>
          <p:nvSpPr>
            <p:cNvPr id="194" name="Freeform 258">
              <a:extLst>
                <a:ext uri="{FF2B5EF4-FFF2-40B4-BE49-F238E27FC236}">
                  <a16:creationId xmlns:a16="http://schemas.microsoft.com/office/drawing/2014/main" id="{1E979FD4-AB46-4F5C-8B94-93564EA48EFC}"/>
                </a:ext>
              </a:extLst>
            </p:cNvPr>
            <p:cNvSpPr>
              <a:spLocks/>
            </p:cNvSpPr>
            <p:nvPr>
              <p:custDataLst>
                <p:tags r:id="rId185"/>
              </p:custDataLst>
            </p:nvPr>
          </p:nvSpPr>
          <p:spPr bwMode="auto">
            <a:xfrm>
              <a:off x="5260975" y="2827338"/>
              <a:ext cx="120650" cy="120650"/>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grpFill/>
            <a:ln w="9525" cap="flat" cmpd="sng">
              <a:noFill/>
              <a:prstDash val="solid"/>
              <a:round/>
              <a:headEnd type="none" w="med" len="med"/>
              <a:tailEnd type="none" w="med" len="med"/>
            </a:ln>
            <a:effectLst/>
          </p:spPr>
          <p:txBody>
            <a:bodyPr/>
            <a:lstStyle/>
            <a:p>
              <a:endParaRPr lang="en-US" sz="2178"/>
            </a:p>
          </p:txBody>
        </p:sp>
        <p:sp>
          <p:nvSpPr>
            <p:cNvPr id="195" name="Freeform 259">
              <a:extLst>
                <a:ext uri="{FF2B5EF4-FFF2-40B4-BE49-F238E27FC236}">
                  <a16:creationId xmlns:a16="http://schemas.microsoft.com/office/drawing/2014/main" id="{97716F24-6844-4B1D-BD45-4DFEBC275AD1}"/>
                </a:ext>
              </a:extLst>
            </p:cNvPr>
            <p:cNvSpPr>
              <a:spLocks/>
            </p:cNvSpPr>
            <p:nvPr>
              <p:custDataLst>
                <p:tags r:id="rId186"/>
              </p:custDataLst>
            </p:nvPr>
          </p:nvSpPr>
          <p:spPr bwMode="auto">
            <a:xfrm>
              <a:off x="4948238" y="2479675"/>
              <a:ext cx="222250" cy="263525"/>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grpFill/>
            <a:ln w="9525" cmpd="sng">
              <a:noFill/>
              <a:prstDash val="solid"/>
              <a:round/>
              <a:headEnd/>
              <a:tailEnd/>
            </a:ln>
          </p:spPr>
          <p:txBody>
            <a:bodyPr/>
            <a:lstStyle/>
            <a:p>
              <a:endParaRPr lang="en-US" sz="2178"/>
            </a:p>
          </p:txBody>
        </p:sp>
        <p:sp>
          <p:nvSpPr>
            <p:cNvPr id="196" name="Freeform 260">
              <a:extLst>
                <a:ext uri="{FF2B5EF4-FFF2-40B4-BE49-F238E27FC236}">
                  <a16:creationId xmlns:a16="http://schemas.microsoft.com/office/drawing/2014/main" id="{FF7656A2-25CF-4CFB-A591-007DA26F80F2}"/>
                </a:ext>
              </a:extLst>
            </p:cNvPr>
            <p:cNvSpPr>
              <a:spLocks/>
            </p:cNvSpPr>
            <p:nvPr>
              <p:custDataLst>
                <p:tags r:id="rId187"/>
              </p:custDataLst>
            </p:nvPr>
          </p:nvSpPr>
          <p:spPr bwMode="auto">
            <a:xfrm>
              <a:off x="5448300" y="2439988"/>
              <a:ext cx="331788" cy="290512"/>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grpFill/>
            <a:ln w="9525" cmpd="sng">
              <a:noFill/>
              <a:prstDash val="solid"/>
              <a:round/>
              <a:headEnd/>
              <a:tailEnd/>
            </a:ln>
          </p:spPr>
          <p:txBody>
            <a:bodyPr/>
            <a:lstStyle/>
            <a:p>
              <a:endParaRPr lang="en-US" sz="2178"/>
            </a:p>
          </p:txBody>
        </p:sp>
        <p:sp>
          <p:nvSpPr>
            <p:cNvPr id="197" name="Freeform 261">
              <a:extLst>
                <a:ext uri="{FF2B5EF4-FFF2-40B4-BE49-F238E27FC236}">
                  <a16:creationId xmlns:a16="http://schemas.microsoft.com/office/drawing/2014/main" id="{0E9E243C-001B-4690-8E53-C179E792526B}"/>
                </a:ext>
              </a:extLst>
            </p:cNvPr>
            <p:cNvSpPr>
              <a:spLocks/>
            </p:cNvSpPr>
            <p:nvPr>
              <p:custDataLst>
                <p:tags r:id="rId188"/>
              </p:custDataLst>
            </p:nvPr>
          </p:nvSpPr>
          <p:spPr bwMode="auto">
            <a:xfrm>
              <a:off x="5480050" y="2489200"/>
              <a:ext cx="365125" cy="423863"/>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grpFill/>
            <a:ln w="9525" cmpd="sng">
              <a:noFill/>
              <a:prstDash val="solid"/>
              <a:round/>
              <a:headEnd/>
              <a:tailEnd/>
            </a:ln>
          </p:spPr>
          <p:txBody>
            <a:bodyPr/>
            <a:lstStyle/>
            <a:p>
              <a:endParaRPr lang="en-US" sz="2178"/>
            </a:p>
          </p:txBody>
        </p:sp>
        <p:sp>
          <p:nvSpPr>
            <p:cNvPr id="198" name="Freeform 262">
              <a:extLst>
                <a:ext uri="{FF2B5EF4-FFF2-40B4-BE49-F238E27FC236}">
                  <a16:creationId xmlns:a16="http://schemas.microsoft.com/office/drawing/2014/main" id="{49BD3ADE-8A84-4461-9FF6-FCFFAD954ADB}"/>
                </a:ext>
              </a:extLst>
            </p:cNvPr>
            <p:cNvSpPr>
              <a:spLocks/>
            </p:cNvSpPr>
            <p:nvPr>
              <p:custDataLst>
                <p:tags r:id="rId189"/>
              </p:custDataLst>
            </p:nvPr>
          </p:nvSpPr>
          <p:spPr bwMode="auto">
            <a:xfrm>
              <a:off x="6270625" y="2757488"/>
              <a:ext cx="220663" cy="585787"/>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grpFill/>
            <a:ln w="9525" cap="flat" cmpd="sng">
              <a:noFill/>
              <a:prstDash val="solid"/>
              <a:round/>
              <a:headEnd type="none" w="med" len="med"/>
              <a:tailEnd type="none" w="med" len="med"/>
            </a:ln>
            <a:effectLst/>
          </p:spPr>
          <p:txBody>
            <a:bodyPr/>
            <a:lstStyle/>
            <a:p>
              <a:endParaRPr lang="en-US" sz="2178"/>
            </a:p>
          </p:txBody>
        </p:sp>
        <p:sp>
          <p:nvSpPr>
            <p:cNvPr id="199" name="Freeform 263">
              <a:extLst>
                <a:ext uri="{FF2B5EF4-FFF2-40B4-BE49-F238E27FC236}">
                  <a16:creationId xmlns:a16="http://schemas.microsoft.com/office/drawing/2014/main" id="{D1D8A3B1-1798-4CF5-88C4-64C6E4BED9EF}"/>
                </a:ext>
              </a:extLst>
            </p:cNvPr>
            <p:cNvSpPr>
              <a:spLocks/>
            </p:cNvSpPr>
            <p:nvPr>
              <p:custDataLst>
                <p:tags r:id="rId190"/>
              </p:custDataLst>
            </p:nvPr>
          </p:nvSpPr>
          <p:spPr bwMode="auto">
            <a:xfrm>
              <a:off x="3594100" y="3267075"/>
              <a:ext cx="80963" cy="58738"/>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grpFill/>
            <a:ln w="9525" cmpd="sng">
              <a:noFill/>
              <a:prstDash val="solid"/>
              <a:round/>
              <a:headEnd/>
              <a:tailEnd/>
            </a:ln>
          </p:spPr>
          <p:txBody>
            <a:bodyPr/>
            <a:lstStyle/>
            <a:p>
              <a:endParaRPr lang="en-US" sz="2178"/>
            </a:p>
          </p:txBody>
        </p:sp>
        <p:sp>
          <p:nvSpPr>
            <p:cNvPr id="200" name="Freeform 264">
              <a:extLst>
                <a:ext uri="{FF2B5EF4-FFF2-40B4-BE49-F238E27FC236}">
                  <a16:creationId xmlns:a16="http://schemas.microsoft.com/office/drawing/2014/main" id="{65DEB407-BFD7-4019-BAA8-D8D004A9CCCB}"/>
                </a:ext>
              </a:extLst>
            </p:cNvPr>
            <p:cNvSpPr>
              <a:spLocks/>
            </p:cNvSpPr>
            <p:nvPr>
              <p:custDataLst>
                <p:tags r:id="rId191"/>
              </p:custDataLst>
            </p:nvPr>
          </p:nvSpPr>
          <p:spPr bwMode="auto">
            <a:xfrm>
              <a:off x="3678238" y="3349625"/>
              <a:ext cx="74612" cy="100013"/>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grpFill/>
            <a:ln w="9525" cmpd="sng">
              <a:noFill/>
              <a:prstDash val="solid"/>
              <a:round/>
              <a:headEnd/>
              <a:tailEnd/>
            </a:ln>
          </p:spPr>
          <p:txBody>
            <a:bodyPr/>
            <a:lstStyle/>
            <a:p>
              <a:endParaRPr lang="en-US" sz="2178"/>
            </a:p>
          </p:txBody>
        </p:sp>
        <p:sp>
          <p:nvSpPr>
            <p:cNvPr id="201" name="Freeform 265">
              <a:extLst>
                <a:ext uri="{FF2B5EF4-FFF2-40B4-BE49-F238E27FC236}">
                  <a16:creationId xmlns:a16="http://schemas.microsoft.com/office/drawing/2014/main" id="{042275E2-160D-4891-B14F-E8B90C26027E}"/>
                </a:ext>
              </a:extLst>
            </p:cNvPr>
            <p:cNvSpPr>
              <a:spLocks/>
            </p:cNvSpPr>
            <p:nvPr>
              <p:custDataLst>
                <p:tags r:id="rId192"/>
              </p:custDataLst>
            </p:nvPr>
          </p:nvSpPr>
          <p:spPr bwMode="auto">
            <a:xfrm>
              <a:off x="3721100" y="3400425"/>
              <a:ext cx="104775" cy="131763"/>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grpFill/>
            <a:ln w="9525" cmpd="sng">
              <a:noFill/>
              <a:prstDash val="solid"/>
              <a:round/>
              <a:headEnd/>
              <a:tailEnd/>
            </a:ln>
          </p:spPr>
          <p:txBody>
            <a:bodyPr/>
            <a:lstStyle/>
            <a:p>
              <a:endParaRPr lang="en-US" sz="2178"/>
            </a:p>
          </p:txBody>
        </p:sp>
        <p:sp>
          <p:nvSpPr>
            <p:cNvPr id="202" name="Freeform 266">
              <a:extLst>
                <a:ext uri="{FF2B5EF4-FFF2-40B4-BE49-F238E27FC236}">
                  <a16:creationId xmlns:a16="http://schemas.microsoft.com/office/drawing/2014/main" id="{A88827CE-2846-40A9-9EBE-2EAFE5D71413}"/>
                </a:ext>
              </a:extLst>
            </p:cNvPr>
            <p:cNvSpPr>
              <a:spLocks/>
            </p:cNvSpPr>
            <p:nvPr>
              <p:custDataLst>
                <p:tags r:id="rId193"/>
              </p:custDataLst>
            </p:nvPr>
          </p:nvSpPr>
          <p:spPr bwMode="auto">
            <a:xfrm>
              <a:off x="3935413" y="3319463"/>
              <a:ext cx="104775" cy="201612"/>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grpFill/>
            <a:ln w="9525" cmpd="sng">
              <a:noFill/>
              <a:prstDash val="solid"/>
              <a:round/>
              <a:headEnd/>
              <a:tailEnd/>
            </a:ln>
          </p:spPr>
          <p:txBody>
            <a:bodyPr/>
            <a:lstStyle/>
            <a:p>
              <a:endParaRPr lang="en-US" sz="2178"/>
            </a:p>
          </p:txBody>
        </p:sp>
        <p:sp>
          <p:nvSpPr>
            <p:cNvPr id="203" name="Freeform 267">
              <a:extLst>
                <a:ext uri="{FF2B5EF4-FFF2-40B4-BE49-F238E27FC236}">
                  <a16:creationId xmlns:a16="http://schemas.microsoft.com/office/drawing/2014/main" id="{17B68FBE-BDE2-41D6-A481-001B2044BEB4}"/>
                </a:ext>
              </a:extLst>
            </p:cNvPr>
            <p:cNvSpPr>
              <a:spLocks/>
            </p:cNvSpPr>
            <p:nvPr>
              <p:custDataLst>
                <p:tags r:id="rId194"/>
              </p:custDataLst>
            </p:nvPr>
          </p:nvSpPr>
          <p:spPr bwMode="auto">
            <a:xfrm>
              <a:off x="3587750" y="3235325"/>
              <a:ext cx="87313" cy="58738"/>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grpFill/>
            <a:ln w="9525" cmpd="sng">
              <a:noFill/>
              <a:prstDash val="solid"/>
              <a:round/>
              <a:headEnd/>
              <a:tailEnd/>
            </a:ln>
          </p:spPr>
          <p:txBody>
            <a:bodyPr/>
            <a:lstStyle/>
            <a:p>
              <a:endParaRPr lang="en-US" sz="2178"/>
            </a:p>
          </p:txBody>
        </p:sp>
        <p:sp>
          <p:nvSpPr>
            <p:cNvPr id="204" name="Freeform 268">
              <a:extLst>
                <a:ext uri="{FF2B5EF4-FFF2-40B4-BE49-F238E27FC236}">
                  <a16:creationId xmlns:a16="http://schemas.microsoft.com/office/drawing/2014/main" id="{868AECD0-29BB-4126-B404-EDB95CBF1363}"/>
                </a:ext>
              </a:extLst>
            </p:cNvPr>
            <p:cNvSpPr>
              <a:spLocks/>
            </p:cNvSpPr>
            <p:nvPr>
              <p:custDataLst>
                <p:tags r:id="rId195"/>
              </p:custDataLst>
            </p:nvPr>
          </p:nvSpPr>
          <p:spPr bwMode="auto">
            <a:xfrm>
              <a:off x="4013200" y="3313113"/>
              <a:ext cx="42863" cy="155575"/>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grpFill/>
            <a:ln w="9525" cmpd="sng">
              <a:noFill/>
              <a:prstDash val="solid"/>
              <a:round/>
              <a:headEnd/>
              <a:tailEnd/>
            </a:ln>
          </p:spPr>
          <p:txBody>
            <a:bodyPr/>
            <a:lstStyle/>
            <a:p>
              <a:endParaRPr lang="en-US" sz="2178"/>
            </a:p>
          </p:txBody>
        </p:sp>
        <p:sp>
          <p:nvSpPr>
            <p:cNvPr id="205" name="Freeform 269">
              <a:extLst>
                <a:ext uri="{FF2B5EF4-FFF2-40B4-BE49-F238E27FC236}">
                  <a16:creationId xmlns:a16="http://schemas.microsoft.com/office/drawing/2014/main" id="{C6BBDCD5-AEE0-44AA-8CD1-10578129DFBE}"/>
                </a:ext>
              </a:extLst>
            </p:cNvPr>
            <p:cNvSpPr>
              <a:spLocks/>
            </p:cNvSpPr>
            <p:nvPr>
              <p:custDataLst>
                <p:tags r:id="rId196"/>
              </p:custDataLst>
            </p:nvPr>
          </p:nvSpPr>
          <p:spPr bwMode="auto">
            <a:xfrm>
              <a:off x="4038600" y="3275013"/>
              <a:ext cx="76200" cy="188912"/>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grpFill/>
            <a:ln w="9525" cmpd="sng">
              <a:noFill/>
              <a:prstDash val="solid"/>
              <a:round/>
              <a:headEnd/>
              <a:tailEnd/>
            </a:ln>
          </p:spPr>
          <p:txBody>
            <a:bodyPr/>
            <a:lstStyle/>
            <a:p>
              <a:endParaRPr lang="en-US" sz="2178"/>
            </a:p>
          </p:txBody>
        </p:sp>
        <p:sp>
          <p:nvSpPr>
            <p:cNvPr id="206" name="Freeform 270">
              <a:extLst>
                <a:ext uri="{FF2B5EF4-FFF2-40B4-BE49-F238E27FC236}">
                  <a16:creationId xmlns:a16="http://schemas.microsoft.com/office/drawing/2014/main" id="{D30CE01D-54F5-4184-841F-7DCB25D33DFA}"/>
                </a:ext>
              </a:extLst>
            </p:cNvPr>
            <p:cNvSpPr>
              <a:spLocks/>
            </p:cNvSpPr>
            <p:nvPr>
              <p:custDataLst>
                <p:tags r:id="rId197"/>
              </p:custDataLst>
            </p:nvPr>
          </p:nvSpPr>
          <p:spPr bwMode="auto">
            <a:xfrm>
              <a:off x="4767263" y="4479925"/>
              <a:ext cx="25400" cy="60325"/>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grpFill/>
            <a:ln w="9525" cmpd="sng">
              <a:noFill/>
              <a:prstDash val="solid"/>
              <a:round/>
              <a:headEnd/>
              <a:tailEnd/>
            </a:ln>
          </p:spPr>
          <p:txBody>
            <a:bodyPr/>
            <a:lstStyle/>
            <a:p>
              <a:endParaRPr lang="en-US" sz="2178"/>
            </a:p>
          </p:txBody>
        </p:sp>
        <p:sp>
          <p:nvSpPr>
            <p:cNvPr id="207" name="Freeform 271">
              <a:extLst>
                <a:ext uri="{FF2B5EF4-FFF2-40B4-BE49-F238E27FC236}">
                  <a16:creationId xmlns:a16="http://schemas.microsoft.com/office/drawing/2014/main" id="{2EE1E3F5-4489-4591-B58F-5A6C10FFEFE2}"/>
                </a:ext>
              </a:extLst>
            </p:cNvPr>
            <p:cNvSpPr>
              <a:spLocks/>
            </p:cNvSpPr>
            <p:nvPr>
              <p:custDataLst>
                <p:tags r:id="rId198"/>
              </p:custDataLst>
            </p:nvPr>
          </p:nvSpPr>
          <p:spPr bwMode="auto">
            <a:xfrm>
              <a:off x="4662488" y="4576763"/>
              <a:ext cx="61912" cy="57150"/>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9525" cmpd="sng">
              <a:noFill/>
              <a:prstDash val="solid"/>
              <a:round/>
              <a:headEnd/>
              <a:tailEnd/>
            </a:ln>
          </p:spPr>
          <p:txBody>
            <a:bodyPr/>
            <a:lstStyle/>
            <a:p>
              <a:endParaRPr lang="en-US" sz="2178"/>
            </a:p>
          </p:txBody>
        </p:sp>
        <p:sp>
          <p:nvSpPr>
            <p:cNvPr id="208" name="Freeform 272">
              <a:extLst>
                <a:ext uri="{FF2B5EF4-FFF2-40B4-BE49-F238E27FC236}">
                  <a16:creationId xmlns:a16="http://schemas.microsoft.com/office/drawing/2014/main" id="{F4536351-DB44-4C7C-8521-32FCA2DB84D1}"/>
                </a:ext>
              </a:extLst>
            </p:cNvPr>
            <p:cNvSpPr>
              <a:spLocks/>
            </p:cNvSpPr>
            <p:nvPr>
              <p:custDataLst>
                <p:tags r:id="rId199"/>
              </p:custDataLst>
            </p:nvPr>
          </p:nvSpPr>
          <p:spPr bwMode="auto">
            <a:xfrm>
              <a:off x="6880225" y="2290763"/>
              <a:ext cx="120650" cy="171450"/>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grpFill/>
            <a:ln w="9525" cmpd="sng">
              <a:noFill/>
              <a:prstDash val="solid"/>
              <a:round/>
              <a:headEnd/>
              <a:tailEnd/>
            </a:ln>
          </p:spPr>
          <p:txBody>
            <a:bodyPr/>
            <a:lstStyle/>
            <a:p>
              <a:endParaRPr lang="en-US" sz="2178"/>
            </a:p>
          </p:txBody>
        </p:sp>
        <p:sp>
          <p:nvSpPr>
            <p:cNvPr id="209" name="Freeform 273">
              <a:extLst>
                <a:ext uri="{FF2B5EF4-FFF2-40B4-BE49-F238E27FC236}">
                  <a16:creationId xmlns:a16="http://schemas.microsoft.com/office/drawing/2014/main" id="{06D5E459-33E9-460D-A3B6-ECC5D24E3560}"/>
                </a:ext>
              </a:extLst>
            </p:cNvPr>
            <p:cNvSpPr>
              <a:spLocks/>
            </p:cNvSpPr>
            <p:nvPr>
              <p:custDataLst>
                <p:tags r:id="rId200"/>
              </p:custDataLst>
            </p:nvPr>
          </p:nvSpPr>
          <p:spPr bwMode="auto">
            <a:xfrm>
              <a:off x="5951538" y="2705100"/>
              <a:ext cx="206375" cy="123825"/>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grpFill/>
            <a:ln w="9525" cmpd="sng">
              <a:noFill/>
              <a:prstDash val="solid"/>
              <a:round/>
              <a:headEnd/>
              <a:tailEnd/>
            </a:ln>
          </p:spPr>
          <p:txBody>
            <a:bodyPr/>
            <a:lstStyle/>
            <a:p>
              <a:endParaRPr lang="en-US" sz="2178"/>
            </a:p>
          </p:txBody>
        </p:sp>
        <p:sp>
          <p:nvSpPr>
            <p:cNvPr id="210" name="Freeform 274">
              <a:extLst>
                <a:ext uri="{FF2B5EF4-FFF2-40B4-BE49-F238E27FC236}">
                  <a16:creationId xmlns:a16="http://schemas.microsoft.com/office/drawing/2014/main" id="{4964C897-7C86-40B5-A9E2-D0A70E264A72}"/>
                </a:ext>
              </a:extLst>
            </p:cNvPr>
            <p:cNvSpPr>
              <a:spLocks/>
            </p:cNvSpPr>
            <p:nvPr>
              <p:custDataLst>
                <p:tags r:id="rId201"/>
              </p:custDataLst>
            </p:nvPr>
          </p:nvSpPr>
          <p:spPr bwMode="auto">
            <a:xfrm>
              <a:off x="6167438" y="2760663"/>
              <a:ext cx="73025" cy="65087"/>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grpFill/>
            <a:ln w="9525" cmpd="sng">
              <a:noFill/>
              <a:prstDash val="solid"/>
              <a:round/>
              <a:headEnd/>
              <a:tailEnd/>
            </a:ln>
          </p:spPr>
          <p:txBody>
            <a:bodyPr/>
            <a:lstStyle/>
            <a:p>
              <a:endParaRPr lang="en-US" sz="2178"/>
            </a:p>
          </p:txBody>
        </p:sp>
        <p:sp>
          <p:nvSpPr>
            <p:cNvPr id="211" name="Freeform 275">
              <a:extLst>
                <a:ext uri="{FF2B5EF4-FFF2-40B4-BE49-F238E27FC236}">
                  <a16:creationId xmlns:a16="http://schemas.microsoft.com/office/drawing/2014/main" id="{0EE3F97E-6EB7-4AC2-AF75-26323C920B5C}"/>
                </a:ext>
              </a:extLst>
            </p:cNvPr>
            <p:cNvSpPr>
              <a:spLocks/>
            </p:cNvSpPr>
            <p:nvPr>
              <p:custDataLst>
                <p:tags r:id="rId202"/>
              </p:custDataLst>
            </p:nvPr>
          </p:nvSpPr>
          <p:spPr bwMode="auto">
            <a:xfrm>
              <a:off x="6157913" y="2832100"/>
              <a:ext cx="133350" cy="166688"/>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grpFill/>
            <a:ln w="9525" cmpd="sng">
              <a:noFill/>
              <a:prstDash val="solid"/>
              <a:round/>
              <a:headEnd/>
              <a:tailEnd/>
            </a:ln>
          </p:spPr>
          <p:txBody>
            <a:bodyPr/>
            <a:lstStyle/>
            <a:p>
              <a:endParaRPr lang="en-US" sz="2178"/>
            </a:p>
          </p:txBody>
        </p:sp>
        <p:sp>
          <p:nvSpPr>
            <p:cNvPr id="212" name="Freeform 276">
              <a:extLst>
                <a:ext uri="{FF2B5EF4-FFF2-40B4-BE49-F238E27FC236}">
                  <a16:creationId xmlns:a16="http://schemas.microsoft.com/office/drawing/2014/main" id="{96C5709A-64AB-4B77-8D6B-F78002AA6BDC}"/>
                </a:ext>
              </a:extLst>
            </p:cNvPr>
            <p:cNvSpPr>
              <a:spLocks/>
            </p:cNvSpPr>
            <p:nvPr>
              <p:custDataLst>
                <p:tags r:id="rId203"/>
              </p:custDataLst>
            </p:nvPr>
          </p:nvSpPr>
          <p:spPr bwMode="auto">
            <a:xfrm>
              <a:off x="6475413" y="2947988"/>
              <a:ext cx="201612" cy="269875"/>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grpFill/>
            <a:ln w="9525" cmpd="sng">
              <a:noFill/>
              <a:prstDash val="solid"/>
              <a:round/>
              <a:headEnd/>
              <a:tailEnd/>
            </a:ln>
          </p:spPr>
          <p:txBody>
            <a:bodyPr/>
            <a:lstStyle/>
            <a:p>
              <a:endParaRPr lang="en-US" sz="2178"/>
            </a:p>
          </p:txBody>
        </p:sp>
        <p:sp>
          <p:nvSpPr>
            <p:cNvPr id="213" name="Freeform 277">
              <a:extLst>
                <a:ext uri="{FF2B5EF4-FFF2-40B4-BE49-F238E27FC236}">
                  <a16:creationId xmlns:a16="http://schemas.microsoft.com/office/drawing/2014/main" id="{5D22FA68-0D5D-4541-B762-0B662C371133}"/>
                </a:ext>
              </a:extLst>
            </p:cNvPr>
            <p:cNvSpPr>
              <a:spLocks/>
            </p:cNvSpPr>
            <p:nvPr>
              <p:custDataLst>
                <p:tags r:id="rId204"/>
              </p:custDataLst>
            </p:nvPr>
          </p:nvSpPr>
          <p:spPr bwMode="auto">
            <a:xfrm>
              <a:off x="6557963" y="3198813"/>
              <a:ext cx="133350" cy="130175"/>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grpFill/>
            <a:ln w="9525" cmpd="sng">
              <a:noFill/>
              <a:prstDash val="solid"/>
              <a:round/>
              <a:headEnd/>
              <a:tailEnd/>
            </a:ln>
          </p:spPr>
          <p:txBody>
            <a:bodyPr/>
            <a:lstStyle/>
            <a:p>
              <a:endParaRPr lang="en-US" sz="2178"/>
            </a:p>
          </p:txBody>
        </p:sp>
        <p:sp>
          <p:nvSpPr>
            <p:cNvPr id="214" name="Freeform 278">
              <a:extLst>
                <a:ext uri="{FF2B5EF4-FFF2-40B4-BE49-F238E27FC236}">
                  <a16:creationId xmlns:a16="http://schemas.microsoft.com/office/drawing/2014/main" id="{58106972-B0B1-4F0C-A5B0-41ED38FCE064}"/>
                </a:ext>
              </a:extLst>
            </p:cNvPr>
            <p:cNvSpPr>
              <a:spLocks/>
            </p:cNvSpPr>
            <p:nvPr>
              <p:custDataLst>
                <p:tags r:id="rId205"/>
              </p:custDataLst>
            </p:nvPr>
          </p:nvSpPr>
          <p:spPr bwMode="auto">
            <a:xfrm>
              <a:off x="6959600" y="2435225"/>
              <a:ext cx="85725" cy="130175"/>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grpFill/>
            <a:ln w="9525" cmpd="sng">
              <a:noFill/>
              <a:prstDash val="solid"/>
              <a:round/>
              <a:headEnd/>
              <a:tailEnd/>
            </a:ln>
          </p:spPr>
          <p:txBody>
            <a:bodyPr/>
            <a:lstStyle/>
            <a:p>
              <a:endParaRPr lang="en-US" sz="2178"/>
            </a:p>
          </p:txBody>
        </p:sp>
        <p:sp>
          <p:nvSpPr>
            <p:cNvPr id="215" name="Freeform 279">
              <a:extLst>
                <a:ext uri="{FF2B5EF4-FFF2-40B4-BE49-F238E27FC236}">
                  <a16:creationId xmlns:a16="http://schemas.microsoft.com/office/drawing/2014/main" id="{A2FAB31B-CBC7-4694-8D8C-7D63A29F4ED7}"/>
                </a:ext>
              </a:extLst>
            </p:cNvPr>
            <p:cNvSpPr>
              <a:spLocks/>
            </p:cNvSpPr>
            <p:nvPr>
              <p:custDataLst>
                <p:tags r:id="rId206"/>
              </p:custDataLst>
            </p:nvPr>
          </p:nvSpPr>
          <p:spPr bwMode="auto">
            <a:xfrm>
              <a:off x="7527925" y="3732213"/>
              <a:ext cx="231775" cy="254000"/>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grpFill/>
            <a:ln w="9525" cmpd="sng">
              <a:noFill/>
              <a:prstDash val="solid"/>
              <a:round/>
              <a:headEnd/>
              <a:tailEnd/>
            </a:ln>
          </p:spPr>
          <p:txBody>
            <a:bodyPr/>
            <a:lstStyle/>
            <a:p>
              <a:endParaRPr lang="en-US" sz="2178"/>
            </a:p>
          </p:txBody>
        </p:sp>
        <p:sp>
          <p:nvSpPr>
            <p:cNvPr id="216" name="Freeform 280">
              <a:extLst>
                <a:ext uri="{FF2B5EF4-FFF2-40B4-BE49-F238E27FC236}">
                  <a16:creationId xmlns:a16="http://schemas.microsoft.com/office/drawing/2014/main" id="{D13AF41B-4EFC-4182-BA25-90557D355463}"/>
                </a:ext>
              </a:extLst>
            </p:cNvPr>
            <p:cNvSpPr>
              <a:spLocks/>
            </p:cNvSpPr>
            <p:nvPr>
              <p:custDataLst>
                <p:tags r:id="rId207"/>
              </p:custDataLst>
            </p:nvPr>
          </p:nvSpPr>
          <p:spPr bwMode="auto">
            <a:xfrm>
              <a:off x="7720013" y="3716338"/>
              <a:ext cx="106362" cy="128587"/>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grpFill/>
            <a:ln w="9525" cmpd="sng">
              <a:noFill/>
              <a:prstDash val="solid"/>
              <a:round/>
              <a:headEnd/>
              <a:tailEnd/>
            </a:ln>
          </p:spPr>
          <p:txBody>
            <a:bodyPr/>
            <a:lstStyle/>
            <a:p>
              <a:endParaRPr lang="en-US" sz="2178"/>
            </a:p>
          </p:txBody>
        </p:sp>
        <p:sp>
          <p:nvSpPr>
            <p:cNvPr id="217" name="Freeform 281">
              <a:extLst>
                <a:ext uri="{FF2B5EF4-FFF2-40B4-BE49-F238E27FC236}">
                  <a16:creationId xmlns:a16="http://schemas.microsoft.com/office/drawing/2014/main" id="{ED644587-A0FE-4D5A-9C0F-D63659C6B400}"/>
                </a:ext>
              </a:extLst>
            </p:cNvPr>
            <p:cNvSpPr>
              <a:spLocks/>
            </p:cNvSpPr>
            <p:nvPr>
              <p:custDataLst>
                <p:tags r:id="rId208"/>
              </p:custDataLst>
            </p:nvPr>
          </p:nvSpPr>
          <p:spPr bwMode="auto">
            <a:xfrm>
              <a:off x="5995988" y="3349625"/>
              <a:ext cx="63500" cy="119063"/>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grpFill/>
            <a:ln w="9525" cmpd="sng">
              <a:noFill/>
              <a:prstDash val="solid"/>
              <a:round/>
              <a:headEnd/>
              <a:tailEnd/>
            </a:ln>
          </p:spPr>
          <p:txBody>
            <a:bodyPr/>
            <a:lstStyle/>
            <a:p>
              <a:endParaRPr lang="en-US" sz="2178"/>
            </a:p>
          </p:txBody>
        </p:sp>
        <p:grpSp>
          <p:nvGrpSpPr>
            <p:cNvPr id="218" name="Group 282">
              <a:extLst>
                <a:ext uri="{FF2B5EF4-FFF2-40B4-BE49-F238E27FC236}">
                  <a16:creationId xmlns:a16="http://schemas.microsoft.com/office/drawing/2014/main" id="{3A423E88-DA93-4270-A137-40B226762736}"/>
                </a:ext>
              </a:extLst>
            </p:cNvPr>
            <p:cNvGrpSpPr>
              <a:grpSpLocks/>
            </p:cNvGrpSpPr>
            <p:nvPr>
              <p:custDataLst>
                <p:tags r:id="rId209"/>
              </p:custDataLst>
            </p:nvPr>
          </p:nvGrpSpPr>
          <p:grpSpPr bwMode="auto">
            <a:xfrm>
              <a:off x="6935788" y="3060700"/>
              <a:ext cx="233362" cy="439738"/>
              <a:chOff x="5062" y="2295"/>
              <a:chExt cx="177" cy="279"/>
            </a:xfrm>
            <a:grpFill/>
          </p:grpSpPr>
          <p:sp>
            <p:nvSpPr>
              <p:cNvPr id="463" name="Freeform 283">
                <a:extLst>
                  <a:ext uri="{FF2B5EF4-FFF2-40B4-BE49-F238E27FC236}">
                    <a16:creationId xmlns:a16="http://schemas.microsoft.com/office/drawing/2014/main" id="{ADAAC77F-6DEC-402C-984A-5303937753CB}"/>
                  </a:ext>
                </a:extLst>
              </p:cNvPr>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noFill/>
                <a:prstDash val="solid"/>
                <a:round/>
                <a:headEnd/>
                <a:tailEnd/>
              </a:ln>
            </p:spPr>
            <p:txBody>
              <a:bodyPr/>
              <a:lstStyle/>
              <a:p>
                <a:endParaRPr lang="en-US" sz="2178"/>
              </a:p>
            </p:txBody>
          </p:sp>
          <p:sp>
            <p:nvSpPr>
              <p:cNvPr id="464" name="Freeform 284">
                <a:extLst>
                  <a:ext uri="{FF2B5EF4-FFF2-40B4-BE49-F238E27FC236}">
                    <a16:creationId xmlns:a16="http://schemas.microsoft.com/office/drawing/2014/main" id="{2BB2743D-B976-4799-99C8-71FD3098FA01}"/>
                  </a:ext>
                </a:extLst>
              </p:cNvPr>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noFill/>
                <a:prstDash val="solid"/>
                <a:round/>
                <a:headEnd/>
                <a:tailEnd/>
              </a:ln>
            </p:spPr>
            <p:txBody>
              <a:bodyPr/>
              <a:lstStyle/>
              <a:p>
                <a:endParaRPr lang="en-US" sz="2178"/>
              </a:p>
            </p:txBody>
          </p:sp>
          <p:sp>
            <p:nvSpPr>
              <p:cNvPr id="465" name="Freeform 285">
                <a:extLst>
                  <a:ext uri="{FF2B5EF4-FFF2-40B4-BE49-F238E27FC236}">
                    <a16:creationId xmlns:a16="http://schemas.microsoft.com/office/drawing/2014/main" id="{48FF3DDE-BA45-49AE-BE0F-D4B23CF41451}"/>
                  </a:ext>
                </a:extLst>
              </p:cNvPr>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noFill/>
                <a:prstDash val="solid"/>
                <a:round/>
                <a:headEnd/>
                <a:tailEnd/>
              </a:ln>
            </p:spPr>
            <p:txBody>
              <a:bodyPr/>
              <a:lstStyle/>
              <a:p>
                <a:endParaRPr lang="en-US" sz="2178"/>
              </a:p>
            </p:txBody>
          </p:sp>
          <p:sp>
            <p:nvSpPr>
              <p:cNvPr id="466" name="Freeform 286">
                <a:extLst>
                  <a:ext uri="{FF2B5EF4-FFF2-40B4-BE49-F238E27FC236}">
                    <a16:creationId xmlns:a16="http://schemas.microsoft.com/office/drawing/2014/main" id="{0D71D374-30AC-4BFF-B436-F605F6DB56D1}"/>
                  </a:ext>
                </a:extLst>
              </p:cNvPr>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noFill/>
                <a:prstDash val="solid"/>
                <a:round/>
                <a:headEnd/>
                <a:tailEnd/>
              </a:ln>
            </p:spPr>
            <p:txBody>
              <a:bodyPr/>
              <a:lstStyle/>
              <a:p>
                <a:endParaRPr lang="en-US" sz="2178"/>
              </a:p>
            </p:txBody>
          </p:sp>
          <p:sp>
            <p:nvSpPr>
              <p:cNvPr id="467" name="Freeform 287">
                <a:extLst>
                  <a:ext uri="{FF2B5EF4-FFF2-40B4-BE49-F238E27FC236}">
                    <a16:creationId xmlns:a16="http://schemas.microsoft.com/office/drawing/2014/main" id="{EE998D6E-4BF1-4860-BF67-9173A74FD129}"/>
                  </a:ext>
                </a:extLst>
              </p:cNvPr>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noFill/>
                <a:prstDash val="solid"/>
                <a:round/>
                <a:headEnd/>
                <a:tailEnd/>
              </a:ln>
            </p:spPr>
            <p:txBody>
              <a:bodyPr/>
              <a:lstStyle/>
              <a:p>
                <a:endParaRPr lang="en-US" sz="2178"/>
              </a:p>
            </p:txBody>
          </p:sp>
          <p:sp>
            <p:nvSpPr>
              <p:cNvPr id="468" name="Freeform 288">
                <a:extLst>
                  <a:ext uri="{FF2B5EF4-FFF2-40B4-BE49-F238E27FC236}">
                    <a16:creationId xmlns:a16="http://schemas.microsoft.com/office/drawing/2014/main" id="{931A9AE4-AFCF-44EA-8BA9-93237AB169CC}"/>
                  </a:ext>
                </a:extLst>
              </p:cNvPr>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noFill/>
                <a:prstDash val="solid"/>
                <a:round/>
                <a:headEnd/>
                <a:tailEnd/>
              </a:ln>
            </p:spPr>
            <p:txBody>
              <a:bodyPr/>
              <a:lstStyle/>
              <a:p>
                <a:endParaRPr lang="en-US" sz="2178"/>
              </a:p>
            </p:txBody>
          </p:sp>
          <p:sp>
            <p:nvSpPr>
              <p:cNvPr id="469" name="Freeform 289">
                <a:extLst>
                  <a:ext uri="{FF2B5EF4-FFF2-40B4-BE49-F238E27FC236}">
                    <a16:creationId xmlns:a16="http://schemas.microsoft.com/office/drawing/2014/main" id="{C4097580-8783-4422-AA11-78A6196851A9}"/>
                  </a:ext>
                </a:extLst>
              </p:cNvPr>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noFill/>
                <a:prstDash val="solid"/>
                <a:round/>
                <a:headEnd/>
                <a:tailEnd/>
              </a:ln>
            </p:spPr>
            <p:txBody>
              <a:bodyPr/>
              <a:lstStyle/>
              <a:p>
                <a:endParaRPr lang="en-US" sz="2178"/>
              </a:p>
            </p:txBody>
          </p:sp>
          <p:sp>
            <p:nvSpPr>
              <p:cNvPr id="470" name="Freeform 290">
                <a:extLst>
                  <a:ext uri="{FF2B5EF4-FFF2-40B4-BE49-F238E27FC236}">
                    <a16:creationId xmlns:a16="http://schemas.microsoft.com/office/drawing/2014/main" id="{2DF865B3-BD5F-4D76-8A5A-97E268F58185}"/>
                  </a:ext>
                </a:extLst>
              </p:cNvPr>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noFill/>
                <a:prstDash val="solid"/>
                <a:round/>
                <a:headEnd/>
                <a:tailEnd/>
              </a:ln>
            </p:spPr>
            <p:txBody>
              <a:bodyPr/>
              <a:lstStyle/>
              <a:p>
                <a:endParaRPr lang="en-US" sz="2178"/>
              </a:p>
            </p:txBody>
          </p:sp>
          <p:sp>
            <p:nvSpPr>
              <p:cNvPr id="471" name="Freeform 291">
                <a:extLst>
                  <a:ext uri="{FF2B5EF4-FFF2-40B4-BE49-F238E27FC236}">
                    <a16:creationId xmlns:a16="http://schemas.microsoft.com/office/drawing/2014/main" id="{861A1958-9361-452E-97E1-6F05D2938F3A}"/>
                  </a:ext>
                </a:extLst>
              </p:cNvPr>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noFill/>
                <a:prstDash val="solid"/>
                <a:round/>
                <a:headEnd/>
                <a:tailEnd/>
              </a:ln>
            </p:spPr>
            <p:txBody>
              <a:bodyPr/>
              <a:lstStyle/>
              <a:p>
                <a:endParaRPr lang="en-US" sz="2178"/>
              </a:p>
            </p:txBody>
          </p:sp>
          <p:sp>
            <p:nvSpPr>
              <p:cNvPr id="472" name="Freeform 292">
                <a:extLst>
                  <a:ext uri="{FF2B5EF4-FFF2-40B4-BE49-F238E27FC236}">
                    <a16:creationId xmlns:a16="http://schemas.microsoft.com/office/drawing/2014/main" id="{3537F84A-5B58-41B5-968B-580F7EE62112}"/>
                  </a:ext>
                </a:extLst>
              </p:cNvPr>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noFill/>
                <a:prstDash val="solid"/>
                <a:round/>
                <a:headEnd/>
                <a:tailEnd/>
              </a:ln>
            </p:spPr>
            <p:txBody>
              <a:bodyPr/>
              <a:lstStyle/>
              <a:p>
                <a:endParaRPr lang="en-US" sz="2178"/>
              </a:p>
            </p:txBody>
          </p:sp>
          <p:sp>
            <p:nvSpPr>
              <p:cNvPr id="473" name="Freeform 293">
                <a:extLst>
                  <a:ext uri="{FF2B5EF4-FFF2-40B4-BE49-F238E27FC236}">
                    <a16:creationId xmlns:a16="http://schemas.microsoft.com/office/drawing/2014/main" id="{394C067A-1B32-458C-BAF4-D3DF95EC55C5}"/>
                  </a:ext>
                </a:extLst>
              </p:cNvPr>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noFill/>
                <a:prstDash val="solid"/>
                <a:round/>
                <a:headEnd/>
                <a:tailEnd/>
              </a:ln>
            </p:spPr>
            <p:txBody>
              <a:bodyPr/>
              <a:lstStyle/>
              <a:p>
                <a:endParaRPr lang="en-US" sz="2178"/>
              </a:p>
            </p:txBody>
          </p:sp>
          <p:sp>
            <p:nvSpPr>
              <p:cNvPr id="474" name="Freeform 294">
                <a:extLst>
                  <a:ext uri="{FF2B5EF4-FFF2-40B4-BE49-F238E27FC236}">
                    <a16:creationId xmlns:a16="http://schemas.microsoft.com/office/drawing/2014/main" id="{7421CECC-4D34-40C7-8CC4-7A71ED3AEE38}"/>
                  </a:ext>
                </a:extLst>
              </p:cNvPr>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noFill/>
                <a:prstDash val="solid"/>
                <a:round/>
                <a:headEnd/>
                <a:tailEnd/>
              </a:ln>
            </p:spPr>
            <p:txBody>
              <a:bodyPr/>
              <a:lstStyle/>
              <a:p>
                <a:endParaRPr lang="en-US" sz="2178"/>
              </a:p>
            </p:txBody>
          </p:sp>
          <p:sp>
            <p:nvSpPr>
              <p:cNvPr id="475" name="Freeform 295">
                <a:extLst>
                  <a:ext uri="{FF2B5EF4-FFF2-40B4-BE49-F238E27FC236}">
                    <a16:creationId xmlns:a16="http://schemas.microsoft.com/office/drawing/2014/main" id="{CB3497E3-2FF6-47A8-B3ED-64C290FFC7F9}"/>
                  </a:ext>
                </a:extLst>
              </p:cNvPr>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noFill/>
                <a:prstDash val="solid"/>
                <a:round/>
                <a:headEnd/>
                <a:tailEnd/>
              </a:ln>
            </p:spPr>
            <p:txBody>
              <a:bodyPr/>
              <a:lstStyle/>
              <a:p>
                <a:endParaRPr lang="en-US" sz="2178"/>
              </a:p>
            </p:txBody>
          </p:sp>
          <p:sp>
            <p:nvSpPr>
              <p:cNvPr id="476" name="Freeform 296">
                <a:extLst>
                  <a:ext uri="{FF2B5EF4-FFF2-40B4-BE49-F238E27FC236}">
                    <a16:creationId xmlns:a16="http://schemas.microsoft.com/office/drawing/2014/main" id="{74394AFD-53BB-47F7-8EAD-D8BDA8333D37}"/>
                  </a:ext>
                </a:extLst>
              </p:cNvPr>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noFill/>
                <a:prstDash val="solid"/>
                <a:round/>
                <a:headEnd/>
                <a:tailEnd/>
              </a:ln>
            </p:spPr>
            <p:txBody>
              <a:bodyPr/>
              <a:lstStyle/>
              <a:p>
                <a:endParaRPr lang="en-US" sz="2178"/>
              </a:p>
            </p:txBody>
          </p:sp>
          <p:sp>
            <p:nvSpPr>
              <p:cNvPr id="477" name="Freeform 297">
                <a:extLst>
                  <a:ext uri="{FF2B5EF4-FFF2-40B4-BE49-F238E27FC236}">
                    <a16:creationId xmlns:a16="http://schemas.microsoft.com/office/drawing/2014/main" id="{ED8A6B89-FFFA-4CE0-A131-0E94087B57AC}"/>
                  </a:ext>
                </a:extLst>
              </p:cNvPr>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noFill/>
                <a:prstDash val="solid"/>
                <a:round/>
                <a:headEnd/>
                <a:tailEnd/>
              </a:ln>
            </p:spPr>
            <p:txBody>
              <a:bodyPr/>
              <a:lstStyle/>
              <a:p>
                <a:endParaRPr lang="en-US" sz="2178"/>
              </a:p>
            </p:txBody>
          </p:sp>
          <p:sp>
            <p:nvSpPr>
              <p:cNvPr id="478" name="Line 298">
                <a:extLst>
                  <a:ext uri="{FF2B5EF4-FFF2-40B4-BE49-F238E27FC236}">
                    <a16:creationId xmlns:a16="http://schemas.microsoft.com/office/drawing/2014/main" id="{8C5F7732-511C-4E15-84E2-8D03BBFC2779}"/>
                  </a:ext>
                </a:extLst>
              </p:cNvPr>
              <p:cNvSpPr>
                <a:spLocks noChangeShapeType="1"/>
              </p:cNvSpPr>
              <p:nvPr/>
            </p:nvSpPr>
            <p:spPr bwMode="auto">
              <a:xfrm>
                <a:off x="5180" y="2449"/>
                <a:ext cx="1" cy="10"/>
              </a:xfrm>
              <a:prstGeom prst="line">
                <a:avLst/>
              </a:prstGeom>
              <a:grpFill/>
              <a:ln w="9525">
                <a:noFill/>
                <a:round/>
                <a:headEnd/>
                <a:tailEnd/>
              </a:ln>
            </p:spPr>
            <p:txBody>
              <a:bodyPr/>
              <a:lstStyle/>
              <a:p>
                <a:endParaRPr lang="en-US" sz="2178"/>
              </a:p>
            </p:txBody>
          </p:sp>
          <p:sp>
            <p:nvSpPr>
              <p:cNvPr id="479" name="Freeform 299">
                <a:extLst>
                  <a:ext uri="{FF2B5EF4-FFF2-40B4-BE49-F238E27FC236}">
                    <a16:creationId xmlns:a16="http://schemas.microsoft.com/office/drawing/2014/main" id="{7C3BCA84-FA00-4449-85F3-E379035DE491}"/>
                  </a:ext>
                </a:extLst>
              </p:cNvPr>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noFill/>
                <a:prstDash val="solid"/>
                <a:round/>
                <a:headEnd/>
                <a:tailEnd/>
              </a:ln>
            </p:spPr>
            <p:txBody>
              <a:bodyPr/>
              <a:lstStyle/>
              <a:p>
                <a:endParaRPr lang="en-US" sz="2178"/>
              </a:p>
            </p:txBody>
          </p:sp>
          <p:sp>
            <p:nvSpPr>
              <p:cNvPr id="480" name="Line 300">
                <a:extLst>
                  <a:ext uri="{FF2B5EF4-FFF2-40B4-BE49-F238E27FC236}">
                    <a16:creationId xmlns:a16="http://schemas.microsoft.com/office/drawing/2014/main" id="{F4412693-DAA4-4261-80D5-6A8E789E854E}"/>
                  </a:ext>
                </a:extLst>
              </p:cNvPr>
              <p:cNvSpPr>
                <a:spLocks noChangeShapeType="1"/>
              </p:cNvSpPr>
              <p:nvPr/>
            </p:nvSpPr>
            <p:spPr bwMode="auto">
              <a:xfrm flipH="1" flipV="1">
                <a:off x="5178" y="2447"/>
                <a:ext cx="6" cy="6"/>
              </a:xfrm>
              <a:prstGeom prst="line">
                <a:avLst/>
              </a:prstGeom>
              <a:grpFill/>
              <a:ln w="9525">
                <a:noFill/>
                <a:round/>
                <a:headEnd/>
                <a:tailEnd/>
              </a:ln>
            </p:spPr>
            <p:txBody>
              <a:bodyPr/>
              <a:lstStyle/>
              <a:p>
                <a:endParaRPr lang="en-US" sz="2178"/>
              </a:p>
            </p:txBody>
          </p:sp>
          <p:sp>
            <p:nvSpPr>
              <p:cNvPr id="481" name="Freeform 301">
                <a:extLst>
                  <a:ext uri="{FF2B5EF4-FFF2-40B4-BE49-F238E27FC236}">
                    <a16:creationId xmlns:a16="http://schemas.microsoft.com/office/drawing/2014/main" id="{FBDAD63C-6C7E-430F-9535-14D43B3F6F16}"/>
                  </a:ext>
                </a:extLst>
              </p:cNvPr>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noFill/>
                <a:prstDash val="solid"/>
                <a:round/>
                <a:headEnd/>
                <a:tailEnd/>
              </a:ln>
            </p:spPr>
            <p:txBody>
              <a:bodyPr/>
              <a:lstStyle/>
              <a:p>
                <a:endParaRPr lang="en-US" sz="2178"/>
              </a:p>
            </p:txBody>
          </p:sp>
          <p:sp>
            <p:nvSpPr>
              <p:cNvPr id="482" name="Freeform 302">
                <a:extLst>
                  <a:ext uri="{FF2B5EF4-FFF2-40B4-BE49-F238E27FC236}">
                    <a16:creationId xmlns:a16="http://schemas.microsoft.com/office/drawing/2014/main" id="{7EC6B937-8C42-4833-BC14-CCE3ACE3D62B}"/>
                  </a:ext>
                </a:extLst>
              </p:cNvPr>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noFill/>
                <a:prstDash val="solid"/>
                <a:round/>
                <a:headEnd/>
                <a:tailEnd/>
              </a:ln>
            </p:spPr>
            <p:txBody>
              <a:bodyPr/>
              <a:lstStyle/>
              <a:p>
                <a:endParaRPr lang="en-US" sz="2178"/>
              </a:p>
            </p:txBody>
          </p:sp>
          <p:sp>
            <p:nvSpPr>
              <p:cNvPr id="483" name="Freeform 303">
                <a:extLst>
                  <a:ext uri="{FF2B5EF4-FFF2-40B4-BE49-F238E27FC236}">
                    <a16:creationId xmlns:a16="http://schemas.microsoft.com/office/drawing/2014/main" id="{0504D011-C7D1-4302-98F9-5CCFC3D3D999}"/>
                  </a:ext>
                </a:extLst>
              </p:cNvPr>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noFill/>
                <a:prstDash val="solid"/>
                <a:round/>
                <a:headEnd/>
                <a:tailEnd/>
              </a:ln>
            </p:spPr>
            <p:txBody>
              <a:bodyPr/>
              <a:lstStyle/>
              <a:p>
                <a:endParaRPr lang="en-US" sz="2178"/>
              </a:p>
            </p:txBody>
          </p:sp>
          <p:sp>
            <p:nvSpPr>
              <p:cNvPr id="484" name="Freeform 304">
                <a:extLst>
                  <a:ext uri="{FF2B5EF4-FFF2-40B4-BE49-F238E27FC236}">
                    <a16:creationId xmlns:a16="http://schemas.microsoft.com/office/drawing/2014/main" id="{F6265BBD-0C24-44E0-9523-32B7841FFBA3}"/>
                  </a:ext>
                </a:extLst>
              </p:cNvPr>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noFill/>
                <a:prstDash val="solid"/>
                <a:round/>
                <a:headEnd/>
                <a:tailEnd/>
              </a:ln>
            </p:spPr>
            <p:txBody>
              <a:bodyPr/>
              <a:lstStyle/>
              <a:p>
                <a:endParaRPr lang="en-US" sz="2178"/>
              </a:p>
            </p:txBody>
          </p:sp>
          <p:sp>
            <p:nvSpPr>
              <p:cNvPr id="485" name="Freeform 305">
                <a:extLst>
                  <a:ext uri="{FF2B5EF4-FFF2-40B4-BE49-F238E27FC236}">
                    <a16:creationId xmlns:a16="http://schemas.microsoft.com/office/drawing/2014/main" id="{FCCFBD8B-6E8C-4642-A189-2D5E3D0F29F3}"/>
                  </a:ext>
                </a:extLst>
              </p:cNvPr>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noFill/>
                <a:prstDash val="solid"/>
                <a:round/>
                <a:headEnd/>
                <a:tailEnd/>
              </a:ln>
            </p:spPr>
            <p:txBody>
              <a:bodyPr/>
              <a:lstStyle/>
              <a:p>
                <a:endParaRPr lang="en-US" sz="2178"/>
              </a:p>
            </p:txBody>
          </p:sp>
          <p:sp>
            <p:nvSpPr>
              <p:cNvPr id="486" name="Line 306">
                <a:extLst>
                  <a:ext uri="{FF2B5EF4-FFF2-40B4-BE49-F238E27FC236}">
                    <a16:creationId xmlns:a16="http://schemas.microsoft.com/office/drawing/2014/main" id="{98CFA8A4-1A49-4F99-A777-69F504E89CC7}"/>
                  </a:ext>
                </a:extLst>
              </p:cNvPr>
              <p:cNvSpPr>
                <a:spLocks noChangeShapeType="1"/>
              </p:cNvSpPr>
              <p:nvPr/>
            </p:nvSpPr>
            <p:spPr bwMode="auto">
              <a:xfrm flipV="1">
                <a:off x="5191" y="2516"/>
                <a:ext cx="6" cy="2"/>
              </a:xfrm>
              <a:prstGeom prst="line">
                <a:avLst/>
              </a:prstGeom>
              <a:grpFill/>
              <a:ln w="9525">
                <a:noFill/>
                <a:round/>
                <a:headEnd/>
                <a:tailEnd/>
              </a:ln>
            </p:spPr>
            <p:txBody>
              <a:bodyPr/>
              <a:lstStyle/>
              <a:p>
                <a:endParaRPr lang="en-US" sz="2178"/>
              </a:p>
            </p:txBody>
          </p:sp>
        </p:grpSp>
        <p:sp>
          <p:nvSpPr>
            <p:cNvPr id="219" name="Freeform 307">
              <a:extLst>
                <a:ext uri="{FF2B5EF4-FFF2-40B4-BE49-F238E27FC236}">
                  <a16:creationId xmlns:a16="http://schemas.microsoft.com/office/drawing/2014/main" id="{6E0B65F8-5BAE-4295-8973-4727DA8E30CC}"/>
                </a:ext>
              </a:extLst>
            </p:cNvPr>
            <p:cNvSpPr>
              <a:spLocks/>
            </p:cNvSpPr>
            <p:nvPr>
              <p:custDataLst>
                <p:tags r:id="rId210"/>
              </p:custDataLst>
            </p:nvPr>
          </p:nvSpPr>
          <p:spPr bwMode="auto">
            <a:xfrm>
              <a:off x="7280275" y="3879850"/>
              <a:ext cx="14288" cy="55563"/>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220" name="Freeform 308">
              <a:extLst>
                <a:ext uri="{FF2B5EF4-FFF2-40B4-BE49-F238E27FC236}">
                  <a16:creationId xmlns:a16="http://schemas.microsoft.com/office/drawing/2014/main" id="{A1B09771-AD5E-4AE9-A13F-CA3405B6A935}"/>
                </a:ext>
              </a:extLst>
            </p:cNvPr>
            <p:cNvSpPr>
              <a:spLocks/>
            </p:cNvSpPr>
            <p:nvPr>
              <p:custDataLst>
                <p:tags r:id="rId211"/>
              </p:custDataLst>
            </p:nvPr>
          </p:nvSpPr>
          <p:spPr bwMode="auto">
            <a:xfrm>
              <a:off x="7356475" y="3819525"/>
              <a:ext cx="22225" cy="58738"/>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221" name="Freeform 309">
              <a:extLst>
                <a:ext uri="{FF2B5EF4-FFF2-40B4-BE49-F238E27FC236}">
                  <a16:creationId xmlns:a16="http://schemas.microsoft.com/office/drawing/2014/main" id="{E6458EE1-4C1E-4D2F-BB27-F683379A34CE}"/>
                </a:ext>
              </a:extLst>
            </p:cNvPr>
            <p:cNvSpPr>
              <a:spLocks/>
            </p:cNvSpPr>
            <p:nvPr>
              <p:custDataLst>
                <p:tags r:id="rId212"/>
              </p:custDataLst>
            </p:nvPr>
          </p:nvSpPr>
          <p:spPr bwMode="auto">
            <a:xfrm>
              <a:off x="7404100" y="3698875"/>
              <a:ext cx="23813" cy="57150"/>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grpFill/>
            <a:ln w="9525" cap="flat" cmpd="sng">
              <a:noFill/>
              <a:prstDash val="solid"/>
              <a:round/>
              <a:headEnd type="none" w="med" len="med"/>
              <a:tailEnd type="none" w="med" len="med"/>
            </a:ln>
            <a:effectLst/>
          </p:spPr>
          <p:txBody>
            <a:bodyPr/>
            <a:lstStyle/>
            <a:p>
              <a:endParaRPr lang="en-US" sz="2178"/>
            </a:p>
          </p:txBody>
        </p:sp>
        <p:sp>
          <p:nvSpPr>
            <p:cNvPr id="222" name="Freeform 310">
              <a:extLst>
                <a:ext uri="{FF2B5EF4-FFF2-40B4-BE49-F238E27FC236}">
                  <a16:creationId xmlns:a16="http://schemas.microsoft.com/office/drawing/2014/main" id="{BAF776A3-6484-41C9-A8AC-9FD76F415645}"/>
                </a:ext>
              </a:extLst>
            </p:cNvPr>
            <p:cNvSpPr>
              <a:spLocks/>
            </p:cNvSpPr>
            <p:nvPr>
              <p:custDataLst>
                <p:tags r:id="rId213"/>
              </p:custDataLst>
            </p:nvPr>
          </p:nvSpPr>
          <p:spPr bwMode="auto">
            <a:xfrm>
              <a:off x="7388225" y="3668713"/>
              <a:ext cx="25400" cy="57150"/>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grpFill/>
            <a:ln w="9525" cap="flat" cmpd="sng">
              <a:noFill/>
              <a:prstDash val="solid"/>
              <a:round/>
              <a:headEnd type="none" w="med" len="med"/>
              <a:tailEnd type="none" w="med" len="med"/>
            </a:ln>
            <a:effectLst/>
          </p:spPr>
          <p:txBody>
            <a:bodyPr/>
            <a:lstStyle/>
            <a:p>
              <a:endParaRPr lang="en-US" sz="2178"/>
            </a:p>
          </p:txBody>
        </p:sp>
        <p:sp>
          <p:nvSpPr>
            <p:cNvPr id="223" name="Freeform 311">
              <a:extLst>
                <a:ext uri="{FF2B5EF4-FFF2-40B4-BE49-F238E27FC236}">
                  <a16:creationId xmlns:a16="http://schemas.microsoft.com/office/drawing/2014/main" id="{602992A0-8386-43B3-9F07-477E10527B8F}"/>
                </a:ext>
              </a:extLst>
            </p:cNvPr>
            <p:cNvSpPr>
              <a:spLocks/>
            </p:cNvSpPr>
            <p:nvPr>
              <p:custDataLst>
                <p:tags r:id="rId214"/>
              </p:custDataLst>
            </p:nvPr>
          </p:nvSpPr>
          <p:spPr bwMode="auto">
            <a:xfrm>
              <a:off x="7213600" y="3565525"/>
              <a:ext cx="7938" cy="57150"/>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grpFill/>
            <a:ln w="9525" cap="flat" cmpd="sng">
              <a:noFill/>
              <a:prstDash val="solid"/>
              <a:round/>
              <a:headEnd type="none" w="med" len="med"/>
              <a:tailEnd type="none" w="med" len="med"/>
            </a:ln>
            <a:effectLst/>
          </p:spPr>
          <p:txBody>
            <a:bodyPr/>
            <a:lstStyle/>
            <a:p>
              <a:endParaRPr lang="en-US" sz="2178"/>
            </a:p>
          </p:txBody>
        </p:sp>
        <p:sp>
          <p:nvSpPr>
            <p:cNvPr id="224" name="Freeform 312">
              <a:extLst>
                <a:ext uri="{FF2B5EF4-FFF2-40B4-BE49-F238E27FC236}">
                  <a16:creationId xmlns:a16="http://schemas.microsoft.com/office/drawing/2014/main" id="{798D1604-86AF-4951-9C8F-F122C5B612EF}"/>
                </a:ext>
              </a:extLst>
            </p:cNvPr>
            <p:cNvSpPr>
              <a:spLocks/>
            </p:cNvSpPr>
            <p:nvPr>
              <p:custDataLst>
                <p:tags r:id="rId215"/>
              </p:custDataLst>
            </p:nvPr>
          </p:nvSpPr>
          <p:spPr bwMode="auto">
            <a:xfrm>
              <a:off x="7140575" y="3700463"/>
              <a:ext cx="30163" cy="58737"/>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grpFill/>
            <a:ln w="9525" cap="flat" cmpd="sng">
              <a:noFill/>
              <a:prstDash val="solid"/>
              <a:round/>
              <a:headEnd type="none" w="med" len="med"/>
              <a:tailEnd type="none" w="med" len="med"/>
            </a:ln>
            <a:effectLst/>
          </p:spPr>
          <p:txBody>
            <a:bodyPr/>
            <a:lstStyle/>
            <a:p>
              <a:endParaRPr lang="en-US" sz="2178"/>
            </a:p>
          </p:txBody>
        </p:sp>
        <p:sp>
          <p:nvSpPr>
            <p:cNvPr id="225" name="Freeform 313">
              <a:extLst>
                <a:ext uri="{FF2B5EF4-FFF2-40B4-BE49-F238E27FC236}">
                  <a16:creationId xmlns:a16="http://schemas.microsoft.com/office/drawing/2014/main" id="{6AE1ADBD-E15E-495E-81F9-126F2F2AF374}"/>
                </a:ext>
              </a:extLst>
            </p:cNvPr>
            <p:cNvSpPr>
              <a:spLocks/>
            </p:cNvSpPr>
            <p:nvPr>
              <p:custDataLst>
                <p:tags r:id="rId216"/>
              </p:custDataLst>
            </p:nvPr>
          </p:nvSpPr>
          <p:spPr bwMode="auto">
            <a:xfrm>
              <a:off x="7148513" y="3886200"/>
              <a:ext cx="19050" cy="55563"/>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grpFill/>
            <a:ln w="9525" cap="flat" cmpd="sng">
              <a:noFill/>
              <a:prstDash val="solid"/>
              <a:round/>
              <a:headEnd type="none" w="med" len="med"/>
              <a:tailEnd type="none" w="med" len="med"/>
            </a:ln>
            <a:effectLst/>
          </p:spPr>
          <p:txBody>
            <a:bodyPr/>
            <a:lstStyle/>
            <a:p>
              <a:endParaRPr lang="en-US" sz="2178"/>
            </a:p>
          </p:txBody>
        </p:sp>
        <p:sp>
          <p:nvSpPr>
            <p:cNvPr id="226" name="Freeform 314">
              <a:extLst>
                <a:ext uri="{FF2B5EF4-FFF2-40B4-BE49-F238E27FC236}">
                  <a16:creationId xmlns:a16="http://schemas.microsoft.com/office/drawing/2014/main" id="{5E3D37FB-A4CC-42F0-961E-0E0C5D9CC18C}"/>
                </a:ext>
              </a:extLst>
            </p:cNvPr>
            <p:cNvSpPr>
              <a:spLocks/>
            </p:cNvSpPr>
            <p:nvPr>
              <p:custDataLst>
                <p:tags r:id="rId217"/>
              </p:custDataLst>
            </p:nvPr>
          </p:nvSpPr>
          <p:spPr bwMode="auto">
            <a:xfrm>
              <a:off x="7261225" y="3705225"/>
              <a:ext cx="11113" cy="57150"/>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grpFill/>
            <a:ln w="9525" cap="flat" cmpd="sng">
              <a:noFill/>
              <a:prstDash val="solid"/>
              <a:round/>
              <a:headEnd type="none" w="med" len="med"/>
              <a:tailEnd type="none" w="med" len="med"/>
            </a:ln>
            <a:effectLst/>
          </p:spPr>
          <p:txBody>
            <a:bodyPr/>
            <a:lstStyle/>
            <a:p>
              <a:endParaRPr lang="en-US" sz="2178"/>
            </a:p>
          </p:txBody>
        </p:sp>
        <p:sp>
          <p:nvSpPr>
            <p:cNvPr id="227" name="Freeform 315">
              <a:extLst>
                <a:ext uri="{FF2B5EF4-FFF2-40B4-BE49-F238E27FC236}">
                  <a16:creationId xmlns:a16="http://schemas.microsoft.com/office/drawing/2014/main" id="{41DF18DE-4C7E-4B2B-9E19-542FE879CE84}"/>
                </a:ext>
              </a:extLst>
            </p:cNvPr>
            <p:cNvSpPr>
              <a:spLocks/>
            </p:cNvSpPr>
            <p:nvPr>
              <p:custDataLst>
                <p:tags r:id="rId218"/>
              </p:custDataLst>
            </p:nvPr>
          </p:nvSpPr>
          <p:spPr bwMode="auto">
            <a:xfrm>
              <a:off x="7121525" y="3700463"/>
              <a:ext cx="19050" cy="58737"/>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228" name="Freeform 316">
              <a:extLst>
                <a:ext uri="{FF2B5EF4-FFF2-40B4-BE49-F238E27FC236}">
                  <a16:creationId xmlns:a16="http://schemas.microsoft.com/office/drawing/2014/main" id="{B6C77CA9-2B8C-40EA-9396-249D385E78E5}"/>
                </a:ext>
              </a:extLst>
            </p:cNvPr>
            <p:cNvSpPr>
              <a:spLocks/>
            </p:cNvSpPr>
            <p:nvPr>
              <p:custDataLst>
                <p:tags r:id="rId219"/>
              </p:custDataLst>
            </p:nvPr>
          </p:nvSpPr>
          <p:spPr bwMode="auto">
            <a:xfrm>
              <a:off x="7165975" y="3748088"/>
              <a:ext cx="30163" cy="57150"/>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229" name="Freeform 317">
              <a:extLst>
                <a:ext uri="{FF2B5EF4-FFF2-40B4-BE49-F238E27FC236}">
                  <a16:creationId xmlns:a16="http://schemas.microsoft.com/office/drawing/2014/main" id="{BE3EE7B3-64F1-4580-8E7A-7085BFA04372}"/>
                </a:ext>
              </a:extLst>
            </p:cNvPr>
            <p:cNvSpPr>
              <a:spLocks/>
            </p:cNvSpPr>
            <p:nvPr>
              <p:custDataLst>
                <p:tags r:id="rId220"/>
              </p:custDataLst>
            </p:nvPr>
          </p:nvSpPr>
          <p:spPr bwMode="auto">
            <a:xfrm>
              <a:off x="6967538" y="3951288"/>
              <a:ext cx="46037" cy="58737"/>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grpFill/>
            <a:ln w="9525" cap="flat" cmpd="sng">
              <a:noFill/>
              <a:prstDash val="solid"/>
              <a:round/>
              <a:headEnd type="none" w="med" len="med"/>
              <a:tailEnd type="none" w="med" len="med"/>
            </a:ln>
            <a:effectLst/>
          </p:spPr>
          <p:txBody>
            <a:bodyPr/>
            <a:lstStyle/>
            <a:p>
              <a:endParaRPr lang="en-US" sz="2178"/>
            </a:p>
          </p:txBody>
        </p:sp>
        <p:sp>
          <p:nvSpPr>
            <p:cNvPr id="230" name="Freeform 318">
              <a:extLst>
                <a:ext uri="{FF2B5EF4-FFF2-40B4-BE49-F238E27FC236}">
                  <a16:creationId xmlns:a16="http://schemas.microsoft.com/office/drawing/2014/main" id="{5A1FDB06-C6D4-45AC-A3AD-CDED9F3E4378}"/>
                </a:ext>
              </a:extLst>
            </p:cNvPr>
            <p:cNvSpPr>
              <a:spLocks/>
            </p:cNvSpPr>
            <p:nvPr>
              <p:custDataLst>
                <p:tags r:id="rId221"/>
              </p:custDataLst>
            </p:nvPr>
          </p:nvSpPr>
          <p:spPr bwMode="auto">
            <a:xfrm>
              <a:off x="7065963" y="3989388"/>
              <a:ext cx="14287" cy="58737"/>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grpFill/>
            <a:ln w="9525" cap="flat" cmpd="sng">
              <a:noFill/>
              <a:prstDash val="solid"/>
              <a:round/>
              <a:headEnd type="none" w="med" len="med"/>
              <a:tailEnd type="none" w="med" len="med"/>
            </a:ln>
            <a:effectLst/>
          </p:spPr>
          <p:txBody>
            <a:bodyPr/>
            <a:lstStyle/>
            <a:p>
              <a:endParaRPr lang="en-US" sz="2178"/>
            </a:p>
          </p:txBody>
        </p:sp>
        <p:sp>
          <p:nvSpPr>
            <p:cNvPr id="231" name="Freeform 319">
              <a:extLst>
                <a:ext uri="{FF2B5EF4-FFF2-40B4-BE49-F238E27FC236}">
                  <a16:creationId xmlns:a16="http://schemas.microsoft.com/office/drawing/2014/main" id="{C763F5ED-CB76-4E52-922C-2FCBB784B593}"/>
                </a:ext>
              </a:extLst>
            </p:cNvPr>
            <p:cNvSpPr>
              <a:spLocks/>
            </p:cNvSpPr>
            <p:nvPr>
              <p:custDataLst>
                <p:tags r:id="rId222"/>
              </p:custDataLst>
            </p:nvPr>
          </p:nvSpPr>
          <p:spPr bwMode="auto">
            <a:xfrm>
              <a:off x="6899275" y="3921125"/>
              <a:ext cx="36513" cy="5556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grpFill/>
            <a:ln w="9525" cap="flat" cmpd="sng">
              <a:noFill/>
              <a:prstDash val="solid"/>
              <a:round/>
              <a:headEnd type="none" w="med" len="med"/>
              <a:tailEnd type="none" w="med" len="med"/>
            </a:ln>
            <a:effectLst/>
          </p:spPr>
          <p:txBody>
            <a:bodyPr/>
            <a:lstStyle/>
            <a:p>
              <a:endParaRPr lang="en-US" sz="2178"/>
            </a:p>
          </p:txBody>
        </p:sp>
        <p:sp>
          <p:nvSpPr>
            <p:cNvPr id="232" name="Freeform 320">
              <a:extLst>
                <a:ext uri="{FF2B5EF4-FFF2-40B4-BE49-F238E27FC236}">
                  <a16:creationId xmlns:a16="http://schemas.microsoft.com/office/drawing/2014/main" id="{0C069C25-CE59-469E-B96F-44DAAF926B98}"/>
                </a:ext>
              </a:extLst>
            </p:cNvPr>
            <p:cNvSpPr>
              <a:spLocks/>
            </p:cNvSpPr>
            <p:nvPr>
              <p:custDataLst>
                <p:tags r:id="rId223"/>
              </p:custDataLst>
            </p:nvPr>
          </p:nvSpPr>
          <p:spPr bwMode="auto">
            <a:xfrm>
              <a:off x="6943725" y="3906838"/>
              <a:ext cx="39688" cy="55562"/>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grpFill/>
            <a:ln w="9525" cap="flat" cmpd="sng">
              <a:noFill/>
              <a:prstDash val="solid"/>
              <a:round/>
              <a:headEnd type="none" w="med" len="med"/>
              <a:tailEnd type="none" w="med" len="med"/>
            </a:ln>
            <a:effectLst/>
          </p:spPr>
          <p:txBody>
            <a:bodyPr/>
            <a:lstStyle/>
            <a:p>
              <a:endParaRPr lang="en-US" sz="2178"/>
            </a:p>
          </p:txBody>
        </p:sp>
        <p:sp>
          <p:nvSpPr>
            <p:cNvPr id="233" name="Freeform 321">
              <a:extLst>
                <a:ext uri="{FF2B5EF4-FFF2-40B4-BE49-F238E27FC236}">
                  <a16:creationId xmlns:a16="http://schemas.microsoft.com/office/drawing/2014/main" id="{7FF9FBB3-0F56-404A-A991-A554238073C4}"/>
                </a:ext>
              </a:extLst>
            </p:cNvPr>
            <p:cNvSpPr>
              <a:spLocks/>
            </p:cNvSpPr>
            <p:nvPr>
              <p:custDataLst>
                <p:tags r:id="rId224"/>
              </p:custDataLst>
            </p:nvPr>
          </p:nvSpPr>
          <p:spPr bwMode="auto">
            <a:xfrm>
              <a:off x="6996113" y="3916363"/>
              <a:ext cx="36512" cy="58737"/>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grpFill/>
            <a:ln w="9525" cap="flat" cmpd="sng">
              <a:noFill/>
              <a:prstDash val="solid"/>
              <a:round/>
              <a:headEnd type="none" w="med" len="med"/>
              <a:tailEnd type="none" w="med" len="med"/>
            </a:ln>
            <a:effectLst/>
          </p:spPr>
          <p:txBody>
            <a:bodyPr/>
            <a:lstStyle/>
            <a:p>
              <a:endParaRPr lang="en-US" sz="2178"/>
            </a:p>
          </p:txBody>
        </p:sp>
        <p:sp>
          <p:nvSpPr>
            <p:cNvPr id="234" name="Freeform 322">
              <a:extLst>
                <a:ext uri="{FF2B5EF4-FFF2-40B4-BE49-F238E27FC236}">
                  <a16:creationId xmlns:a16="http://schemas.microsoft.com/office/drawing/2014/main" id="{8F69DC29-181F-4B7F-BA4A-2103CFD7117A}"/>
                </a:ext>
              </a:extLst>
            </p:cNvPr>
            <p:cNvSpPr>
              <a:spLocks/>
            </p:cNvSpPr>
            <p:nvPr>
              <p:custDataLst>
                <p:tags r:id="rId225"/>
              </p:custDataLst>
            </p:nvPr>
          </p:nvSpPr>
          <p:spPr bwMode="auto">
            <a:xfrm>
              <a:off x="7048500" y="3921125"/>
              <a:ext cx="25400" cy="5556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grpFill/>
            <a:ln w="9525" cap="flat" cmpd="sng">
              <a:noFill/>
              <a:prstDash val="solid"/>
              <a:round/>
              <a:headEnd type="none" w="med" len="med"/>
              <a:tailEnd type="none" w="med" len="med"/>
            </a:ln>
            <a:effectLst/>
          </p:spPr>
          <p:txBody>
            <a:bodyPr/>
            <a:lstStyle/>
            <a:p>
              <a:endParaRPr lang="en-US" sz="2178"/>
            </a:p>
          </p:txBody>
        </p:sp>
        <p:sp>
          <p:nvSpPr>
            <p:cNvPr id="235" name="Freeform 323">
              <a:extLst>
                <a:ext uri="{FF2B5EF4-FFF2-40B4-BE49-F238E27FC236}">
                  <a16:creationId xmlns:a16="http://schemas.microsoft.com/office/drawing/2014/main" id="{5CEEBF73-4703-4F4C-A1C4-2090A7645E88}"/>
                </a:ext>
              </a:extLst>
            </p:cNvPr>
            <p:cNvSpPr>
              <a:spLocks/>
            </p:cNvSpPr>
            <p:nvPr>
              <p:custDataLst>
                <p:tags r:id="rId226"/>
              </p:custDataLst>
            </p:nvPr>
          </p:nvSpPr>
          <p:spPr bwMode="auto">
            <a:xfrm>
              <a:off x="7121525" y="3913188"/>
              <a:ext cx="1588" cy="55562"/>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grpFill/>
            <a:ln w="9525" cap="flat" cmpd="sng">
              <a:noFill/>
              <a:prstDash val="solid"/>
              <a:round/>
              <a:headEnd type="none" w="med" len="med"/>
              <a:tailEnd type="none" w="med" len="med"/>
            </a:ln>
            <a:effectLst/>
          </p:spPr>
          <p:txBody>
            <a:bodyPr/>
            <a:lstStyle/>
            <a:p>
              <a:endParaRPr lang="en-US" sz="2178"/>
            </a:p>
          </p:txBody>
        </p:sp>
        <p:sp>
          <p:nvSpPr>
            <p:cNvPr id="236" name="Freeform 324">
              <a:extLst>
                <a:ext uri="{FF2B5EF4-FFF2-40B4-BE49-F238E27FC236}">
                  <a16:creationId xmlns:a16="http://schemas.microsoft.com/office/drawing/2014/main" id="{53BF6251-1E27-49A0-B575-F3CC140D1BFE}"/>
                </a:ext>
              </a:extLst>
            </p:cNvPr>
            <p:cNvSpPr>
              <a:spLocks/>
            </p:cNvSpPr>
            <p:nvPr>
              <p:custDataLst>
                <p:tags r:id="rId227"/>
              </p:custDataLst>
            </p:nvPr>
          </p:nvSpPr>
          <p:spPr bwMode="auto">
            <a:xfrm>
              <a:off x="6696075" y="3727450"/>
              <a:ext cx="20638" cy="58738"/>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237" name="Freeform 325">
              <a:extLst>
                <a:ext uri="{FF2B5EF4-FFF2-40B4-BE49-F238E27FC236}">
                  <a16:creationId xmlns:a16="http://schemas.microsoft.com/office/drawing/2014/main" id="{EDD1D527-24E9-48D4-8C37-9C6F211D49F2}"/>
                </a:ext>
              </a:extLst>
            </p:cNvPr>
            <p:cNvSpPr>
              <a:spLocks/>
            </p:cNvSpPr>
            <p:nvPr>
              <p:custDataLst>
                <p:tags r:id="rId228"/>
              </p:custDataLst>
            </p:nvPr>
          </p:nvSpPr>
          <p:spPr bwMode="auto">
            <a:xfrm>
              <a:off x="6642100" y="3700463"/>
              <a:ext cx="30163" cy="58737"/>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238" name="Freeform 326">
              <a:extLst>
                <a:ext uri="{FF2B5EF4-FFF2-40B4-BE49-F238E27FC236}">
                  <a16:creationId xmlns:a16="http://schemas.microsoft.com/office/drawing/2014/main" id="{BF634DF9-0710-42D4-9461-C562227DD5AA}"/>
                </a:ext>
              </a:extLst>
            </p:cNvPr>
            <p:cNvSpPr>
              <a:spLocks/>
            </p:cNvSpPr>
            <p:nvPr>
              <p:custDataLst>
                <p:tags r:id="rId229"/>
              </p:custDataLst>
            </p:nvPr>
          </p:nvSpPr>
          <p:spPr bwMode="auto">
            <a:xfrm>
              <a:off x="6477000" y="3684588"/>
              <a:ext cx="7938" cy="57150"/>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239" name="Line 327" descr="Horizontal dunkel">
              <a:extLst>
                <a:ext uri="{FF2B5EF4-FFF2-40B4-BE49-F238E27FC236}">
                  <a16:creationId xmlns:a16="http://schemas.microsoft.com/office/drawing/2014/main" id="{692C47C3-91D2-438E-B093-42E407850415}"/>
                </a:ext>
              </a:extLst>
            </p:cNvPr>
            <p:cNvSpPr>
              <a:spLocks noChangeShapeType="1"/>
            </p:cNvSpPr>
            <p:nvPr>
              <p:custDataLst>
                <p:tags r:id="rId230"/>
              </p:custDataLst>
            </p:nvPr>
          </p:nvSpPr>
          <p:spPr bwMode="auto">
            <a:xfrm>
              <a:off x="6502400" y="3721100"/>
              <a:ext cx="4763" cy="6350"/>
            </a:xfrm>
            <a:prstGeom prst="line">
              <a:avLst/>
            </a:prstGeom>
            <a:grpFill/>
            <a:ln w="9525">
              <a:no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240" name="Freeform 328">
              <a:extLst>
                <a:ext uri="{FF2B5EF4-FFF2-40B4-BE49-F238E27FC236}">
                  <a16:creationId xmlns:a16="http://schemas.microsoft.com/office/drawing/2014/main" id="{E6AD4354-AAC7-4D09-A137-3D0AFE05A19E}"/>
                </a:ext>
              </a:extLst>
            </p:cNvPr>
            <p:cNvSpPr>
              <a:spLocks/>
            </p:cNvSpPr>
            <p:nvPr>
              <p:custDataLst>
                <p:tags r:id="rId231"/>
              </p:custDataLst>
            </p:nvPr>
          </p:nvSpPr>
          <p:spPr bwMode="auto">
            <a:xfrm>
              <a:off x="6499225" y="3721100"/>
              <a:ext cx="7938" cy="57150"/>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241" name="Freeform 329">
              <a:extLst>
                <a:ext uri="{FF2B5EF4-FFF2-40B4-BE49-F238E27FC236}">
                  <a16:creationId xmlns:a16="http://schemas.microsoft.com/office/drawing/2014/main" id="{69D1B49F-0F09-43F8-B738-6E91E4D034E7}"/>
                </a:ext>
              </a:extLst>
            </p:cNvPr>
            <p:cNvSpPr>
              <a:spLocks/>
            </p:cNvSpPr>
            <p:nvPr>
              <p:custDataLst>
                <p:tags r:id="rId232"/>
              </p:custDataLst>
            </p:nvPr>
          </p:nvSpPr>
          <p:spPr bwMode="auto">
            <a:xfrm>
              <a:off x="6400800" y="3565525"/>
              <a:ext cx="22225" cy="57150"/>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242" name="Freeform 330">
              <a:extLst>
                <a:ext uri="{FF2B5EF4-FFF2-40B4-BE49-F238E27FC236}">
                  <a16:creationId xmlns:a16="http://schemas.microsoft.com/office/drawing/2014/main" id="{E7BA6421-FD44-4AE3-BA81-A6617B267565}"/>
                </a:ext>
              </a:extLst>
            </p:cNvPr>
            <p:cNvSpPr>
              <a:spLocks/>
            </p:cNvSpPr>
            <p:nvPr>
              <p:custDataLst>
                <p:tags r:id="rId233"/>
              </p:custDataLst>
            </p:nvPr>
          </p:nvSpPr>
          <p:spPr bwMode="auto">
            <a:xfrm>
              <a:off x="6929438" y="3929063"/>
              <a:ext cx="11112" cy="57150"/>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grpFill/>
            <a:ln w="9525" cap="flat" cmpd="sng">
              <a:noFill/>
              <a:prstDash val="solid"/>
              <a:round/>
              <a:headEnd type="none" w="med" len="med"/>
              <a:tailEnd type="none" w="med" len="med"/>
            </a:ln>
            <a:effectLst/>
          </p:spPr>
          <p:txBody>
            <a:bodyPr/>
            <a:lstStyle/>
            <a:p>
              <a:endParaRPr lang="en-US" sz="2178"/>
            </a:p>
          </p:txBody>
        </p:sp>
        <p:sp>
          <p:nvSpPr>
            <p:cNvPr id="243" name="Freeform 331">
              <a:extLst>
                <a:ext uri="{FF2B5EF4-FFF2-40B4-BE49-F238E27FC236}">
                  <a16:creationId xmlns:a16="http://schemas.microsoft.com/office/drawing/2014/main" id="{123ED283-A88E-42C0-A0EE-EFE3577C8550}"/>
                </a:ext>
              </a:extLst>
            </p:cNvPr>
            <p:cNvSpPr>
              <a:spLocks/>
            </p:cNvSpPr>
            <p:nvPr>
              <p:custDataLst>
                <p:tags r:id="rId234"/>
              </p:custDataLst>
            </p:nvPr>
          </p:nvSpPr>
          <p:spPr bwMode="auto">
            <a:xfrm>
              <a:off x="7445375" y="3886200"/>
              <a:ext cx="28575" cy="55563"/>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244" name="Freeform 332">
              <a:extLst>
                <a:ext uri="{FF2B5EF4-FFF2-40B4-BE49-F238E27FC236}">
                  <a16:creationId xmlns:a16="http://schemas.microsoft.com/office/drawing/2014/main" id="{E8E7D298-550B-45C4-BE04-860EF551F2A8}"/>
                </a:ext>
              </a:extLst>
            </p:cNvPr>
            <p:cNvSpPr>
              <a:spLocks/>
            </p:cNvSpPr>
            <p:nvPr>
              <p:custDataLst>
                <p:tags r:id="rId235"/>
              </p:custDataLst>
            </p:nvPr>
          </p:nvSpPr>
          <p:spPr bwMode="auto">
            <a:xfrm>
              <a:off x="6383338" y="3468688"/>
              <a:ext cx="274637" cy="368300"/>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grpFill/>
            <a:ln w="9525" cap="flat" cmpd="sng">
              <a:noFill/>
              <a:prstDash val="solid"/>
              <a:round/>
              <a:headEnd type="none" w="med" len="med"/>
              <a:tailEnd type="none" w="med" len="med"/>
            </a:ln>
            <a:effectLst/>
          </p:spPr>
          <p:txBody>
            <a:bodyPr/>
            <a:lstStyle/>
            <a:p>
              <a:endParaRPr lang="en-US" sz="2178"/>
            </a:p>
          </p:txBody>
        </p:sp>
        <p:sp>
          <p:nvSpPr>
            <p:cNvPr id="245" name="Freeform 333">
              <a:extLst>
                <a:ext uri="{FF2B5EF4-FFF2-40B4-BE49-F238E27FC236}">
                  <a16:creationId xmlns:a16="http://schemas.microsoft.com/office/drawing/2014/main" id="{7289D094-0601-4457-922A-73E295BDE4D0}"/>
                </a:ext>
              </a:extLst>
            </p:cNvPr>
            <p:cNvSpPr>
              <a:spLocks/>
            </p:cNvSpPr>
            <p:nvPr>
              <p:custDataLst>
                <p:tags r:id="rId236"/>
              </p:custDataLst>
            </p:nvPr>
          </p:nvSpPr>
          <p:spPr bwMode="auto">
            <a:xfrm>
              <a:off x="6724650" y="3517900"/>
              <a:ext cx="254000" cy="257175"/>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grpFill/>
            <a:ln w="9525" cap="flat" cmpd="sng">
              <a:noFill/>
              <a:prstDash val="solid"/>
              <a:round/>
              <a:headEnd type="none" w="med" len="med"/>
              <a:tailEnd type="none" w="med" len="med"/>
            </a:ln>
            <a:effectLst/>
          </p:spPr>
          <p:txBody>
            <a:bodyPr/>
            <a:lstStyle/>
            <a:p>
              <a:endParaRPr lang="en-US" sz="2178"/>
            </a:p>
          </p:txBody>
        </p:sp>
        <p:sp>
          <p:nvSpPr>
            <p:cNvPr id="246" name="Freeform 334">
              <a:extLst>
                <a:ext uri="{FF2B5EF4-FFF2-40B4-BE49-F238E27FC236}">
                  <a16:creationId xmlns:a16="http://schemas.microsoft.com/office/drawing/2014/main" id="{775F9A90-1B4F-40DE-B87B-8858A1A85BEF}"/>
                </a:ext>
              </a:extLst>
            </p:cNvPr>
            <p:cNvSpPr>
              <a:spLocks/>
            </p:cNvSpPr>
            <p:nvPr>
              <p:custDataLst>
                <p:tags r:id="rId237"/>
              </p:custDataLst>
            </p:nvPr>
          </p:nvSpPr>
          <p:spPr bwMode="auto">
            <a:xfrm>
              <a:off x="7080250" y="3924300"/>
              <a:ext cx="92075" cy="57150"/>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grpFill/>
            <a:ln w="9525" cap="flat" cmpd="sng">
              <a:noFill/>
              <a:prstDash val="solid"/>
              <a:round/>
              <a:headEnd type="none" w="med" len="med"/>
              <a:tailEnd type="none" w="med" len="med"/>
            </a:ln>
            <a:effectLst/>
          </p:spPr>
          <p:txBody>
            <a:bodyPr/>
            <a:lstStyle/>
            <a:p>
              <a:endParaRPr lang="en-US" sz="2178"/>
            </a:p>
          </p:txBody>
        </p:sp>
        <p:sp>
          <p:nvSpPr>
            <p:cNvPr id="247" name="Freeform 335">
              <a:extLst>
                <a:ext uri="{FF2B5EF4-FFF2-40B4-BE49-F238E27FC236}">
                  <a16:creationId xmlns:a16="http://schemas.microsoft.com/office/drawing/2014/main" id="{A4F76857-7330-4F5B-8B43-82B76794C3E8}"/>
                </a:ext>
              </a:extLst>
            </p:cNvPr>
            <p:cNvSpPr>
              <a:spLocks/>
            </p:cNvSpPr>
            <p:nvPr>
              <p:custDataLst>
                <p:tags r:id="rId238"/>
              </p:custDataLst>
            </p:nvPr>
          </p:nvSpPr>
          <p:spPr bwMode="auto">
            <a:xfrm>
              <a:off x="7196138" y="3590925"/>
              <a:ext cx="42862" cy="88900"/>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grpFill/>
            <a:ln w="9525" cap="flat" cmpd="sng">
              <a:noFill/>
              <a:prstDash val="solid"/>
              <a:round/>
              <a:headEnd type="none" w="med" len="med"/>
              <a:tailEnd type="none" w="med" len="med"/>
            </a:ln>
            <a:effectLst/>
          </p:spPr>
          <p:txBody>
            <a:bodyPr/>
            <a:lstStyle/>
            <a:p>
              <a:endParaRPr lang="en-US" sz="2178"/>
            </a:p>
          </p:txBody>
        </p:sp>
        <p:sp>
          <p:nvSpPr>
            <p:cNvPr id="248" name="Freeform 336">
              <a:extLst>
                <a:ext uri="{FF2B5EF4-FFF2-40B4-BE49-F238E27FC236}">
                  <a16:creationId xmlns:a16="http://schemas.microsoft.com/office/drawing/2014/main" id="{84BF1CE0-6BD9-4962-9F9E-282344061C6B}"/>
                </a:ext>
              </a:extLst>
            </p:cNvPr>
            <p:cNvSpPr>
              <a:spLocks/>
            </p:cNvSpPr>
            <p:nvPr>
              <p:custDataLst>
                <p:tags r:id="rId239"/>
              </p:custDataLst>
            </p:nvPr>
          </p:nvSpPr>
          <p:spPr bwMode="auto">
            <a:xfrm>
              <a:off x="7208838" y="3735388"/>
              <a:ext cx="71437" cy="55562"/>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grpFill/>
            <a:ln w="9525" cap="flat" cmpd="sng">
              <a:noFill/>
              <a:prstDash val="solid"/>
              <a:round/>
              <a:headEnd type="none" w="med" len="med"/>
              <a:tailEnd type="none" w="med" len="med"/>
            </a:ln>
            <a:effectLst/>
          </p:spPr>
          <p:txBody>
            <a:bodyPr/>
            <a:lstStyle/>
            <a:p>
              <a:endParaRPr lang="en-US" sz="2178"/>
            </a:p>
          </p:txBody>
        </p:sp>
        <p:sp>
          <p:nvSpPr>
            <p:cNvPr id="249" name="Freeform 337">
              <a:extLst>
                <a:ext uri="{FF2B5EF4-FFF2-40B4-BE49-F238E27FC236}">
                  <a16:creationId xmlns:a16="http://schemas.microsoft.com/office/drawing/2014/main" id="{83EC1AEF-4B17-423F-90A2-4C5CF0BD6B89}"/>
                </a:ext>
              </a:extLst>
            </p:cNvPr>
            <p:cNvSpPr>
              <a:spLocks/>
            </p:cNvSpPr>
            <p:nvPr>
              <p:custDataLst>
                <p:tags r:id="rId240"/>
              </p:custDataLst>
            </p:nvPr>
          </p:nvSpPr>
          <p:spPr bwMode="auto">
            <a:xfrm>
              <a:off x="7285038" y="3659188"/>
              <a:ext cx="85725" cy="63500"/>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grpFill/>
            <a:ln w="9525" cap="flat" cmpd="sng">
              <a:noFill/>
              <a:prstDash val="solid"/>
              <a:round/>
              <a:headEnd type="none" w="med" len="med"/>
              <a:tailEnd type="none" w="med" len="med"/>
            </a:ln>
            <a:effectLst/>
          </p:spPr>
          <p:txBody>
            <a:bodyPr/>
            <a:lstStyle/>
            <a:p>
              <a:endParaRPr lang="en-US" sz="2178"/>
            </a:p>
          </p:txBody>
        </p:sp>
        <p:sp>
          <p:nvSpPr>
            <p:cNvPr id="250" name="Freeform 338">
              <a:extLst>
                <a:ext uri="{FF2B5EF4-FFF2-40B4-BE49-F238E27FC236}">
                  <a16:creationId xmlns:a16="http://schemas.microsoft.com/office/drawing/2014/main" id="{47D7D6A9-8B22-4F87-88E8-4C1877DED01F}"/>
                </a:ext>
              </a:extLst>
            </p:cNvPr>
            <p:cNvSpPr>
              <a:spLocks/>
            </p:cNvSpPr>
            <p:nvPr>
              <p:custDataLst>
                <p:tags r:id="rId241"/>
              </p:custDataLst>
            </p:nvPr>
          </p:nvSpPr>
          <p:spPr bwMode="auto">
            <a:xfrm>
              <a:off x="6973888" y="3597275"/>
              <a:ext cx="166687" cy="230188"/>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grpFill/>
            <a:ln w="9525" cap="flat" cmpd="sng">
              <a:noFill/>
              <a:prstDash val="solid"/>
              <a:round/>
              <a:headEnd type="none" w="med" len="med"/>
              <a:tailEnd type="none" w="med" len="med"/>
            </a:ln>
            <a:effectLst/>
          </p:spPr>
          <p:txBody>
            <a:bodyPr/>
            <a:lstStyle/>
            <a:p>
              <a:endParaRPr lang="en-US" sz="2178"/>
            </a:p>
          </p:txBody>
        </p:sp>
        <p:sp>
          <p:nvSpPr>
            <p:cNvPr id="251" name="Freeform 339">
              <a:extLst>
                <a:ext uri="{FF2B5EF4-FFF2-40B4-BE49-F238E27FC236}">
                  <a16:creationId xmlns:a16="http://schemas.microsoft.com/office/drawing/2014/main" id="{8B357433-3DC0-47EF-A73A-5C6DAB2ABD73}"/>
                </a:ext>
              </a:extLst>
            </p:cNvPr>
            <p:cNvSpPr>
              <a:spLocks/>
            </p:cNvSpPr>
            <p:nvPr>
              <p:custDataLst>
                <p:tags r:id="rId242"/>
              </p:custDataLst>
            </p:nvPr>
          </p:nvSpPr>
          <p:spPr bwMode="auto">
            <a:xfrm>
              <a:off x="6638925" y="3838575"/>
              <a:ext cx="250825" cy="95250"/>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grpFill/>
            <a:ln w="9525" cap="flat" cmpd="sng">
              <a:noFill/>
              <a:prstDash val="solid"/>
              <a:round/>
              <a:headEnd type="none" w="med" len="med"/>
              <a:tailEnd type="none" w="med" len="med"/>
            </a:ln>
            <a:effectLst/>
          </p:spPr>
          <p:txBody>
            <a:bodyPr/>
            <a:lstStyle/>
            <a:p>
              <a:endParaRPr lang="en-US" sz="2178"/>
            </a:p>
          </p:txBody>
        </p:sp>
        <p:sp>
          <p:nvSpPr>
            <p:cNvPr id="252" name="Freeform 340">
              <a:extLst>
                <a:ext uri="{FF2B5EF4-FFF2-40B4-BE49-F238E27FC236}">
                  <a16:creationId xmlns:a16="http://schemas.microsoft.com/office/drawing/2014/main" id="{EB46AA5C-2F38-4DB4-973A-E4B05F9E9F1B}"/>
                </a:ext>
              </a:extLst>
            </p:cNvPr>
            <p:cNvSpPr>
              <a:spLocks/>
            </p:cNvSpPr>
            <p:nvPr>
              <p:custDataLst>
                <p:tags r:id="rId243"/>
              </p:custDataLst>
            </p:nvPr>
          </p:nvSpPr>
          <p:spPr bwMode="auto">
            <a:xfrm>
              <a:off x="7319963" y="3695700"/>
              <a:ext cx="214312" cy="252413"/>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grpFill/>
            <a:ln w="9525" cap="flat" cmpd="sng">
              <a:noFill/>
              <a:prstDash val="solid"/>
              <a:round/>
              <a:headEnd type="none" w="med" len="med"/>
              <a:tailEnd type="none" w="med" len="med"/>
            </a:ln>
            <a:effectLst/>
          </p:spPr>
          <p:txBody>
            <a:bodyPr/>
            <a:lstStyle/>
            <a:p>
              <a:endParaRPr lang="en-US" sz="2178"/>
            </a:p>
          </p:txBody>
        </p:sp>
        <p:sp>
          <p:nvSpPr>
            <p:cNvPr id="253" name="Freeform 341">
              <a:extLst>
                <a:ext uri="{FF2B5EF4-FFF2-40B4-BE49-F238E27FC236}">
                  <a16:creationId xmlns:a16="http://schemas.microsoft.com/office/drawing/2014/main" id="{0B6B17BE-F3EA-473D-9394-A73F17A4B3BC}"/>
                </a:ext>
              </a:extLst>
            </p:cNvPr>
            <p:cNvSpPr>
              <a:spLocks/>
            </p:cNvSpPr>
            <p:nvPr>
              <p:custDataLst>
                <p:tags r:id="rId244"/>
              </p:custDataLst>
            </p:nvPr>
          </p:nvSpPr>
          <p:spPr bwMode="auto">
            <a:xfrm>
              <a:off x="5851525" y="2527300"/>
              <a:ext cx="53975" cy="60325"/>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grpFill/>
            <a:ln w="9525" cmpd="sng">
              <a:noFill/>
              <a:prstDash val="solid"/>
              <a:round/>
              <a:headEnd/>
              <a:tailEnd/>
            </a:ln>
          </p:spPr>
          <p:txBody>
            <a:bodyPr/>
            <a:lstStyle/>
            <a:p>
              <a:endParaRPr lang="en-US" sz="2178"/>
            </a:p>
          </p:txBody>
        </p:sp>
        <p:sp>
          <p:nvSpPr>
            <p:cNvPr id="254" name="Freeform 342">
              <a:extLst>
                <a:ext uri="{FF2B5EF4-FFF2-40B4-BE49-F238E27FC236}">
                  <a16:creationId xmlns:a16="http://schemas.microsoft.com/office/drawing/2014/main" id="{A0E1BE70-3D1D-4E8B-A743-CA35CE3D98CC}"/>
                </a:ext>
              </a:extLst>
            </p:cNvPr>
            <p:cNvSpPr>
              <a:spLocks/>
            </p:cNvSpPr>
            <p:nvPr>
              <p:custDataLst>
                <p:tags r:id="rId245"/>
              </p:custDataLst>
            </p:nvPr>
          </p:nvSpPr>
          <p:spPr bwMode="auto">
            <a:xfrm>
              <a:off x="4308475" y="1931988"/>
              <a:ext cx="220663" cy="177800"/>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grpFill/>
            <a:ln w="9525" cap="flat" cmpd="sng">
              <a:noFill/>
              <a:prstDash val="solid"/>
              <a:round/>
              <a:headEnd type="none" w="med" len="med"/>
              <a:tailEnd type="none" w="med" len="med"/>
            </a:ln>
            <a:effectLst/>
          </p:spPr>
          <p:txBody>
            <a:bodyPr/>
            <a:lstStyle/>
            <a:p>
              <a:endParaRPr lang="en-US" sz="2178"/>
            </a:p>
          </p:txBody>
        </p:sp>
        <p:sp>
          <p:nvSpPr>
            <p:cNvPr id="255" name="Freeform 343">
              <a:extLst>
                <a:ext uri="{FF2B5EF4-FFF2-40B4-BE49-F238E27FC236}">
                  <a16:creationId xmlns:a16="http://schemas.microsoft.com/office/drawing/2014/main" id="{57A4CF26-C564-4F7F-9EB1-C688BB8F8DC6}"/>
                </a:ext>
              </a:extLst>
            </p:cNvPr>
            <p:cNvSpPr>
              <a:spLocks/>
            </p:cNvSpPr>
            <p:nvPr>
              <p:custDataLst>
                <p:tags r:id="rId246"/>
              </p:custDataLst>
            </p:nvPr>
          </p:nvSpPr>
          <p:spPr bwMode="auto">
            <a:xfrm>
              <a:off x="4371975" y="2136775"/>
              <a:ext cx="146050" cy="71438"/>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grpFill/>
            <a:ln w="9525" cap="flat" cmpd="sng">
              <a:noFill/>
              <a:prstDash val="solid"/>
              <a:round/>
              <a:headEnd type="none" w="med" len="med"/>
              <a:tailEnd type="none" w="med" len="med"/>
            </a:ln>
            <a:effectLst/>
          </p:spPr>
          <p:txBody>
            <a:bodyPr/>
            <a:lstStyle/>
            <a:p>
              <a:endParaRPr lang="en-US" sz="2178"/>
            </a:p>
          </p:txBody>
        </p:sp>
        <p:sp>
          <p:nvSpPr>
            <p:cNvPr id="256" name="Freeform 344">
              <a:extLst>
                <a:ext uri="{FF2B5EF4-FFF2-40B4-BE49-F238E27FC236}">
                  <a16:creationId xmlns:a16="http://schemas.microsoft.com/office/drawing/2014/main" id="{03EF8DBA-DB8F-496B-9968-4CEB6D2B2877}"/>
                </a:ext>
              </a:extLst>
            </p:cNvPr>
            <p:cNvSpPr>
              <a:spLocks/>
            </p:cNvSpPr>
            <p:nvPr>
              <p:custDataLst>
                <p:tags r:id="rId247"/>
              </p:custDataLst>
            </p:nvPr>
          </p:nvSpPr>
          <p:spPr bwMode="auto">
            <a:xfrm>
              <a:off x="4471988" y="1792288"/>
              <a:ext cx="111125" cy="65087"/>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grpFill/>
            <a:ln w="9525" cap="flat" cmpd="sng">
              <a:noFill/>
              <a:prstDash val="solid"/>
              <a:round/>
              <a:headEnd type="none" w="med" len="med"/>
              <a:tailEnd type="none" w="med" len="med"/>
            </a:ln>
            <a:effectLst/>
          </p:spPr>
          <p:txBody>
            <a:bodyPr/>
            <a:lstStyle/>
            <a:p>
              <a:endParaRPr lang="en-US" sz="2178"/>
            </a:p>
          </p:txBody>
        </p:sp>
        <p:sp>
          <p:nvSpPr>
            <p:cNvPr id="257" name="Freeform 345">
              <a:extLst>
                <a:ext uri="{FF2B5EF4-FFF2-40B4-BE49-F238E27FC236}">
                  <a16:creationId xmlns:a16="http://schemas.microsoft.com/office/drawing/2014/main" id="{5F905F3A-6DF0-4130-BA82-DB726DE02D04}"/>
                </a:ext>
              </a:extLst>
            </p:cNvPr>
            <p:cNvSpPr>
              <a:spLocks/>
            </p:cNvSpPr>
            <p:nvPr>
              <p:custDataLst>
                <p:tags r:id="rId248"/>
              </p:custDataLst>
            </p:nvPr>
          </p:nvSpPr>
          <p:spPr bwMode="auto">
            <a:xfrm>
              <a:off x="4484688" y="2139950"/>
              <a:ext cx="179387" cy="142875"/>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grpFill/>
            <a:ln w="9525" cap="flat" cmpd="sng">
              <a:noFill/>
              <a:prstDash val="solid"/>
              <a:round/>
              <a:headEnd type="none" w="med" len="med"/>
              <a:tailEnd type="none" w="med" len="med"/>
            </a:ln>
            <a:effectLst/>
          </p:spPr>
          <p:txBody>
            <a:bodyPr/>
            <a:lstStyle/>
            <a:p>
              <a:endParaRPr lang="en-US" sz="2178"/>
            </a:p>
          </p:txBody>
        </p:sp>
        <p:sp>
          <p:nvSpPr>
            <p:cNvPr id="258" name="Freeform 346">
              <a:extLst>
                <a:ext uri="{FF2B5EF4-FFF2-40B4-BE49-F238E27FC236}">
                  <a16:creationId xmlns:a16="http://schemas.microsoft.com/office/drawing/2014/main" id="{DDC38F41-F2EB-4D38-A0EA-898687004744}"/>
                </a:ext>
              </a:extLst>
            </p:cNvPr>
            <p:cNvSpPr>
              <a:spLocks/>
            </p:cNvSpPr>
            <p:nvPr>
              <p:custDataLst>
                <p:tags r:id="rId249"/>
              </p:custDataLst>
            </p:nvPr>
          </p:nvSpPr>
          <p:spPr bwMode="auto">
            <a:xfrm>
              <a:off x="2484438" y="3178175"/>
              <a:ext cx="14287" cy="55563"/>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grpFill/>
            <a:ln w="9525" cmpd="sng">
              <a:noFill/>
              <a:prstDash val="solid"/>
              <a:round/>
              <a:headEnd/>
              <a:tailEnd/>
            </a:ln>
          </p:spPr>
          <p:txBody>
            <a:bodyPr/>
            <a:lstStyle/>
            <a:p>
              <a:endParaRPr lang="en-US" sz="2178"/>
            </a:p>
          </p:txBody>
        </p:sp>
        <p:sp>
          <p:nvSpPr>
            <p:cNvPr id="259" name="Freeform 347">
              <a:extLst>
                <a:ext uri="{FF2B5EF4-FFF2-40B4-BE49-F238E27FC236}">
                  <a16:creationId xmlns:a16="http://schemas.microsoft.com/office/drawing/2014/main" id="{EDB2101C-97D6-4985-B8BD-B2B587126B97}"/>
                </a:ext>
              </a:extLst>
            </p:cNvPr>
            <p:cNvSpPr>
              <a:spLocks/>
            </p:cNvSpPr>
            <p:nvPr>
              <p:custDataLst>
                <p:tags r:id="rId250"/>
              </p:custDataLst>
            </p:nvPr>
          </p:nvSpPr>
          <p:spPr bwMode="auto">
            <a:xfrm>
              <a:off x="4589463" y="2132013"/>
              <a:ext cx="85725" cy="79375"/>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grpFill/>
            <a:ln w="9525" cmpd="sng">
              <a:noFill/>
              <a:prstDash val="solid"/>
              <a:round/>
              <a:headEnd/>
              <a:tailEnd/>
            </a:ln>
          </p:spPr>
          <p:txBody>
            <a:bodyPr/>
            <a:lstStyle/>
            <a:p>
              <a:endParaRPr lang="en-US" sz="2178"/>
            </a:p>
          </p:txBody>
        </p:sp>
        <p:sp>
          <p:nvSpPr>
            <p:cNvPr id="260" name="Freeform 348">
              <a:extLst>
                <a:ext uri="{FF2B5EF4-FFF2-40B4-BE49-F238E27FC236}">
                  <a16:creationId xmlns:a16="http://schemas.microsoft.com/office/drawing/2014/main" id="{5F9AB759-8D3D-49A0-B1BB-7A870DEDCD9E}"/>
                </a:ext>
              </a:extLst>
            </p:cNvPr>
            <p:cNvSpPr>
              <a:spLocks/>
            </p:cNvSpPr>
            <p:nvPr>
              <p:custDataLst>
                <p:tags r:id="rId251"/>
              </p:custDataLst>
            </p:nvPr>
          </p:nvSpPr>
          <p:spPr bwMode="auto">
            <a:xfrm>
              <a:off x="4506913" y="2014538"/>
              <a:ext cx="381000" cy="247650"/>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grpFill/>
            <a:ln w="9525" cap="flat" cmpd="sng">
              <a:noFill/>
              <a:prstDash val="solid"/>
              <a:round/>
              <a:headEnd type="none" w="med" len="med"/>
              <a:tailEnd type="none" w="med" len="med"/>
            </a:ln>
            <a:effectLst/>
          </p:spPr>
          <p:txBody>
            <a:bodyPr/>
            <a:lstStyle/>
            <a:p>
              <a:endParaRPr lang="en-US" sz="2178"/>
            </a:p>
          </p:txBody>
        </p:sp>
        <p:sp>
          <p:nvSpPr>
            <p:cNvPr id="261" name="Freeform 349">
              <a:extLst>
                <a:ext uri="{FF2B5EF4-FFF2-40B4-BE49-F238E27FC236}">
                  <a16:creationId xmlns:a16="http://schemas.microsoft.com/office/drawing/2014/main" id="{AF5127FD-FB23-40CB-9DF5-261A6E91E547}"/>
                </a:ext>
              </a:extLst>
            </p:cNvPr>
            <p:cNvSpPr>
              <a:spLocks/>
            </p:cNvSpPr>
            <p:nvPr>
              <p:custDataLst>
                <p:tags r:id="rId252"/>
              </p:custDataLst>
            </p:nvPr>
          </p:nvSpPr>
          <p:spPr bwMode="auto">
            <a:xfrm>
              <a:off x="5018088" y="2357438"/>
              <a:ext cx="47625" cy="63500"/>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grpFill/>
            <a:ln w="9525" cmpd="sng">
              <a:noFill/>
              <a:prstDash val="solid"/>
              <a:round/>
              <a:headEnd/>
              <a:tailEnd/>
            </a:ln>
          </p:spPr>
          <p:txBody>
            <a:bodyPr/>
            <a:lstStyle/>
            <a:p>
              <a:endParaRPr lang="en-US" sz="2178"/>
            </a:p>
          </p:txBody>
        </p:sp>
        <p:sp>
          <p:nvSpPr>
            <p:cNvPr id="262" name="Freeform 350">
              <a:extLst>
                <a:ext uri="{FF2B5EF4-FFF2-40B4-BE49-F238E27FC236}">
                  <a16:creationId xmlns:a16="http://schemas.microsoft.com/office/drawing/2014/main" id="{1BF41936-F29E-46B0-AA54-CF6407F22F50}"/>
                </a:ext>
              </a:extLst>
            </p:cNvPr>
            <p:cNvSpPr>
              <a:spLocks/>
            </p:cNvSpPr>
            <p:nvPr>
              <p:custDataLst>
                <p:tags r:id="rId253"/>
              </p:custDataLst>
            </p:nvPr>
          </p:nvSpPr>
          <p:spPr bwMode="auto">
            <a:xfrm>
              <a:off x="5561013" y="2371725"/>
              <a:ext cx="207962" cy="122238"/>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grpFill/>
            <a:ln w="9525" cmpd="sng">
              <a:noFill/>
              <a:prstDash val="solid"/>
              <a:round/>
              <a:headEnd/>
              <a:tailEnd/>
            </a:ln>
          </p:spPr>
          <p:txBody>
            <a:bodyPr/>
            <a:lstStyle/>
            <a:p>
              <a:endParaRPr lang="en-US" sz="2178"/>
            </a:p>
          </p:txBody>
        </p:sp>
        <p:sp>
          <p:nvSpPr>
            <p:cNvPr id="263" name="Freeform 351">
              <a:extLst>
                <a:ext uri="{FF2B5EF4-FFF2-40B4-BE49-F238E27FC236}">
                  <a16:creationId xmlns:a16="http://schemas.microsoft.com/office/drawing/2014/main" id="{E2AF2CBD-AD35-4E58-93DA-AC66EB46212A}"/>
                </a:ext>
              </a:extLst>
            </p:cNvPr>
            <p:cNvSpPr>
              <a:spLocks/>
            </p:cNvSpPr>
            <p:nvPr>
              <p:custDataLst>
                <p:tags r:id="rId254"/>
              </p:custDataLst>
            </p:nvPr>
          </p:nvSpPr>
          <p:spPr bwMode="auto">
            <a:xfrm>
              <a:off x="5610225" y="2300288"/>
              <a:ext cx="225425" cy="125412"/>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grpFill/>
            <a:ln w="9525" cmpd="sng">
              <a:noFill/>
              <a:prstDash val="solid"/>
              <a:round/>
              <a:headEnd/>
              <a:tailEnd/>
            </a:ln>
          </p:spPr>
          <p:txBody>
            <a:bodyPr/>
            <a:lstStyle/>
            <a:p>
              <a:endParaRPr lang="en-US" sz="2178"/>
            </a:p>
          </p:txBody>
        </p:sp>
        <p:sp>
          <p:nvSpPr>
            <p:cNvPr id="264" name="Freeform 352">
              <a:extLst>
                <a:ext uri="{FF2B5EF4-FFF2-40B4-BE49-F238E27FC236}">
                  <a16:creationId xmlns:a16="http://schemas.microsoft.com/office/drawing/2014/main" id="{F2920D40-B78E-4D69-9DE9-65AEC17C6ACA}"/>
                </a:ext>
              </a:extLst>
            </p:cNvPr>
            <p:cNvSpPr>
              <a:spLocks/>
            </p:cNvSpPr>
            <p:nvPr>
              <p:custDataLst>
                <p:tags r:id="rId255"/>
              </p:custDataLst>
            </p:nvPr>
          </p:nvSpPr>
          <p:spPr bwMode="auto">
            <a:xfrm>
              <a:off x="5216525" y="2316163"/>
              <a:ext cx="342900" cy="227012"/>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grpFill/>
            <a:ln w="9525" cmpd="sng">
              <a:noFill/>
              <a:prstDash val="solid"/>
              <a:round/>
              <a:headEnd/>
              <a:tailEnd/>
            </a:ln>
          </p:spPr>
          <p:txBody>
            <a:bodyPr/>
            <a:lstStyle/>
            <a:p>
              <a:endParaRPr lang="en-US" sz="2178"/>
            </a:p>
          </p:txBody>
        </p:sp>
        <p:sp>
          <p:nvSpPr>
            <p:cNvPr id="265" name="Freeform 353">
              <a:extLst>
                <a:ext uri="{FF2B5EF4-FFF2-40B4-BE49-F238E27FC236}">
                  <a16:creationId xmlns:a16="http://schemas.microsoft.com/office/drawing/2014/main" id="{045BC121-8267-4BFA-8753-AB082B66C0DA}"/>
                </a:ext>
              </a:extLst>
            </p:cNvPr>
            <p:cNvSpPr>
              <a:spLocks/>
            </p:cNvSpPr>
            <p:nvPr>
              <p:custDataLst>
                <p:tags r:id="rId256"/>
              </p:custDataLst>
            </p:nvPr>
          </p:nvSpPr>
          <p:spPr bwMode="auto">
            <a:xfrm>
              <a:off x="4425950" y="2203450"/>
              <a:ext cx="107950" cy="14922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grpFill/>
            <a:ln w="9525" cap="flat" cmpd="sng">
              <a:noFill/>
              <a:prstDash val="solid"/>
              <a:round/>
              <a:headEnd type="none" w="med" len="med"/>
              <a:tailEnd type="none" w="med" len="med"/>
            </a:ln>
            <a:effectLst/>
          </p:spPr>
          <p:txBody>
            <a:bodyPr/>
            <a:lstStyle/>
            <a:p>
              <a:endParaRPr lang="en-US" sz="2178"/>
            </a:p>
          </p:txBody>
        </p:sp>
        <p:sp>
          <p:nvSpPr>
            <p:cNvPr id="266" name="Freeform 354">
              <a:extLst>
                <a:ext uri="{FF2B5EF4-FFF2-40B4-BE49-F238E27FC236}">
                  <a16:creationId xmlns:a16="http://schemas.microsoft.com/office/drawing/2014/main" id="{D3A2FDA4-7CF1-4734-A053-C6B0E6873B54}"/>
                </a:ext>
              </a:extLst>
            </p:cNvPr>
            <p:cNvSpPr>
              <a:spLocks/>
            </p:cNvSpPr>
            <p:nvPr>
              <p:custDataLst>
                <p:tags r:id="rId257"/>
              </p:custDataLst>
            </p:nvPr>
          </p:nvSpPr>
          <p:spPr bwMode="auto">
            <a:xfrm>
              <a:off x="4473575" y="2311400"/>
              <a:ext cx="68263" cy="60325"/>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grpFill/>
            <a:ln w="9525" cap="flat" cmpd="sng">
              <a:noFill/>
              <a:prstDash val="solid"/>
              <a:round/>
              <a:headEnd type="none" w="med" len="med"/>
              <a:tailEnd type="none" w="med" len="med"/>
            </a:ln>
            <a:effectLst/>
          </p:spPr>
          <p:txBody>
            <a:bodyPr/>
            <a:lstStyle/>
            <a:p>
              <a:endParaRPr lang="en-US" sz="2178"/>
            </a:p>
          </p:txBody>
        </p:sp>
        <p:sp>
          <p:nvSpPr>
            <p:cNvPr id="267" name="Freeform 355">
              <a:extLst>
                <a:ext uri="{FF2B5EF4-FFF2-40B4-BE49-F238E27FC236}">
                  <a16:creationId xmlns:a16="http://schemas.microsoft.com/office/drawing/2014/main" id="{7621D95D-1A6D-4D52-9081-EA894B9FC27C}"/>
                </a:ext>
              </a:extLst>
            </p:cNvPr>
            <p:cNvSpPr>
              <a:spLocks/>
            </p:cNvSpPr>
            <p:nvPr>
              <p:custDataLst>
                <p:tags r:id="rId258"/>
              </p:custDataLst>
            </p:nvPr>
          </p:nvSpPr>
          <p:spPr bwMode="auto">
            <a:xfrm>
              <a:off x="4557713" y="2935288"/>
              <a:ext cx="411162" cy="611187"/>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9525" cmpd="sng">
              <a:noFill/>
              <a:prstDash val="solid"/>
              <a:round/>
              <a:headEnd/>
              <a:tailEnd/>
            </a:ln>
          </p:spPr>
          <p:txBody>
            <a:bodyPr/>
            <a:lstStyle/>
            <a:p>
              <a:endParaRPr lang="en-US" sz="2178"/>
            </a:p>
          </p:txBody>
        </p:sp>
        <p:sp>
          <p:nvSpPr>
            <p:cNvPr id="268" name="Freeform 356">
              <a:extLst>
                <a:ext uri="{FF2B5EF4-FFF2-40B4-BE49-F238E27FC236}">
                  <a16:creationId xmlns:a16="http://schemas.microsoft.com/office/drawing/2014/main" id="{2FD71F44-41CD-48CB-85A7-25E90A430F26}"/>
                </a:ext>
              </a:extLst>
            </p:cNvPr>
            <p:cNvSpPr>
              <a:spLocks/>
            </p:cNvSpPr>
            <p:nvPr>
              <p:custDataLst>
                <p:tags r:id="rId259"/>
              </p:custDataLst>
            </p:nvPr>
          </p:nvSpPr>
          <p:spPr bwMode="auto">
            <a:xfrm>
              <a:off x="5041900" y="3275013"/>
              <a:ext cx="244475" cy="431800"/>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grpFill/>
            <a:ln w="9525" cmpd="sng">
              <a:noFill/>
              <a:prstDash val="solid"/>
              <a:round/>
              <a:headEnd/>
              <a:tailEnd/>
            </a:ln>
          </p:spPr>
          <p:txBody>
            <a:bodyPr/>
            <a:lstStyle/>
            <a:p>
              <a:endParaRPr lang="en-US" sz="2178"/>
            </a:p>
          </p:txBody>
        </p:sp>
        <p:sp>
          <p:nvSpPr>
            <p:cNvPr id="269" name="Freeform 357">
              <a:extLst>
                <a:ext uri="{FF2B5EF4-FFF2-40B4-BE49-F238E27FC236}">
                  <a16:creationId xmlns:a16="http://schemas.microsoft.com/office/drawing/2014/main" id="{31C09D09-3653-4744-A362-916D9BD6A112}"/>
                </a:ext>
              </a:extLst>
            </p:cNvPr>
            <p:cNvSpPr>
              <a:spLocks/>
            </p:cNvSpPr>
            <p:nvPr>
              <p:custDataLst>
                <p:tags r:id="rId260"/>
              </p:custDataLst>
            </p:nvPr>
          </p:nvSpPr>
          <p:spPr bwMode="auto">
            <a:xfrm>
              <a:off x="5049838" y="3262313"/>
              <a:ext cx="38100" cy="58737"/>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grpFill/>
            <a:ln w="9525" cmpd="sng">
              <a:noFill/>
              <a:prstDash val="solid"/>
              <a:round/>
              <a:headEnd/>
              <a:tailEnd/>
            </a:ln>
          </p:spPr>
          <p:txBody>
            <a:bodyPr/>
            <a:lstStyle/>
            <a:p>
              <a:endParaRPr lang="en-US" sz="2178"/>
            </a:p>
          </p:txBody>
        </p:sp>
        <p:sp>
          <p:nvSpPr>
            <p:cNvPr id="270" name="Freeform 358">
              <a:extLst>
                <a:ext uri="{FF2B5EF4-FFF2-40B4-BE49-F238E27FC236}">
                  <a16:creationId xmlns:a16="http://schemas.microsoft.com/office/drawing/2014/main" id="{C2558FC1-A223-4168-AAE6-85F2EF923F66}"/>
                </a:ext>
              </a:extLst>
            </p:cNvPr>
            <p:cNvSpPr>
              <a:spLocks/>
            </p:cNvSpPr>
            <p:nvPr>
              <p:custDataLst>
                <p:tags r:id="rId261"/>
              </p:custDataLst>
            </p:nvPr>
          </p:nvSpPr>
          <p:spPr bwMode="auto">
            <a:xfrm>
              <a:off x="4848225" y="3173413"/>
              <a:ext cx="363538" cy="376237"/>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grpFill/>
            <a:ln w="9525" cmpd="sng">
              <a:noFill/>
              <a:prstDash val="solid"/>
              <a:round/>
              <a:headEnd/>
              <a:tailEnd/>
            </a:ln>
          </p:spPr>
          <p:txBody>
            <a:bodyPr/>
            <a:lstStyle/>
            <a:p>
              <a:endParaRPr lang="en-US" sz="2178"/>
            </a:p>
          </p:txBody>
        </p:sp>
        <p:sp>
          <p:nvSpPr>
            <p:cNvPr id="271" name="Line 359">
              <a:extLst>
                <a:ext uri="{FF2B5EF4-FFF2-40B4-BE49-F238E27FC236}">
                  <a16:creationId xmlns:a16="http://schemas.microsoft.com/office/drawing/2014/main" id="{4D147967-DFAA-4D07-98C3-0A5BDDCD08FF}"/>
                </a:ext>
              </a:extLst>
            </p:cNvPr>
            <p:cNvSpPr>
              <a:spLocks noChangeShapeType="1"/>
            </p:cNvSpPr>
            <p:nvPr>
              <p:custDataLst>
                <p:tags r:id="rId262"/>
              </p:custDataLst>
            </p:nvPr>
          </p:nvSpPr>
          <p:spPr bwMode="auto">
            <a:xfrm flipH="1">
              <a:off x="1708150" y="3692525"/>
              <a:ext cx="4763" cy="7938"/>
            </a:xfrm>
            <a:prstGeom prst="line">
              <a:avLst/>
            </a:prstGeom>
            <a:grpFill/>
            <a:ln w="9525">
              <a:noFill/>
              <a:round/>
              <a:headEnd/>
              <a:tailEnd/>
            </a:ln>
          </p:spPr>
          <p:txBody>
            <a:bodyPr/>
            <a:lstStyle/>
            <a:p>
              <a:endParaRPr lang="en-US" sz="2178"/>
            </a:p>
          </p:txBody>
        </p:sp>
        <p:sp>
          <p:nvSpPr>
            <p:cNvPr id="272" name="Freeform 360">
              <a:extLst>
                <a:ext uri="{FF2B5EF4-FFF2-40B4-BE49-F238E27FC236}">
                  <a16:creationId xmlns:a16="http://schemas.microsoft.com/office/drawing/2014/main" id="{7642F0D8-D970-4636-9750-51B86D1F04BD}"/>
                </a:ext>
              </a:extLst>
            </p:cNvPr>
            <p:cNvSpPr>
              <a:spLocks/>
            </p:cNvSpPr>
            <p:nvPr>
              <p:custDataLst>
                <p:tags r:id="rId263"/>
              </p:custDataLst>
            </p:nvPr>
          </p:nvSpPr>
          <p:spPr bwMode="auto">
            <a:xfrm>
              <a:off x="1708150" y="3700463"/>
              <a:ext cx="12700" cy="58737"/>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grpFill/>
            <a:ln w="9525" cmpd="sng">
              <a:noFill/>
              <a:prstDash val="solid"/>
              <a:round/>
              <a:headEnd/>
              <a:tailEnd/>
            </a:ln>
          </p:spPr>
          <p:txBody>
            <a:bodyPr/>
            <a:lstStyle/>
            <a:p>
              <a:endParaRPr lang="en-US" sz="2178"/>
            </a:p>
          </p:txBody>
        </p:sp>
        <p:sp>
          <p:nvSpPr>
            <p:cNvPr id="273" name="Freeform 361">
              <a:extLst>
                <a:ext uri="{FF2B5EF4-FFF2-40B4-BE49-F238E27FC236}">
                  <a16:creationId xmlns:a16="http://schemas.microsoft.com/office/drawing/2014/main" id="{CE610CCF-49A5-4F0F-9365-AE822EE69602}"/>
                </a:ext>
              </a:extLst>
            </p:cNvPr>
            <p:cNvSpPr>
              <a:spLocks/>
            </p:cNvSpPr>
            <p:nvPr>
              <p:custDataLst>
                <p:tags r:id="rId264"/>
              </p:custDataLst>
            </p:nvPr>
          </p:nvSpPr>
          <p:spPr bwMode="auto">
            <a:xfrm>
              <a:off x="1716088" y="3687763"/>
              <a:ext cx="4762" cy="57150"/>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grpFill/>
            <a:ln w="9525" cmpd="sng">
              <a:noFill/>
              <a:prstDash val="solid"/>
              <a:round/>
              <a:headEnd/>
              <a:tailEnd/>
            </a:ln>
          </p:spPr>
          <p:txBody>
            <a:bodyPr/>
            <a:lstStyle/>
            <a:p>
              <a:endParaRPr lang="en-US" sz="2178"/>
            </a:p>
          </p:txBody>
        </p:sp>
        <p:grpSp>
          <p:nvGrpSpPr>
            <p:cNvPr id="274" name="Group 362">
              <a:extLst>
                <a:ext uri="{FF2B5EF4-FFF2-40B4-BE49-F238E27FC236}">
                  <a16:creationId xmlns:a16="http://schemas.microsoft.com/office/drawing/2014/main" id="{0A1687C8-29F0-4BB4-9902-DC6F2FC83918}"/>
                </a:ext>
              </a:extLst>
            </p:cNvPr>
            <p:cNvGrpSpPr>
              <a:grpSpLocks/>
            </p:cNvGrpSpPr>
            <p:nvPr>
              <p:custDataLst>
                <p:tags r:id="rId265"/>
              </p:custDataLst>
            </p:nvPr>
          </p:nvGrpSpPr>
          <p:grpSpPr bwMode="auto">
            <a:xfrm>
              <a:off x="1708150" y="3622675"/>
              <a:ext cx="417513" cy="201613"/>
              <a:chOff x="912" y="2626"/>
              <a:chExt cx="311" cy="127"/>
            </a:xfrm>
            <a:grpFill/>
          </p:grpSpPr>
          <p:sp>
            <p:nvSpPr>
              <p:cNvPr id="460" name="Freeform 363">
                <a:extLst>
                  <a:ext uri="{FF2B5EF4-FFF2-40B4-BE49-F238E27FC236}">
                    <a16:creationId xmlns:a16="http://schemas.microsoft.com/office/drawing/2014/main" id="{745D5695-5CBD-4B46-BF38-6D0AA0F06BAC}"/>
                  </a:ext>
                </a:extLst>
              </p:cNvPr>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61" name="Freeform 364">
                <a:extLst>
                  <a:ext uri="{FF2B5EF4-FFF2-40B4-BE49-F238E27FC236}">
                    <a16:creationId xmlns:a16="http://schemas.microsoft.com/office/drawing/2014/main" id="{8BE57479-76EA-4B79-A294-C532AAE74C95}"/>
                  </a:ext>
                </a:extLst>
              </p:cNvPr>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62" name="Freeform 365">
                <a:extLst>
                  <a:ext uri="{FF2B5EF4-FFF2-40B4-BE49-F238E27FC236}">
                    <a16:creationId xmlns:a16="http://schemas.microsoft.com/office/drawing/2014/main" id="{25AD1905-64AF-4DE9-B849-C4640A552CE7}"/>
                  </a:ext>
                </a:extLst>
              </p:cNvPr>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grpSp>
        <p:sp>
          <p:nvSpPr>
            <p:cNvPr id="275" name="Freeform 366">
              <a:extLst>
                <a:ext uri="{FF2B5EF4-FFF2-40B4-BE49-F238E27FC236}">
                  <a16:creationId xmlns:a16="http://schemas.microsoft.com/office/drawing/2014/main" id="{AC8E12C8-A026-4413-92D6-8AECE6C8D3BC}"/>
                </a:ext>
              </a:extLst>
            </p:cNvPr>
            <p:cNvSpPr>
              <a:spLocks/>
            </p:cNvSpPr>
            <p:nvPr>
              <p:custDataLst>
                <p:tags r:id="rId266"/>
              </p:custDataLst>
            </p:nvPr>
          </p:nvSpPr>
          <p:spPr bwMode="auto">
            <a:xfrm>
              <a:off x="5356225" y="4340225"/>
              <a:ext cx="19050" cy="58738"/>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grpFill/>
            <a:ln w="9525" cmpd="sng">
              <a:noFill/>
              <a:prstDash val="solid"/>
              <a:round/>
              <a:headEnd/>
              <a:tailEnd/>
            </a:ln>
          </p:spPr>
          <p:txBody>
            <a:bodyPr/>
            <a:lstStyle/>
            <a:p>
              <a:endParaRPr lang="en-US" sz="2178"/>
            </a:p>
          </p:txBody>
        </p:sp>
        <p:sp>
          <p:nvSpPr>
            <p:cNvPr id="276" name="Freeform 367">
              <a:extLst>
                <a:ext uri="{FF2B5EF4-FFF2-40B4-BE49-F238E27FC236}">
                  <a16:creationId xmlns:a16="http://schemas.microsoft.com/office/drawing/2014/main" id="{FE7298C8-45C4-4594-947D-93F5574FEE17}"/>
                </a:ext>
              </a:extLst>
            </p:cNvPr>
            <p:cNvSpPr>
              <a:spLocks/>
            </p:cNvSpPr>
            <p:nvPr>
              <p:custDataLst>
                <p:tags r:id="rId267"/>
              </p:custDataLst>
            </p:nvPr>
          </p:nvSpPr>
          <p:spPr bwMode="auto">
            <a:xfrm>
              <a:off x="5327650" y="4367213"/>
              <a:ext cx="23813" cy="57150"/>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grpFill/>
            <a:ln w="9525" cmpd="sng">
              <a:noFill/>
              <a:prstDash val="solid"/>
              <a:round/>
              <a:headEnd/>
              <a:tailEnd/>
            </a:ln>
          </p:spPr>
          <p:txBody>
            <a:bodyPr/>
            <a:lstStyle/>
            <a:p>
              <a:endParaRPr lang="en-US" sz="2178"/>
            </a:p>
          </p:txBody>
        </p:sp>
        <p:grpSp>
          <p:nvGrpSpPr>
            <p:cNvPr id="277" name="Group 368">
              <a:extLst>
                <a:ext uri="{FF2B5EF4-FFF2-40B4-BE49-F238E27FC236}">
                  <a16:creationId xmlns:a16="http://schemas.microsoft.com/office/drawing/2014/main" id="{C4DB9D7B-15C6-45F8-B766-E1B477A50145}"/>
                </a:ext>
              </a:extLst>
            </p:cNvPr>
            <p:cNvGrpSpPr>
              <a:grpSpLocks/>
            </p:cNvGrpSpPr>
            <p:nvPr>
              <p:custDataLst>
                <p:tags r:id="rId268"/>
              </p:custDataLst>
            </p:nvPr>
          </p:nvGrpSpPr>
          <p:grpSpPr bwMode="auto">
            <a:xfrm>
              <a:off x="5168900" y="3859213"/>
              <a:ext cx="168275" cy="103187"/>
              <a:chOff x="3481" y="2773"/>
              <a:chExt cx="125" cy="65"/>
            </a:xfrm>
            <a:grpFill/>
          </p:grpSpPr>
          <p:sp>
            <p:nvSpPr>
              <p:cNvPr id="449" name="Freeform 369">
                <a:extLst>
                  <a:ext uri="{FF2B5EF4-FFF2-40B4-BE49-F238E27FC236}">
                    <a16:creationId xmlns:a16="http://schemas.microsoft.com/office/drawing/2014/main" id="{DEF11024-EB8B-4900-BB90-1E3E4E9A5579}"/>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noFill/>
                <a:prstDash val="solid"/>
                <a:round/>
                <a:headEnd/>
                <a:tailEnd/>
              </a:ln>
            </p:spPr>
            <p:txBody>
              <a:bodyPr/>
              <a:lstStyle/>
              <a:p>
                <a:endParaRPr lang="en-US" sz="2178"/>
              </a:p>
            </p:txBody>
          </p:sp>
          <p:sp>
            <p:nvSpPr>
              <p:cNvPr id="450" name="Line 370">
                <a:extLst>
                  <a:ext uri="{FF2B5EF4-FFF2-40B4-BE49-F238E27FC236}">
                    <a16:creationId xmlns:a16="http://schemas.microsoft.com/office/drawing/2014/main" id="{FF42D301-5CE5-470B-95F3-7338F872948A}"/>
                  </a:ext>
                </a:extLst>
              </p:cNvPr>
              <p:cNvSpPr>
                <a:spLocks noChangeShapeType="1"/>
              </p:cNvSpPr>
              <p:nvPr/>
            </p:nvSpPr>
            <p:spPr bwMode="auto">
              <a:xfrm>
                <a:off x="3583" y="2800"/>
                <a:ext cx="2" cy="1"/>
              </a:xfrm>
              <a:prstGeom prst="line">
                <a:avLst/>
              </a:prstGeom>
              <a:grpFill/>
              <a:ln w="9525">
                <a:noFill/>
                <a:round/>
                <a:headEnd/>
                <a:tailEnd/>
              </a:ln>
            </p:spPr>
            <p:txBody>
              <a:bodyPr/>
              <a:lstStyle/>
              <a:p>
                <a:endParaRPr lang="en-US" sz="2178"/>
              </a:p>
            </p:txBody>
          </p:sp>
          <p:sp>
            <p:nvSpPr>
              <p:cNvPr id="451" name="Freeform 371">
                <a:extLst>
                  <a:ext uri="{FF2B5EF4-FFF2-40B4-BE49-F238E27FC236}">
                    <a16:creationId xmlns:a16="http://schemas.microsoft.com/office/drawing/2014/main" id="{443C78F7-FFC5-4531-9608-D8D5E73FDA0B}"/>
                  </a:ext>
                </a:extLst>
              </p:cNvPr>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9525" cmpd="sng">
                <a:noFill/>
                <a:prstDash val="solid"/>
                <a:round/>
                <a:headEnd/>
                <a:tailEnd/>
              </a:ln>
            </p:spPr>
            <p:txBody>
              <a:bodyPr/>
              <a:lstStyle/>
              <a:p>
                <a:endParaRPr lang="en-US" sz="2178"/>
              </a:p>
            </p:txBody>
          </p:sp>
          <p:sp>
            <p:nvSpPr>
              <p:cNvPr id="452" name="Freeform 372">
                <a:extLst>
                  <a:ext uri="{FF2B5EF4-FFF2-40B4-BE49-F238E27FC236}">
                    <a16:creationId xmlns:a16="http://schemas.microsoft.com/office/drawing/2014/main" id="{4BB7568A-EFC6-4AA5-A9A6-A62E3017C40F}"/>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9525" cmpd="sng">
                <a:noFill/>
                <a:prstDash val="solid"/>
                <a:round/>
                <a:headEnd/>
                <a:tailEnd/>
              </a:ln>
            </p:spPr>
            <p:txBody>
              <a:bodyPr/>
              <a:lstStyle/>
              <a:p>
                <a:endParaRPr lang="en-US" sz="2178"/>
              </a:p>
            </p:txBody>
          </p:sp>
          <p:sp>
            <p:nvSpPr>
              <p:cNvPr id="453" name="Freeform 373">
                <a:extLst>
                  <a:ext uri="{FF2B5EF4-FFF2-40B4-BE49-F238E27FC236}">
                    <a16:creationId xmlns:a16="http://schemas.microsoft.com/office/drawing/2014/main" id="{CD30BE86-0407-4B9C-8FE7-50A4F696ECD5}"/>
                  </a:ext>
                </a:extLst>
              </p:cNvPr>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noFill/>
                <a:prstDash val="solid"/>
                <a:round/>
                <a:headEnd/>
                <a:tailEnd/>
              </a:ln>
            </p:spPr>
            <p:txBody>
              <a:bodyPr/>
              <a:lstStyle/>
              <a:p>
                <a:endParaRPr lang="en-US" sz="2178"/>
              </a:p>
            </p:txBody>
          </p:sp>
          <p:sp>
            <p:nvSpPr>
              <p:cNvPr id="454" name="Line 374">
                <a:extLst>
                  <a:ext uri="{FF2B5EF4-FFF2-40B4-BE49-F238E27FC236}">
                    <a16:creationId xmlns:a16="http://schemas.microsoft.com/office/drawing/2014/main" id="{D04CD417-2052-4558-8260-3E1954B55309}"/>
                  </a:ext>
                </a:extLst>
              </p:cNvPr>
              <p:cNvSpPr>
                <a:spLocks noChangeShapeType="1"/>
              </p:cNvSpPr>
              <p:nvPr/>
            </p:nvSpPr>
            <p:spPr bwMode="auto">
              <a:xfrm>
                <a:off x="3603" y="2773"/>
                <a:ext cx="1" cy="2"/>
              </a:xfrm>
              <a:prstGeom prst="line">
                <a:avLst/>
              </a:prstGeom>
              <a:grpFill/>
              <a:ln w="9525">
                <a:noFill/>
                <a:round/>
                <a:headEnd/>
                <a:tailEnd/>
              </a:ln>
            </p:spPr>
            <p:txBody>
              <a:bodyPr/>
              <a:lstStyle/>
              <a:p>
                <a:endParaRPr lang="en-US" sz="2178"/>
              </a:p>
            </p:txBody>
          </p:sp>
          <p:sp>
            <p:nvSpPr>
              <p:cNvPr id="455" name="Freeform 375">
                <a:extLst>
                  <a:ext uri="{FF2B5EF4-FFF2-40B4-BE49-F238E27FC236}">
                    <a16:creationId xmlns:a16="http://schemas.microsoft.com/office/drawing/2014/main" id="{9A587817-FA43-4F5D-B1A5-3CC56B4FA41A}"/>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9525" cmpd="sng">
                <a:noFill/>
                <a:prstDash val="solid"/>
                <a:round/>
                <a:headEnd/>
                <a:tailEnd/>
              </a:ln>
            </p:spPr>
            <p:txBody>
              <a:bodyPr/>
              <a:lstStyle/>
              <a:p>
                <a:endParaRPr lang="en-US" sz="2178"/>
              </a:p>
            </p:txBody>
          </p:sp>
          <p:sp>
            <p:nvSpPr>
              <p:cNvPr id="456" name="Freeform 376">
                <a:extLst>
                  <a:ext uri="{FF2B5EF4-FFF2-40B4-BE49-F238E27FC236}">
                    <a16:creationId xmlns:a16="http://schemas.microsoft.com/office/drawing/2014/main" id="{7D8E8DE2-184C-47C0-BEC9-9A3D201CF279}"/>
                  </a:ext>
                </a:extLst>
              </p:cNvPr>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9525" cmpd="sng">
                <a:noFill/>
                <a:prstDash val="solid"/>
                <a:round/>
                <a:headEnd/>
                <a:tailEnd/>
              </a:ln>
            </p:spPr>
            <p:txBody>
              <a:bodyPr/>
              <a:lstStyle/>
              <a:p>
                <a:endParaRPr lang="en-US" sz="2178"/>
              </a:p>
            </p:txBody>
          </p:sp>
          <p:sp>
            <p:nvSpPr>
              <p:cNvPr id="457" name="Freeform 377">
                <a:extLst>
                  <a:ext uri="{FF2B5EF4-FFF2-40B4-BE49-F238E27FC236}">
                    <a16:creationId xmlns:a16="http://schemas.microsoft.com/office/drawing/2014/main" id="{EBB1B36A-51B3-4D95-B7B0-1C83EEC45491}"/>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9525" cmpd="sng">
                <a:noFill/>
                <a:prstDash val="solid"/>
                <a:round/>
                <a:headEnd/>
                <a:tailEnd/>
              </a:ln>
            </p:spPr>
            <p:txBody>
              <a:bodyPr/>
              <a:lstStyle/>
              <a:p>
                <a:endParaRPr lang="en-US" sz="2178"/>
              </a:p>
            </p:txBody>
          </p:sp>
          <p:sp>
            <p:nvSpPr>
              <p:cNvPr id="458" name="Freeform 378">
                <a:extLst>
                  <a:ext uri="{FF2B5EF4-FFF2-40B4-BE49-F238E27FC236}">
                    <a16:creationId xmlns:a16="http://schemas.microsoft.com/office/drawing/2014/main" id="{D0DE6489-7786-43D4-9684-1BA8326E8BC7}"/>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9525" cmpd="sng">
                <a:noFill/>
                <a:prstDash val="solid"/>
                <a:round/>
                <a:headEnd/>
                <a:tailEnd/>
              </a:ln>
            </p:spPr>
            <p:txBody>
              <a:bodyPr/>
              <a:lstStyle/>
              <a:p>
                <a:endParaRPr lang="en-US" sz="2178"/>
              </a:p>
            </p:txBody>
          </p:sp>
          <p:sp>
            <p:nvSpPr>
              <p:cNvPr id="459" name="Freeform 379">
                <a:extLst>
                  <a:ext uri="{FF2B5EF4-FFF2-40B4-BE49-F238E27FC236}">
                    <a16:creationId xmlns:a16="http://schemas.microsoft.com/office/drawing/2014/main" id="{E9276537-6998-45B9-9B8B-0AA3EEB2C36B}"/>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noFill/>
                <a:prstDash val="solid"/>
                <a:round/>
                <a:headEnd/>
                <a:tailEnd/>
              </a:ln>
            </p:spPr>
            <p:txBody>
              <a:bodyPr/>
              <a:lstStyle/>
              <a:p>
                <a:endParaRPr lang="en-US" sz="2178"/>
              </a:p>
            </p:txBody>
          </p:sp>
        </p:grpSp>
        <p:sp>
          <p:nvSpPr>
            <p:cNvPr id="278" name="Freeform 380">
              <a:extLst>
                <a:ext uri="{FF2B5EF4-FFF2-40B4-BE49-F238E27FC236}">
                  <a16:creationId xmlns:a16="http://schemas.microsoft.com/office/drawing/2014/main" id="{E3ED21BD-9495-4E1F-95C7-9F57406171C3}"/>
                </a:ext>
              </a:extLst>
            </p:cNvPr>
            <p:cNvSpPr>
              <a:spLocks/>
            </p:cNvSpPr>
            <p:nvPr>
              <p:custDataLst>
                <p:tags r:id="rId269"/>
              </p:custDataLst>
            </p:nvPr>
          </p:nvSpPr>
          <p:spPr bwMode="auto">
            <a:xfrm>
              <a:off x="4297363" y="3851275"/>
              <a:ext cx="319087" cy="379413"/>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grpFill/>
            <a:ln w="9525" cmpd="sng">
              <a:noFill/>
              <a:prstDash val="solid"/>
              <a:round/>
              <a:headEnd/>
              <a:tailEnd/>
            </a:ln>
          </p:spPr>
          <p:txBody>
            <a:bodyPr/>
            <a:lstStyle/>
            <a:p>
              <a:endParaRPr lang="en-US" sz="2178"/>
            </a:p>
          </p:txBody>
        </p:sp>
        <p:sp>
          <p:nvSpPr>
            <p:cNvPr id="279" name="Freeform 381">
              <a:extLst>
                <a:ext uri="{FF2B5EF4-FFF2-40B4-BE49-F238E27FC236}">
                  <a16:creationId xmlns:a16="http://schemas.microsoft.com/office/drawing/2014/main" id="{09699C68-31F4-486C-A4F5-248D7011FF13}"/>
                </a:ext>
              </a:extLst>
            </p:cNvPr>
            <p:cNvSpPr>
              <a:spLocks/>
            </p:cNvSpPr>
            <p:nvPr>
              <p:custDataLst>
                <p:tags r:id="rId270"/>
              </p:custDataLst>
            </p:nvPr>
          </p:nvSpPr>
          <p:spPr bwMode="auto">
            <a:xfrm>
              <a:off x="4308475" y="3824288"/>
              <a:ext cx="15875" cy="60325"/>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grpFill/>
            <a:ln w="9525" cmpd="sng">
              <a:noFill/>
              <a:prstDash val="solid"/>
              <a:round/>
              <a:headEnd/>
              <a:tailEnd/>
            </a:ln>
          </p:spPr>
          <p:txBody>
            <a:bodyPr/>
            <a:lstStyle/>
            <a:p>
              <a:endParaRPr lang="en-US" sz="2178"/>
            </a:p>
          </p:txBody>
        </p:sp>
        <p:sp>
          <p:nvSpPr>
            <p:cNvPr id="280" name="Freeform 382">
              <a:extLst>
                <a:ext uri="{FF2B5EF4-FFF2-40B4-BE49-F238E27FC236}">
                  <a16:creationId xmlns:a16="http://schemas.microsoft.com/office/drawing/2014/main" id="{A477892D-4187-4E01-BA60-1119EF947AC5}"/>
                </a:ext>
              </a:extLst>
            </p:cNvPr>
            <p:cNvSpPr>
              <a:spLocks/>
            </p:cNvSpPr>
            <p:nvPr>
              <p:custDataLst>
                <p:tags r:id="rId271"/>
              </p:custDataLst>
            </p:nvPr>
          </p:nvSpPr>
          <p:spPr bwMode="auto">
            <a:xfrm>
              <a:off x="4410075" y="4367213"/>
              <a:ext cx="396875" cy="398462"/>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grpFill/>
            <a:ln w="9525" cap="flat" cmpd="sng">
              <a:noFill/>
              <a:prstDash val="solid"/>
              <a:round/>
              <a:headEnd type="none" w="med" len="med"/>
              <a:tailEnd type="none" w="med" len="med"/>
            </a:ln>
            <a:effectLst/>
          </p:spPr>
          <p:txBody>
            <a:bodyPr/>
            <a:lstStyle/>
            <a:p>
              <a:endParaRPr lang="en-US" sz="2178"/>
            </a:p>
          </p:txBody>
        </p:sp>
        <p:sp>
          <p:nvSpPr>
            <p:cNvPr id="281" name="Freeform 383">
              <a:extLst>
                <a:ext uri="{FF2B5EF4-FFF2-40B4-BE49-F238E27FC236}">
                  <a16:creationId xmlns:a16="http://schemas.microsoft.com/office/drawing/2014/main" id="{DF7152A3-2148-4140-9E17-039285611484}"/>
                </a:ext>
              </a:extLst>
            </p:cNvPr>
            <p:cNvSpPr>
              <a:spLocks/>
            </p:cNvSpPr>
            <p:nvPr>
              <p:custDataLst>
                <p:tags r:id="rId272"/>
              </p:custDataLst>
            </p:nvPr>
          </p:nvSpPr>
          <p:spPr bwMode="auto">
            <a:xfrm>
              <a:off x="4557713" y="2935288"/>
              <a:ext cx="411162" cy="611187"/>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grpFill/>
            <a:ln w="9525" cmpd="sng">
              <a:noFill/>
              <a:prstDash val="solid"/>
              <a:round/>
              <a:headEnd/>
              <a:tailEnd/>
            </a:ln>
          </p:spPr>
          <p:txBody>
            <a:bodyPr/>
            <a:lstStyle/>
            <a:p>
              <a:endParaRPr lang="en-US" sz="2178"/>
            </a:p>
          </p:txBody>
        </p:sp>
        <p:grpSp>
          <p:nvGrpSpPr>
            <p:cNvPr id="282" name="Group 384">
              <a:extLst>
                <a:ext uri="{FF2B5EF4-FFF2-40B4-BE49-F238E27FC236}">
                  <a16:creationId xmlns:a16="http://schemas.microsoft.com/office/drawing/2014/main" id="{1B60504C-EC06-4607-9F38-E7122DBF2388}"/>
                </a:ext>
              </a:extLst>
            </p:cNvPr>
            <p:cNvGrpSpPr>
              <a:grpSpLocks/>
            </p:cNvGrpSpPr>
            <p:nvPr>
              <p:custDataLst>
                <p:tags r:id="rId273"/>
              </p:custDataLst>
            </p:nvPr>
          </p:nvGrpSpPr>
          <p:grpSpPr bwMode="auto">
            <a:xfrm>
              <a:off x="3341688" y="3136900"/>
              <a:ext cx="80962" cy="82550"/>
              <a:chOff x="2352" y="2343"/>
              <a:chExt cx="65" cy="53"/>
            </a:xfrm>
            <a:grpFill/>
          </p:grpSpPr>
          <p:sp>
            <p:nvSpPr>
              <p:cNvPr id="443" name="Freeform 385">
                <a:extLst>
                  <a:ext uri="{FF2B5EF4-FFF2-40B4-BE49-F238E27FC236}">
                    <a16:creationId xmlns:a16="http://schemas.microsoft.com/office/drawing/2014/main" id="{88D147A2-498D-4869-B7EF-71F905870CBE}"/>
                  </a:ext>
                </a:extLst>
              </p:cNvPr>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noFill/>
                <a:prstDash val="solid"/>
                <a:round/>
                <a:headEnd/>
                <a:tailEnd/>
              </a:ln>
            </p:spPr>
            <p:txBody>
              <a:bodyPr/>
              <a:lstStyle/>
              <a:p>
                <a:endParaRPr lang="en-US" sz="2178"/>
              </a:p>
            </p:txBody>
          </p:sp>
          <p:sp>
            <p:nvSpPr>
              <p:cNvPr id="444" name="Freeform 386">
                <a:extLst>
                  <a:ext uri="{FF2B5EF4-FFF2-40B4-BE49-F238E27FC236}">
                    <a16:creationId xmlns:a16="http://schemas.microsoft.com/office/drawing/2014/main" id="{EFDE6456-F5D6-4359-8E63-EAA70CD4B2EA}"/>
                  </a:ext>
                </a:extLst>
              </p:cNvPr>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noFill/>
                <a:prstDash val="solid"/>
                <a:round/>
                <a:headEnd/>
                <a:tailEnd/>
              </a:ln>
            </p:spPr>
            <p:txBody>
              <a:bodyPr/>
              <a:lstStyle/>
              <a:p>
                <a:endParaRPr lang="en-US" sz="2178"/>
              </a:p>
            </p:txBody>
          </p:sp>
          <p:sp>
            <p:nvSpPr>
              <p:cNvPr id="445" name="Freeform 387">
                <a:extLst>
                  <a:ext uri="{FF2B5EF4-FFF2-40B4-BE49-F238E27FC236}">
                    <a16:creationId xmlns:a16="http://schemas.microsoft.com/office/drawing/2014/main" id="{A5B82976-F9AB-4EEA-ACB5-03F3D2B36A3E}"/>
                  </a:ext>
                </a:extLst>
              </p:cNvPr>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9525" cmpd="sng">
                <a:noFill/>
                <a:prstDash val="solid"/>
                <a:round/>
                <a:headEnd/>
                <a:tailEnd/>
              </a:ln>
            </p:spPr>
            <p:txBody>
              <a:bodyPr/>
              <a:lstStyle/>
              <a:p>
                <a:endParaRPr lang="en-US" sz="2178"/>
              </a:p>
            </p:txBody>
          </p:sp>
          <p:sp>
            <p:nvSpPr>
              <p:cNvPr id="446" name="Freeform 388">
                <a:extLst>
                  <a:ext uri="{FF2B5EF4-FFF2-40B4-BE49-F238E27FC236}">
                    <a16:creationId xmlns:a16="http://schemas.microsoft.com/office/drawing/2014/main" id="{926B9D6F-1FB7-4910-A685-82B717466F1F}"/>
                  </a:ext>
                </a:extLst>
              </p:cNvPr>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noFill/>
                <a:prstDash val="solid"/>
                <a:round/>
                <a:headEnd/>
                <a:tailEnd/>
              </a:ln>
            </p:spPr>
            <p:txBody>
              <a:bodyPr/>
              <a:lstStyle/>
              <a:p>
                <a:endParaRPr lang="en-US" sz="2178"/>
              </a:p>
            </p:txBody>
          </p:sp>
          <p:sp>
            <p:nvSpPr>
              <p:cNvPr id="447" name="Freeform 389">
                <a:extLst>
                  <a:ext uri="{FF2B5EF4-FFF2-40B4-BE49-F238E27FC236}">
                    <a16:creationId xmlns:a16="http://schemas.microsoft.com/office/drawing/2014/main" id="{6C9B0812-B3E1-4237-8C3D-A0976FD26628}"/>
                  </a:ext>
                </a:extLst>
              </p:cNvPr>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noFill/>
                <a:prstDash val="solid"/>
                <a:round/>
                <a:headEnd/>
                <a:tailEnd/>
              </a:ln>
            </p:spPr>
            <p:txBody>
              <a:bodyPr/>
              <a:lstStyle/>
              <a:p>
                <a:endParaRPr lang="en-US" sz="2178"/>
              </a:p>
            </p:txBody>
          </p:sp>
          <p:sp>
            <p:nvSpPr>
              <p:cNvPr id="448" name="Freeform 390">
                <a:extLst>
                  <a:ext uri="{FF2B5EF4-FFF2-40B4-BE49-F238E27FC236}">
                    <a16:creationId xmlns:a16="http://schemas.microsoft.com/office/drawing/2014/main" id="{F3B1EFDA-7F56-4229-980C-CDB0BBF2FF20}"/>
                  </a:ext>
                </a:extLst>
              </p:cNvPr>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noFill/>
                <a:prstDash val="solid"/>
                <a:round/>
                <a:headEnd/>
                <a:tailEnd/>
              </a:ln>
            </p:spPr>
            <p:txBody>
              <a:bodyPr/>
              <a:lstStyle/>
              <a:p>
                <a:endParaRPr lang="en-US" sz="2178"/>
              </a:p>
            </p:txBody>
          </p:sp>
        </p:grpSp>
        <p:grpSp>
          <p:nvGrpSpPr>
            <p:cNvPr id="283" name="Group 391">
              <a:extLst>
                <a:ext uri="{FF2B5EF4-FFF2-40B4-BE49-F238E27FC236}">
                  <a16:creationId xmlns:a16="http://schemas.microsoft.com/office/drawing/2014/main" id="{8A6B2571-D084-4D62-ABAB-37432D885FA5}"/>
                </a:ext>
              </a:extLst>
            </p:cNvPr>
            <p:cNvGrpSpPr>
              <a:grpSpLocks/>
            </p:cNvGrpSpPr>
            <p:nvPr>
              <p:custDataLst>
                <p:tags r:id="rId274"/>
              </p:custDataLst>
            </p:nvPr>
          </p:nvGrpSpPr>
          <p:grpSpPr bwMode="auto">
            <a:xfrm>
              <a:off x="1187450" y="1196975"/>
              <a:ext cx="1897063" cy="1133475"/>
              <a:chOff x="527" y="1110"/>
              <a:chExt cx="1410" cy="709"/>
            </a:xfrm>
            <a:grpFill/>
          </p:grpSpPr>
          <p:sp>
            <p:nvSpPr>
              <p:cNvPr id="401" name="Freeform 392">
                <a:extLst>
                  <a:ext uri="{FF2B5EF4-FFF2-40B4-BE49-F238E27FC236}">
                    <a16:creationId xmlns:a16="http://schemas.microsoft.com/office/drawing/2014/main" id="{043F8DA6-7209-4B46-BB4F-F8E89EDEA757}"/>
                  </a:ext>
                </a:extLst>
              </p:cNvPr>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02" name="Freeform 393">
                <a:extLst>
                  <a:ext uri="{FF2B5EF4-FFF2-40B4-BE49-F238E27FC236}">
                    <a16:creationId xmlns:a16="http://schemas.microsoft.com/office/drawing/2014/main" id="{13820F67-0283-4E2F-9EC4-F54B08F87A44}"/>
                  </a:ext>
                </a:extLst>
              </p:cNvPr>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03" name="Freeform 394">
                <a:extLst>
                  <a:ext uri="{FF2B5EF4-FFF2-40B4-BE49-F238E27FC236}">
                    <a16:creationId xmlns:a16="http://schemas.microsoft.com/office/drawing/2014/main" id="{F6B9F62C-6119-46C7-A9C9-F812329D0EAA}"/>
                  </a:ext>
                </a:extLst>
              </p:cNvPr>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04" name="Freeform 395">
                <a:extLst>
                  <a:ext uri="{FF2B5EF4-FFF2-40B4-BE49-F238E27FC236}">
                    <a16:creationId xmlns:a16="http://schemas.microsoft.com/office/drawing/2014/main" id="{391CD10A-9CFF-4CFD-9691-AF050FAD8DCE}"/>
                  </a:ext>
                </a:extLst>
              </p:cNvPr>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05" name="Freeform 396">
                <a:extLst>
                  <a:ext uri="{FF2B5EF4-FFF2-40B4-BE49-F238E27FC236}">
                    <a16:creationId xmlns:a16="http://schemas.microsoft.com/office/drawing/2014/main" id="{96852F92-B594-410A-990F-A3940916786A}"/>
                  </a:ext>
                </a:extLst>
              </p:cNvPr>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06" name="Freeform 397">
                <a:extLst>
                  <a:ext uri="{FF2B5EF4-FFF2-40B4-BE49-F238E27FC236}">
                    <a16:creationId xmlns:a16="http://schemas.microsoft.com/office/drawing/2014/main" id="{909A321F-5C7E-4776-82D7-22F136B294D4}"/>
                  </a:ext>
                </a:extLst>
              </p:cNvPr>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07" name="Freeform 398">
                <a:extLst>
                  <a:ext uri="{FF2B5EF4-FFF2-40B4-BE49-F238E27FC236}">
                    <a16:creationId xmlns:a16="http://schemas.microsoft.com/office/drawing/2014/main" id="{4AA542F6-A2EE-4963-9964-C4366E43ABE7}"/>
                  </a:ext>
                </a:extLst>
              </p:cNvPr>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08" name="Freeform 399">
                <a:extLst>
                  <a:ext uri="{FF2B5EF4-FFF2-40B4-BE49-F238E27FC236}">
                    <a16:creationId xmlns:a16="http://schemas.microsoft.com/office/drawing/2014/main" id="{C2DCF5BA-61A5-4C1C-8B11-B0DF4EB2D019}"/>
                  </a:ext>
                </a:extLst>
              </p:cNvPr>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09" name="Freeform 400">
                <a:extLst>
                  <a:ext uri="{FF2B5EF4-FFF2-40B4-BE49-F238E27FC236}">
                    <a16:creationId xmlns:a16="http://schemas.microsoft.com/office/drawing/2014/main" id="{22CAD564-C9BB-463D-8849-02D04E0111E0}"/>
                  </a:ext>
                </a:extLst>
              </p:cNvPr>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10" name="Freeform 401">
                <a:extLst>
                  <a:ext uri="{FF2B5EF4-FFF2-40B4-BE49-F238E27FC236}">
                    <a16:creationId xmlns:a16="http://schemas.microsoft.com/office/drawing/2014/main" id="{C8F24E7B-09A0-48A4-B4AC-65BE3F8CCEBB}"/>
                  </a:ext>
                </a:extLst>
              </p:cNvPr>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11" name="Freeform 402">
                <a:extLst>
                  <a:ext uri="{FF2B5EF4-FFF2-40B4-BE49-F238E27FC236}">
                    <a16:creationId xmlns:a16="http://schemas.microsoft.com/office/drawing/2014/main" id="{D7D4A673-BE4B-4066-B5D6-A5329E515C83}"/>
                  </a:ext>
                </a:extLst>
              </p:cNvPr>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12" name="Freeform 403">
                <a:extLst>
                  <a:ext uri="{FF2B5EF4-FFF2-40B4-BE49-F238E27FC236}">
                    <a16:creationId xmlns:a16="http://schemas.microsoft.com/office/drawing/2014/main" id="{8EE2D190-423C-41E0-B618-1D387886A703}"/>
                  </a:ext>
                </a:extLst>
              </p:cNvPr>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13" name="Freeform 404">
                <a:extLst>
                  <a:ext uri="{FF2B5EF4-FFF2-40B4-BE49-F238E27FC236}">
                    <a16:creationId xmlns:a16="http://schemas.microsoft.com/office/drawing/2014/main" id="{CC32050F-1A2E-4930-9526-96EEAA9D3F83}"/>
                  </a:ext>
                </a:extLst>
              </p:cNvPr>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14" name="Freeform 405">
                <a:extLst>
                  <a:ext uri="{FF2B5EF4-FFF2-40B4-BE49-F238E27FC236}">
                    <a16:creationId xmlns:a16="http://schemas.microsoft.com/office/drawing/2014/main" id="{07305831-E1F9-4BC6-9578-E94DF935710E}"/>
                  </a:ext>
                </a:extLst>
              </p:cNvPr>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15" name="Freeform 406">
                <a:extLst>
                  <a:ext uri="{FF2B5EF4-FFF2-40B4-BE49-F238E27FC236}">
                    <a16:creationId xmlns:a16="http://schemas.microsoft.com/office/drawing/2014/main" id="{92C9F824-F442-42C3-ACF2-4E57DF7739B3}"/>
                  </a:ext>
                </a:extLst>
              </p:cNvPr>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16" name="Freeform 407">
                <a:extLst>
                  <a:ext uri="{FF2B5EF4-FFF2-40B4-BE49-F238E27FC236}">
                    <a16:creationId xmlns:a16="http://schemas.microsoft.com/office/drawing/2014/main" id="{50723EE5-2692-4AC4-B0B8-7FA44AA2963C}"/>
                  </a:ext>
                </a:extLst>
              </p:cNvPr>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17" name="Freeform 408">
                <a:extLst>
                  <a:ext uri="{FF2B5EF4-FFF2-40B4-BE49-F238E27FC236}">
                    <a16:creationId xmlns:a16="http://schemas.microsoft.com/office/drawing/2014/main" id="{D002F63F-0173-4B18-B45B-CE530EB35760}"/>
                  </a:ext>
                </a:extLst>
              </p:cNvPr>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18" name="Freeform 409">
                <a:extLst>
                  <a:ext uri="{FF2B5EF4-FFF2-40B4-BE49-F238E27FC236}">
                    <a16:creationId xmlns:a16="http://schemas.microsoft.com/office/drawing/2014/main" id="{EDA1B85F-AC17-4B70-85D1-76636375FBEE}"/>
                  </a:ext>
                </a:extLst>
              </p:cNvPr>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19" name="Freeform 410">
                <a:extLst>
                  <a:ext uri="{FF2B5EF4-FFF2-40B4-BE49-F238E27FC236}">
                    <a16:creationId xmlns:a16="http://schemas.microsoft.com/office/drawing/2014/main" id="{68534C82-59DB-4256-B4D7-3D6C504422E4}"/>
                  </a:ext>
                </a:extLst>
              </p:cNvPr>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20" name="Freeform 411">
                <a:extLst>
                  <a:ext uri="{FF2B5EF4-FFF2-40B4-BE49-F238E27FC236}">
                    <a16:creationId xmlns:a16="http://schemas.microsoft.com/office/drawing/2014/main" id="{98B617A9-9416-40CE-A44A-A66CB18D1BB4}"/>
                  </a:ext>
                </a:extLst>
              </p:cNvPr>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21" name="Freeform 412">
                <a:extLst>
                  <a:ext uri="{FF2B5EF4-FFF2-40B4-BE49-F238E27FC236}">
                    <a16:creationId xmlns:a16="http://schemas.microsoft.com/office/drawing/2014/main" id="{75F30197-4CF0-4B06-A915-D236BF651DA3}"/>
                  </a:ext>
                </a:extLst>
              </p:cNvPr>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22" name="Freeform 413">
                <a:extLst>
                  <a:ext uri="{FF2B5EF4-FFF2-40B4-BE49-F238E27FC236}">
                    <a16:creationId xmlns:a16="http://schemas.microsoft.com/office/drawing/2014/main" id="{0C13BF48-9049-49C0-86C8-D84DA4D31A0A}"/>
                  </a:ext>
                </a:extLst>
              </p:cNvPr>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23" name="Freeform 414">
                <a:extLst>
                  <a:ext uri="{FF2B5EF4-FFF2-40B4-BE49-F238E27FC236}">
                    <a16:creationId xmlns:a16="http://schemas.microsoft.com/office/drawing/2014/main" id="{4DDD2DAF-8E57-4655-9FC0-2B9ADB27614F}"/>
                  </a:ext>
                </a:extLst>
              </p:cNvPr>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24" name="Freeform 415">
                <a:extLst>
                  <a:ext uri="{FF2B5EF4-FFF2-40B4-BE49-F238E27FC236}">
                    <a16:creationId xmlns:a16="http://schemas.microsoft.com/office/drawing/2014/main" id="{C2D6B4B2-0E3B-4EA0-AD4C-4B263F000B57}"/>
                  </a:ext>
                </a:extLst>
              </p:cNvPr>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25" name="Freeform 416">
                <a:extLst>
                  <a:ext uri="{FF2B5EF4-FFF2-40B4-BE49-F238E27FC236}">
                    <a16:creationId xmlns:a16="http://schemas.microsoft.com/office/drawing/2014/main" id="{3A18C9B0-5C1A-4FC1-B74D-3AFDAF012344}"/>
                  </a:ext>
                </a:extLst>
              </p:cNvPr>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26" name="Freeform 417">
                <a:extLst>
                  <a:ext uri="{FF2B5EF4-FFF2-40B4-BE49-F238E27FC236}">
                    <a16:creationId xmlns:a16="http://schemas.microsoft.com/office/drawing/2014/main" id="{9069D02D-B05E-408F-8FB8-483AFA3EB53A}"/>
                  </a:ext>
                </a:extLst>
              </p:cNvPr>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27" name="Freeform 418">
                <a:extLst>
                  <a:ext uri="{FF2B5EF4-FFF2-40B4-BE49-F238E27FC236}">
                    <a16:creationId xmlns:a16="http://schemas.microsoft.com/office/drawing/2014/main" id="{FC0E2E49-C70F-4994-8950-A9F988C19708}"/>
                  </a:ext>
                </a:extLst>
              </p:cNvPr>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28" name="Freeform 419">
                <a:extLst>
                  <a:ext uri="{FF2B5EF4-FFF2-40B4-BE49-F238E27FC236}">
                    <a16:creationId xmlns:a16="http://schemas.microsoft.com/office/drawing/2014/main" id="{1B6AA6B9-0980-4E14-AF4B-3B87861E3D50}"/>
                  </a:ext>
                </a:extLst>
              </p:cNvPr>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29" name="Freeform 420">
                <a:extLst>
                  <a:ext uri="{FF2B5EF4-FFF2-40B4-BE49-F238E27FC236}">
                    <a16:creationId xmlns:a16="http://schemas.microsoft.com/office/drawing/2014/main" id="{8D110E85-635C-4D37-AC6C-7886C6CC6645}"/>
                  </a:ext>
                </a:extLst>
              </p:cNvPr>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30" name="Freeform 421">
                <a:extLst>
                  <a:ext uri="{FF2B5EF4-FFF2-40B4-BE49-F238E27FC236}">
                    <a16:creationId xmlns:a16="http://schemas.microsoft.com/office/drawing/2014/main" id="{33FA3263-5BAF-45DA-A335-99550BFCE72D}"/>
                  </a:ext>
                </a:extLst>
              </p:cNvPr>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31" name="Freeform 422">
                <a:extLst>
                  <a:ext uri="{FF2B5EF4-FFF2-40B4-BE49-F238E27FC236}">
                    <a16:creationId xmlns:a16="http://schemas.microsoft.com/office/drawing/2014/main" id="{73586C3C-992C-4312-BCF6-936100D0E938}"/>
                  </a:ext>
                </a:extLst>
              </p:cNvPr>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32" name="Freeform 423">
                <a:extLst>
                  <a:ext uri="{FF2B5EF4-FFF2-40B4-BE49-F238E27FC236}">
                    <a16:creationId xmlns:a16="http://schemas.microsoft.com/office/drawing/2014/main" id="{4334BC71-C57F-4E5F-8445-368918B0B58A}"/>
                  </a:ext>
                </a:extLst>
              </p:cNvPr>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33" name="Freeform 424">
                <a:extLst>
                  <a:ext uri="{FF2B5EF4-FFF2-40B4-BE49-F238E27FC236}">
                    <a16:creationId xmlns:a16="http://schemas.microsoft.com/office/drawing/2014/main" id="{E591E228-947A-4CEE-BDDD-68819BAD0BD5}"/>
                  </a:ext>
                </a:extLst>
              </p:cNvPr>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34" name="Freeform 425">
                <a:extLst>
                  <a:ext uri="{FF2B5EF4-FFF2-40B4-BE49-F238E27FC236}">
                    <a16:creationId xmlns:a16="http://schemas.microsoft.com/office/drawing/2014/main" id="{A83F2283-3E6E-42DA-840B-45A130B830A2}"/>
                  </a:ext>
                </a:extLst>
              </p:cNvPr>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35" name="Freeform 426">
                <a:extLst>
                  <a:ext uri="{FF2B5EF4-FFF2-40B4-BE49-F238E27FC236}">
                    <a16:creationId xmlns:a16="http://schemas.microsoft.com/office/drawing/2014/main" id="{D0EF9C67-7A27-4685-B885-FE0A61F464DD}"/>
                  </a:ext>
                </a:extLst>
              </p:cNvPr>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36" name="Freeform 427">
                <a:extLst>
                  <a:ext uri="{FF2B5EF4-FFF2-40B4-BE49-F238E27FC236}">
                    <a16:creationId xmlns:a16="http://schemas.microsoft.com/office/drawing/2014/main" id="{E1FA6CB8-8458-4BE4-B3B7-A80C0E9AD30C}"/>
                  </a:ext>
                </a:extLst>
              </p:cNvPr>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37" name="Freeform 428">
                <a:extLst>
                  <a:ext uri="{FF2B5EF4-FFF2-40B4-BE49-F238E27FC236}">
                    <a16:creationId xmlns:a16="http://schemas.microsoft.com/office/drawing/2014/main" id="{6291C674-CA0A-4180-8671-822D594648B9}"/>
                  </a:ext>
                </a:extLst>
              </p:cNvPr>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38" name="Freeform 429">
                <a:extLst>
                  <a:ext uri="{FF2B5EF4-FFF2-40B4-BE49-F238E27FC236}">
                    <a16:creationId xmlns:a16="http://schemas.microsoft.com/office/drawing/2014/main" id="{36BCE896-BBDF-4E66-BAEA-1E29B8C46DC3}"/>
                  </a:ext>
                </a:extLst>
              </p:cNvPr>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39" name="Freeform 430">
                <a:extLst>
                  <a:ext uri="{FF2B5EF4-FFF2-40B4-BE49-F238E27FC236}">
                    <a16:creationId xmlns:a16="http://schemas.microsoft.com/office/drawing/2014/main" id="{74B7EC40-E1D4-464A-A55F-5DBDF32D9E70}"/>
                  </a:ext>
                </a:extLst>
              </p:cNvPr>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40" name="Freeform 431">
                <a:extLst>
                  <a:ext uri="{FF2B5EF4-FFF2-40B4-BE49-F238E27FC236}">
                    <a16:creationId xmlns:a16="http://schemas.microsoft.com/office/drawing/2014/main" id="{B9EE5339-3FE8-45C1-AFD0-0EEEB35B4A02}"/>
                  </a:ext>
                </a:extLst>
              </p:cNvPr>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41" name="Freeform 432">
                <a:extLst>
                  <a:ext uri="{FF2B5EF4-FFF2-40B4-BE49-F238E27FC236}">
                    <a16:creationId xmlns:a16="http://schemas.microsoft.com/office/drawing/2014/main" id="{D24D74AC-959E-4205-B7A1-CACB397BFD1B}"/>
                  </a:ext>
                </a:extLst>
              </p:cNvPr>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42" name="Freeform 433">
                <a:extLst>
                  <a:ext uri="{FF2B5EF4-FFF2-40B4-BE49-F238E27FC236}">
                    <a16:creationId xmlns:a16="http://schemas.microsoft.com/office/drawing/2014/main" id="{ACB328D8-D3B0-440B-9196-99357D1FB73C}"/>
                  </a:ext>
                </a:extLst>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grpSp>
        <p:sp>
          <p:nvSpPr>
            <p:cNvPr id="284" name="Freeform 434">
              <a:extLst>
                <a:ext uri="{FF2B5EF4-FFF2-40B4-BE49-F238E27FC236}">
                  <a16:creationId xmlns:a16="http://schemas.microsoft.com/office/drawing/2014/main" id="{A7E3ADA1-9F04-465C-BBD3-CCB9D1DF35E0}"/>
                </a:ext>
              </a:extLst>
            </p:cNvPr>
            <p:cNvSpPr>
              <a:spLocks/>
            </p:cNvSpPr>
            <p:nvPr>
              <p:custDataLst>
                <p:tags r:id="rId275"/>
              </p:custDataLst>
            </p:nvPr>
          </p:nvSpPr>
          <p:spPr bwMode="auto">
            <a:xfrm>
              <a:off x="4757738" y="3541713"/>
              <a:ext cx="127000" cy="158750"/>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grpFill/>
            <a:ln w="9525" cmpd="sng">
              <a:noFill/>
              <a:prstDash val="solid"/>
              <a:round/>
              <a:headEnd/>
              <a:tailEnd/>
            </a:ln>
          </p:spPr>
          <p:txBody>
            <a:bodyPr/>
            <a:lstStyle/>
            <a:p>
              <a:endParaRPr lang="en-US" sz="2178"/>
            </a:p>
          </p:txBody>
        </p:sp>
        <p:sp>
          <p:nvSpPr>
            <p:cNvPr id="285" name="Freeform 435">
              <a:extLst>
                <a:ext uri="{FF2B5EF4-FFF2-40B4-BE49-F238E27FC236}">
                  <a16:creationId xmlns:a16="http://schemas.microsoft.com/office/drawing/2014/main" id="{4B1D8E96-7A73-4E70-A951-7E8C15F630D1}"/>
                </a:ext>
              </a:extLst>
            </p:cNvPr>
            <p:cNvSpPr>
              <a:spLocks/>
            </p:cNvSpPr>
            <p:nvPr>
              <p:custDataLst>
                <p:tags r:id="rId276"/>
              </p:custDataLst>
            </p:nvPr>
          </p:nvSpPr>
          <p:spPr bwMode="auto">
            <a:xfrm>
              <a:off x="4864100" y="3692525"/>
              <a:ext cx="6350" cy="57150"/>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grpFill/>
            <a:ln w="9525" cmpd="sng">
              <a:noFill/>
              <a:prstDash val="solid"/>
              <a:round/>
              <a:headEnd/>
              <a:tailEnd/>
            </a:ln>
          </p:spPr>
          <p:txBody>
            <a:bodyPr/>
            <a:lstStyle/>
            <a:p>
              <a:endParaRPr lang="en-US" sz="2178"/>
            </a:p>
          </p:txBody>
        </p:sp>
        <p:sp>
          <p:nvSpPr>
            <p:cNvPr id="286" name="Freeform 436">
              <a:extLst>
                <a:ext uri="{FF2B5EF4-FFF2-40B4-BE49-F238E27FC236}">
                  <a16:creationId xmlns:a16="http://schemas.microsoft.com/office/drawing/2014/main" id="{5CDAEDCB-B3D9-4287-96D8-E7577CCF98E8}"/>
                </a:ext>
              </a:extLst>
            </p:cNvPr>
            <p:cNvSpPr>
              <a:spLocks/>
            </p:cNvSpPr>
            <p:nvPr>
              <p:custDataLst>
                <p:tags r:id="rId277"/>
              </p:custDataLst>
            </p:nvPr>
          </p:nvSpPr>
          <p:spPr bwMode="auto">
            <a:xfrm>
              <a:off x="4354513" y="2928938"/>
              <a:ext cx="249237" cy="500062"/>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grpFill/>
            <a:ln w="9525" cmpd="sng">
              <a:noFill/>
              <a:prstDash val="solid"/>
              <a:round/>
              <a:headEnd/>
              <a:tailEnd/>
            </a:ln>
          </p:spPr>
          <p:txBody>
            <a:bodyPr/>
            <a:lstStyle/>
            <a:p>
              <a:endParaRPr lang="en-US" sz="2178"/>
            </a:p>
          </p:txBody>
        </p:sp>
        <p:sp>
          <p:nvSpPr>
            <p:cNvPr id="287" name="Freeform 437">
              <a:extLst>
                <a:ext uri="{FF2B5EF4-FFF2-40B4-BE49-F238E27FC236}">
                  <a16:creationId xmlns:a16="http://schemas.microsoft.com/office/drawing/2014/main" id="{2A777119-348B-42CC-AB65-CE6C469E78EA}"/>
                </a:ext>
              </a:extLst>
            </p:cNvPr>
            <p:cNvSpPr>
              <a:spLocks/>
            </p:cNvSpPr>
            <p:nvPr>
              <p:custDataLst>
                <p:tags r:id="rId278"/>
              </p:custDataLst>
            </p:nvPr>
          </p:nvSpPr>
          <p:spPr bwMode="auto">
            <a:xfrm>
              <a:off x="4030663" y="2311400"/>
              <a:ext cx="15875" cy="57150"/>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grpSp>
          <p:nvGrpSpPr>
            <p:cNvPr id="288" name="Group 438">
              <a:extLst>
                <a:ext uri="{FF2B5EF4-FFF2-40B4-BE49-F238E27FC236}">
                  <a16:creationId xmlns:a16="http://schemas.microsoft.com/office/drawing/2014/main" id="{B3493DB3-00D0-44BB-85F5-81ABB9345E74}"/>
                </a:ext>
              </a:extLst>
            </p:cNvPr>
            <p:cNvGrpSpPr>
              <a:grpSpLocks/>
            </p:cNvGrpSpPr>
            <p:nvPr>
              <p:custDataLst>
                <p:tags r:id="rId279"/>
              </p:custDataLst>
            </p:nvPr>
          </p:nvGrpSpPr>
          <p:grpSpPr bwMode="auto">
            <a:xfrm>
              <a:off x="2330450" y="4371975"/>
              <a:ext cx="384175" cy="1031875"/>
              <a:chOff x="1589" y="3126"/>
              <a:chExt cx="290" cy="657"/>
            </a:xfrm>
            <a:grpFill/>
          </p:grpSpPr>
          <p:sp>
            <p:nvSpPr>
              <p:cNvPr id="398" name="Freeform 439">
                <a:extLst>
                  <a:ext uri="{FF2B5EF4-FFF2-40B4-BE49-F238E27FC236}">
                    <a16:creationId xmlns:a16="http://schemas.microsoft.com/office/drawing/2014/main" id="{FB3FACDA-29E2-4FEB-9F5F-0FFC5DBF5A8E}"/>
                  </a:ext>
                </a:extLst>
              </p:cNvPr>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99" name="Freeform 440">
                <a:extLst>
                  <a:ext uri="{FF2B5EF4-FFF2-40B4-BE49-F238E27FC236}">
                    <a16:creationId xmlns:a16="http://schemas.microsoft.com/office/drawing/2014/main" id="{8DC793AB-E8EF-4304-8C23-02362775924B}"/>
                  </a:ext>
                </a:extLst>
              </p:cNvPr>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400" name="Freeform 441">
                <a:extLst>
                  <a:ext uri="{FF2B5EF4-FFF2-40B4-BE49-F238E27FC236}">
                    <a16:creationId xmlns:a16="http://schemas.microsoft.com/office/drawing/2014/main" id="{7A8F699D-894B-42EF-8C03-B2BE67E2D783}"/>
                  </a:ext>
                </a:extLst>
              </p:cNvPr>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grpSp>
        <p:sp>
          <p:nvSpPr>
            <p:cNvPr id="289" name="Freeform 442">
              <a:extLst>
                <a:ext uri="{FF2B5EF4-FFF2-40B4-BE49-F238E27FC236}">
                  <a16:creationId xmlns:a16="http://schemas.microsoft.com/office/drawing/2014/main" id="{C3F16BDB-1ABA-4D44-9538-25E387A362BC}"/>
                </a:ext>
              </a:extLst>
            </p:cNvPr>
            <p:cNvSpPr>
              <a:spLocks/>
            </p:cNvSpPr>
            <p:nvPr>
              <p:custDataLst>
                <p:tags r:id="rId280"/>
              </p:custDataLst>
            </p:nvPr>
          </p:nvSpPr>
          <p:spPr bwMode="auto">
            <a:xfrm>
              <a:off x="5040313" y="2324100"/>
              <a:ext cx="123825" cy="109538"/>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grpFill/>
            <a:ln w="9525" cmpd="sng">
              <a:noFill/>
              <a:prstDash val="solid"/>
              <a:round/>
              <a:headEnd/>
              <a:tailEnd/>
            </a:ln>
          </p:spPr>
          <p:txBody>
            <a:bodyPr/>
            <a:lstStyle/>
            <a:p>
              <a:endParaRPr lang="en-US" sz="2178"/>
            </a:p>
          </p:txBody>
        </p:sp>
        <p:sp>
          <p:nvSpPr>
            <p:cNvPr id="290" name="Freeform 443">
              <a:extLst>
                <a:ext uri="{FF2B5EF4-FFF2-40B4-BE49-F238E27FC236}">
                  <a16:creationId xmlns:a16="http://schemas.microsoft.com/office/drawing/2014/main" id="{EF6B93B5-BEC7-4716-ABA4-63D0D7A39F90}"/>
                </a:ext>
              </a:extLst>
            </p:cNvPr>
            <p:cNvSpPr>
              <a:spLocks/>
            </p:cNvSpPr>
            <p:nvPr>
              <p:custDataLst>
                <p:tags r:id="rId281"/>
              </p:custDataLst>
            </p:nvPr>
          </p:nvSpPr>
          <p:spPr bwMode="auto">
            <a:xfrm>
              <a:off x="4506913" y="1897063"/>
              <a:ext cx="209550" cy="150812"/>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grpFill/>
            <a:ln w="9525" cmpd="sng">
              <a:noFill/>
              <a:prstDash val="solid"/>
              <a:round/>
              <a:headEnd/>
              <a:tailEnd/>
            </a:ln>
          </p:spPr>
          <p:txBody>
            <a:bodyPr/>
            <a:lstStyle/>
            <a:p>
              <a:endParaRPr lang="en-US" sz="2178"/>
            </a:p>
          </p:txBody>
        </p:sp>
        <p:sp>
          <p:nvSpPr>
            <p:cNvPr id="291" name="Freeform 444">
              <a:extLst>
                <a:ext uri="{FF2B5EF4-FFF2-40B4-BE49-F238E27FC236}">
                  <a16:creationId xmlns:a16="http://schemas.microsoft.com/office/drawing/2014/main" id="{875EBF59-A2BC-412C-BE3C-32AB332666E6}"/>
                </a:ext>
              </a:extLst>
            </p:cNvPr>
            <p:cNvSpPr>
              <a:spLocks/>
            </p:cNvSpPr>
            <p:nvPr>
              <p:custDataLst>
                <p:tags r:id="rId282"/>
              </p:custDataLst>
            </p:nvPr>
          </p:nvSpPr>
          <p:spPr bwMode="auto">
            <a:xfrm>
              <a:off x="4364038" y="2228850"/>
              <a:ext cx="82550" cy="87313"/>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grpFill/>
            <a:ln w="9525" cap="flat" cmpd="sng">
              <a:noFill/>
              <a:prstDash val="solid"/>
              <a:round/>
              <a:headEnd type="none" w="med" len="med"/>
              <a:tailEnd type="none" w="med" len="med"/>
            </a:ln>
            <a:effectLst/>
          </p:spPr>
          <p:txBody>
            <a:bodyPr/>
            <a:lstStyle/>
            <a:p>
              <a:endParaRPr lang="en-US" sz="2178"/>
            </a:p>
          </p:txBody>
        </p:sp>
        <p:sp>
          <p:nvSpPr>
            <p:cNvPr id="292" name="Freeform 445">
              <a:extLst>
                <a:ext uri="{FF2B5EF4-FFF2-40B4-BE49-F238E27FC236}">
                  <a16:creationId xmlns:a16="http://schemas.microsoft.com/office/drawing/2014/main" id="{E2720E07-4D7F-4772-8447-7D808E32AD64}"/>
                </a:ext>
              </a:extLst>
            </p:cNvPr>
            <p:cNvSpPr>
              <a:spLocks/>
            </p:cNvSpPr>
            <p:nvPr>
              <p:custDataLst>
                <p:tags r:id="rId283"/>
              </p:custDataLst>
            </p:nvPr>
          </p:nvSpPr>
          <p:spPr bwMode="auto">
            <a:xfrm>
              <a:off x="2728913" y="3665538"/>
              <a:ext cx="82550" cy="57150"/>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293" name="Freeform 446">
              <a:extLst>
                <a:ext uri="{FF2B5EF4-FFF2-40B4-BE49-F238E27FC236}">
                  <a16:creationId xmlns:a16="http://schemas.microsoft.com/office/drawing/2014/main" id="{35BCD93C-9895-4CE3-8D3F-157E51D5D1EE}"/>
                </a:ext>
              </a:extLst>
            </p:cNvPr>
            <p:cNvSpPr>
              <a:spLocks/>
            </p:cNvSpPr>
            <p:nvPr>
              <p:custDataLst>
                <p:tags r:id="rId284"/>
              </p:custDataLst>
            </p:nvPr>
          </p:nvSpPr>
          <p:spPr bwMode="auto">
            <a:xfrm>
              <a:off x="4522788" y="2263775"/>
              <a:ext cx="133350" cy="96838"/>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grpFill/>
            <a:ln w="9525" cap="flat" cmpd="sng">
              <a:noFill/>
              <a:prstDash val="solid"/>
              <a:round/>
              <a:headEnd type="none" w="med" len="med"/>
              <a:tailEnd type="none" w="med" len="med"/>
            </a:ln>
            <a:effectLst/>
          </p:spPr>
          <p:txBody>
            <a:bodyPr/>
            <a:lstStyle/>
            <a:p>
              <a:endParaRPr lang="en-US" sz="2178"/>
            </a:p>
          </p:txBody>
        </p:sp>
        <p:sp>
          <p:nvSpPr>
            <p:cNvPr id="294" name="Freeform 447">
              <a:extLst>
                <a:ext uri="{FF2B5EF4-FFF2-40B4-BE49-F238E27FC236}">
                  <a16:creationId xmlns:a16="http://schemas.microsoft.com/office/drawing/2014/main" id="{A3B1BC1A-EF99-42DD-B60B-DC1850146E2E}"/>
                </a:ext>
              </a:extLst>
            </p:cNvPr>
            <p:cNvSpPr>
              <a:spLocks/>
            </p:cNvSpPr>
            <p:nvPr>
              <p:custDataLst>
                <p:tags r:id="rId285"/>
              </p:custDataLst>
            </p:nvPr>
          </p:nvSpPr>
          <p:spPr bwMode="auto">
            <a:xfrm>
              <a:off x="3878263" y="3190875"/>
              <a:ext cx="177800" cy="165100"/>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grpFill/>
            <a:ln w="9525" cmpd="sng">
              <a:noFill/>
              <a:prstDash val="solid"/>
              <a:round/>
              <a:headEnd/>
              <a:tailEnd/>
            </a:ln>
          </p:spPr>
          <p:txBody>
            <a:bodyPr/>
            <a:lstStyle/>
            <a:p>
              <a:endParaRPr lang="en-US" sz="2178"/>
            </a:p>
          </p:txBody>
        </p:sp>
        <p:sp>
          <p:nvSpPr>
            <p:cNvPr id="295" name="Freeform 448">
              <a:extLst>
                <a:ext uri="{FF2B5EF4-FFF2-40B4-BE49-F238E27FC236}">
                  <a16:creationId xmlns:a16="http://schemas.microsoft.com/office/drawing/2014/main" id="{C3E6339C-137E-4861-9542-02049B6CD2EF}"/>
                </a:ext>
              </a:extLst>
            </p:cNvPr>
            <p:cNvSpPr>
              <a:spLocks/>
            </p:cNvSpPr>
            <p:nvPr>
              <p:custDataLst>
                <p:tags r:id="rId286"/>
              </p:custDataLst>
            </p:nvPr>
          </p:nvSpPr>
          <p:spPr bwMode="auto">
            <a:xfrm>
              <a:off x="4225925" y="3259138"/>
              <a:ext cx="193675" cy="349250"/>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grpFill/>
            <a:ln w="9525" cmpd="sng">
              <a:noFill/>
              <a:prstDash val="solid"/>
              <a:round/>
              <a:headEnd/>
              <a:tailEnd/>
            </a:ln>
          </p:spPr>
          <p:txBody>
            <a:bodyPr/>
            <a:lstStyle/>
            <a:p>
              <a:endParaRPr lang="en-US" sz="2178"/>
            </a:p>
          </p:txBody>
        </p:sp>
        <p:sp>
          <p:nvSpPr>
            <p:cNvPr id="296" name="Freeform 449">
              <a:extLst>
                <a:ext uri="{FF2B5EF4-FFF2-40B4-BE49-F238E27FC236}">
                  <a16:creationId xmlns:a16="http://schemas.microsoft.com/office/drawing/2014/main" id="{530FFBB4-33D3-469D-AFF3-7E531847A0A3}"/>
                </a:ext>
              </a:extLst>
            </p:cNvPr>
            <p:cNvSpPr>
              <a:spLocks/>
            </p:cNvSpPr>
            <p:nvPr>
              <p:custDataLst>
                <p:tags r:id="rId287"/>
              </p:custDataLst>
            </p:nvPr>
          </p:nvSpPr>
          <p:spPr bwMode="auto">
            <a:xfrm>
              <a:off x="6677025" y="3017838"/>
              <a:ext cx="55563" cy="57150"/>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grpFill/>
            <a:ln w="9525" cmpd="sng">
              <a:noFill/>
              <a:prstDash val="solid"/>
              <a:round/>
              <a:headEnd/>
              <a:tailEnd/>
            </a:ln>
          </p:spPr>
          <p:txBody>
            <a:bodyPr/>
            <a:lstStyle/>
            <a:p>
              <a:endParaRPr lang="en-US" sz="2178"/>
            </a:p>
          </p:txBody>
        </p:sp>
        <p:sp>
          <p:nvSpPr>
            <p:cNvPr id="297" name="Freeform 450">
              <a:extLst>
                <a:ext uri="{FF2B5EF4-FFF2-40B4-BE49-F238E27FC236}">
                  <a16:creationId xmlns:a16="http://schemas.microsoft.com/office/drawing/2014/main" id="{E0593979-21EF-42EF-8E89-9577FA54E0CE}"/>
                </a:ext>
              </a:extLst>
            </p:cNvPr>
            <p:cNvSpPr>
              <a:spLocks/>
            </p:cNvSpPr>
            <p:nvPr>
              <p:custDataLst>
                <p:tags r:id="rId288"/>
              </p:custDataLst>
            </p:nvPr>
          </p:nvSpPr>
          <p:spPr bwMode="auto">
            <a:xfrm>
              <a:off x="2032000" y="3281363"/>
              <a:ext cx="298450" cy="523875"/>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grpFill/>
            <a:ln w="9525" cap="flat" cmpd="sng">
              <a:noFill/>
              <a:prstDash val="solid"/>
              <a:round/>
              <a:headEnd type="none" w="med" len="med"/>
              <a:tailEnd type="none" w="med" len="med"/>
            </a:ln>
            <a:effectLst/>
          </p:spPr>
          <p:txBody>
            <a:bodyPr/>
            <a:lstStyle/>
            <a:p>
              <a:endParaRPr lang="en-US" sz="2178"/>
            </a:p>
          </p:txBody>
        </p:sp>
        <p:sp>
          <p:nvSpPr>
            <p:cNvPr id="298" name="Freeform 451">
              <a:extLst>
                <a:ext uri="{FF2B5EF4-FFF2-40B4-BE49-F238E27FC236}">
                  <a16:creationId xmlns:a16="http://schemas.microsoft.com/office/drawing/2014/main" id="{DF22CEDA-E66D-4674-AD0C-205311B8A155}"/>
                </a:ext>
              </a:extLst>
            </p:cNvPr>
            <p:cNvSpPr>
              <a:spLocks/>
            </p:cNvSpPr>
            <p:nvPr>
              <p:custDataLst>
                <p:tags r:id="rId289"/>
              </p:custDataLst>
            </p:nvPr>
          </p:nvSpPr>
          <p:spPr bwMode="auto">
            <a:xfrm>
              <a:off x="4284663" y="3549650"/>
              <a:ext cx="187325" cy="274638"/>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grpFill/>
            <a:ln w="9525" cmpd="sng">
              <a:noFill/>
              <a:prstDash val="solid"/>
              <a:round/>
              <a:headEnd/>
              <a:tailEnd/>
            </a:ln>
          </p:spPr>
          <p:txBody>
            <a:bodyPr/>
            <a:lstStyle/>
            <a:p>
              <a:endParaRPr lang="en-US" sz="2178"/>
            </a:p>
          </p:txBody>
        </p:sp>
        <p:sp>
          <p:nvSpPr>
            <p:cNvPr id="299" name="Freeform 452">
              <a:extLst>
                <a:ext uri="{FF2B5EF4-FFF2-40B4-BE49-F238E27FC236}">
                  <a16:creationId xmlns:a16="http://schemas.microsoft.com/office/drawing/2014/main" id="{ADAA0491-8093-45A0-AA6A-3B9904BE4922}"/>
                </a:ext>
              </a:extLst>
            </p:cNvPr>
            <p:cNvSpPr>
              <a:spLocks/>
            </p:cNvSpPr>
            <p:nvPr>
              <p:custDataLst>
                <p:tags r:id="rId290"/>
              </p:custDataLst>
            </p:nvPr>
          </p:nvSpPr>
          <p:spPr bwMode="auto">
            <a:xfrm>
              <a:off x="4316413" y="2192338"/>
              <a:ext cx="127000" cy="114300"/>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grpFill/>
            <a:ln w="9525" cap="flat" cmpd="sng">
              <a:noFill/>
              <a:prstDash val="solid"/>
              <a:round/>
              <a:headEnd type="none" w="med" len="med"/>
              <a:tailEnd type="none" w="med" len="med"/>
            </a:ln>
            <a:effectLst/>
          </p:spPr>
          <p:txBody>
            <a:bodyPr/>
            <a:lstStyle/>
            <a:p>
              <a:endParaRPr lang="en-US" sz="2178"/>
            </a:p>
          </p:txBody>
        </p:sp>
        <p:sp>
          <p:nvSpPr>
            <p:cNvPr id="300" name="Freeform 453">
              <a:extLst>
                <a:ext uri="{FF2B5EF4-FFF2-40B4-BE49-F238E27FC236}">
                  <a16:creationId xmlns:a16="http://schemas.microsoft.com/office/drawing/2014/main" id="{45E60518-864C-48A6-BE91-C221DF0EE396}"/>
                </a:ext>
              </a:extLst>
            </p:cNvPr>
            <p:cNvSpPr>
              <a:spLocks/>
            </p:cNvSpPr>
            <p:nvPr>
              <p:custDataLst>
                <p:tags r:id="rId291"/>
              </p:custDataLst>
            </p:nvPr>
          </p:nvSpPr>
          <p:spPr bwMode="auto">
            <a:xfrm>
              <a:off x="4267200" y="2051050"/>
              <a:ext cx="168275" cy="77788"/>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grpFill/>
            <a:ln w="9525" cap="flat" cmpd="sng">
              <a:noFill/>
              <a:prstDash val="solid"/>
              <a:round/>
              <a:headEnd type="none" w="med" len="med"/>
              <a:tailEnd type="none" w="med" len="med"/>
            </a:ln>
            <a:effectLst/>
          </p:spPr>
          <p:txBody>
            <a:bodyPr/>
            <a:lstStyle/>
            <a:p>
              <a:endParaRPr lang="en-US" sz="2178"/>
            </a:p>
          </p:txBody>
        </p:sp>
        <p:sp>
          <p:nvSpPr>
            <p:cNvPr id="301" name="Freeform 454">
              <a:extLst>
                <a:ext uri="{FF2B5EF4-FFF2-40B4-BE49-F238E27FC236}">
                  <a16:creationId xmlns:a16="http://schemas.microsoft.com/office/drawing/2014/main" id="{78209912-AC58-4602-9C38-A95DBBF8472B}"/>
                </a:ext>
              </a:extLst>
            </p:cNvPr>
            <p:cNvSpPr>
              <a:spLocks/>
            </p:cNvSpPr>
            <p:nvPr>
              <p:custDataLst>
                <p:tags r:id="rId292"/>
              </p:custDataLst>
            </p:nvPr>
          </p:nvSpPr>
          <p:spPr bwMode="auto">
            <a:xfrm>
              <a:off x="4230688" y="1906588"/>
              <a:ext cx="30162" cy="60325"/>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02" name="Freeform 455">
              <a:extLst>
                <a:ext uri="{FF2B5EF4-FFF2-40B4-BE49-F238E27FC236}">
                  <a16:creationId xmlns:a16="http://schemas.microsoft.com/office/drawing/2014/main" id="{F36D4085-0829-4CB8-92C4-D54C0F72F1DF}"/>
                </a:ext>
              </a:extLst>
            </p:cNvPr>
            <p:cNvSpPr>
              <a:spLocks/>
            </p:cNvSpPr>
            <p:nvPr>
              <p:custDataLst>
                <p:tags r:id="rId293"/>
              </p:custDataLst>
            </p:nvPr>
          </p:nvSpPr>
          <p:spPr bwMode="auto">
            <a:xfrm>
              <a:off x="4202113" y="1911350"/>
              <a:ext cx="25400" cy="58738"/>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grpFill/>
            <a:ln w="9525" cmpd="sng">
              <a:noFill/>
              <a:prstDash val="solid"/>
              <a:round/>
              <a:headEnd/>
              <a:tailEnd/>
            </a:ln>
          </p:spPr>
          <p:txBody>
            <a:bodyPr/>
            <a:lstStyle/>
            <a:p>
              <a:endParaRPr lang="en-US" sz="2178"/>
            </a:p>
          </p:txBody>
        </p:sp>
        <p:sp>
          <p:nvSpPr>
            <p:cNvPr id="303" name="Freeform 456">
              <a:extLst>
                <a:ext uri="{FF2B5EF4-FFF2-40B4-BE49-F238E27FC236}">
                  <a16:creationId xmlns:a16="http://schemas.microsoft.com/office/drawing/2014/main" id="{4E983399-7429-4EF7-875F-E5789C3A3EDD}"/>
                </a:ext>
              </a:extLst>
            </p:cNvPr>
            <p:cNvSpPr>
              <a:spLocks/>
            </p:cNvSpPr>
            <p:nvPr>
              <p:custDataLst>
                <p:tags r:id="rId294"/>
              </p:custDataLst>
            </p:nvPr>
          </p:nvSpPr>
          <p:spPr bwMode="auto">
            <a:xfrm>
              <a:off x="4171950" y="1857375"/>
              <a:ext cx="52388" cy="77788"/>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04" name="Freeform 457">
              <a:extLst>
                <a:ext uri="{FF2B5EF4-FFF2-40B4-BE49-F238E27FC236}">
                  <a16:creationId xmlns:a16="http://schemas.microsoft.com/office/drawing/2014/main" id="{72414F8F-D2E5-4483-8FC6-9C3ECC9C3568}"/>
                </a:ext>
              </a:extLst>
            </p:cNvPr>
            <p:cNvSpPr>
              <a:spLocks/>
            </p:cNvSpPr>
            <p:nvPr>
              <p:custDataLst>
                <p:tags r:id="rId295"/>
              </p:custDataLst>
            </p:nvPr>
          </p:nvSpPr>
          <p:spPr bwMode="auto">
            <a:xfrm>
              <a:off x="4603750" y="2662238"/>
              <a:ext cx="273050" cy="307975"/>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grpFill/>
            <a:ln w="9525" cap="flat" cmpd="sng">
              <a:noFill/>
              <a:prstDash val="solid"/>
              <a:round/>
              <a:headEnd type="none" w="med" len="med"/>
              <a:tailEnd type="none" w="med" len="med"/>
            </a:ln>
            <a:effectLst/>
          </p:spPr>
          <p:txBody>
            <a:bodyPr/>
            <a:lstStyle/>
            <a:p>
              <a:endParaRPr lang="en-US" sz="2178"/>
            </a:p>
          </p:txBody>
        </p:sp>
        <p:sp>
          <p:nvSpPr>
            <p:cNvPr id="305" name="Freeform 458">
              <a:extLst>
                <a:ext uri="{FF2B5EF4-FFF2-40B4-BE49-F238E27FC236}">
                  <a16:creationId xmlns:a16="http://schemas.microsoft.com/office/drawing/2014/main" id="{87CDB8BD-B164-4006-B777-F68923AAB154}"/>
                </a:ext>
              </a:extLst>
            </p:cNvPr>
            <p:cNvSpPr>
              <a:spLocks/>
            </p:cNvSpPr>
            <p:nvPr>
              <p:custDataLst>
                <p:tags r:id="rId296"/>
              </p:custDataLst>
            </p:nvPr>
          </p:nvSpPr>
          <p:spPr bwMode="auto">
            <a:xfrm>
              <a:off x="4198938" y="2297113"/>
              <a:ext cx="17462" cy="57150"/>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06" name="Freeform 459">
              <a:extLst>
                <a:ext uri="{FF2B5EF4-FFF2-40B4-BE49-F238E27FC236}">
                  <a16:creationId xmlns:a16="http://schemas.microsoft.com/office/drawing/2014/main" id="{EF1DB9DC-FEAA-4903-B628-D37E8488BA39}"/>
                </a:ext>
              </a:extLst>
            </p:cNvPr>
            <p:cNvSpPr>
              <a:spLocks/>
            </p:cNvSpPr>
            <p:nvPr>
              <p:custDataLst>
                <p:tags r:id="rId297"/>
              </p:custDataLst>
            </p:nvPr>
          </p:nvSpPr>
          <p:spPr bwMode="auto">
            <a:xfrm>
              <a:off x="3838575" y="2047875"/>
              <a:ext cx="295275" cy="273050"/>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grpFill/>
            <a:ln w="9525" cap="flat" cmpd="sng">
              <a:noFill/>
              <a:prstDash val="solid"/>
              <a:round/>
              <a:headEnd type="none" w="med" len="med"/>
              <a:tailEnd type="none" w="med" len="med"/>
            </a:ln>
            <a:effectLst/>
          </p:spPr>
          <p:txBody>
            <a:bodyPr/>
            <a:lstStyle/>
            <a:p>
              <a:endParaRPr lang="en-US" sz="2178"/>
            </a:p>
          </p:txBody>
        </p:sp>
        <p:sp>
          <p:nvSpPr>
            <p:cNvPr id="307" name="Freeform 460">
              <a:extLst>
                <a:ext uri="{FF2B5EF4-FFF2-40B4-BE49-F238E27FC236}">
                  <a16:creationId xmlns:a16="http://schemas.microsoft.com/office/drawing/2014/main" id="{23847A61-B90C-4998-AEED-2C88A9C7538B}"/>
                </a:ext>
              </a:extLst>
            </p:cNvPr>
            <p:cNvSpPr>
              <a:spLocks/>
            </p:cNvSpPr>
            <p:nvPr>
              <p:custDataLst>
                <p:tags r:id="rId298"/>
              </p:custDataLst>
            </p:nvPr>
          </p:nvSpPr>
          <p:spPr bwMode="auto">
            <a:xfrm>
              <a:off x="4919663" y="2282825"/>
              <a:ext cx="150812" cy="82550"/>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grpFill/>
            <a:ln w="9525" cmpd="sng">
              <a:noFill/>
              <a:prstDash val="solid"/>
              <a:round/>
              <a:headEnd/>
              <a:tailEnd/>
            </a:ln>
          </p:spPr>
          <p:txBody>
            <a:bodyPr/>
            <a:lstStyle/>
            <a:p>
              <a:endParaRPr lang="en-US" sz="2178"/>
            </a:p>
          </p:txBody>
        </p:sp>
        <p:sp>
          <p:nvSpPr>
            <p:cNvPr id="308" name="Freeform 461">
              <a:extLst>
                <a:ext uri="{FF2B5EF4-FFF2-40B4-BE49-F238E27FC236}">
                  <a16:creationId xmlns:a16="http://schemas.microsoft.com/office/drawing/2014/main" id="{A1EB6386-155B-49ED-B014-CC78270E93C0}"/>
                </a:ext>
              </a:extLst>
            </p:cNvPr>
            <p:cNvSpPr>
              <a:spLocks/>
            </p:cNvSpPr>
            <p:nvPr>
              <p:custDataLst>
                <p:tags r:id="rId299"/>
              </p:custDataLst>
            </p:nvPr>
          </p:nvSpPr>
          <p:spPr bwMode="auto">
            <a:xfrm>
              <a:off x="4468813" y="2343150"/>
              <a:ext cx="147637" cy="173038"/>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grpFill/>
            <a:ln w="9525" cmpd="sng">
              <a:noFill/>
              <a:prstDash val="solid"/>
              <a:round/>
              <a:headEnd/>
              <a:tailEnd/>
            </a:ln>
          </p:spPr>
          <p:txBody>
            <a:bodyPr/>
            <a:lstStyle/>
            <a:p>
              <a:endParaRPr lang="en-US" sz="2178"/>
            </a:p>
          </p:txBody>
        </p:sp>
        <p:sp>
          <p:nvSpPr>
            <p:cNvPr id="309" name="Freeform 462">
              <a:extLst>
                <a:ext uri="{FF2B5EF4-FFF2-40B4-BE49-F238E27FC236}">
                  <a16:creationId xmlns:a16="http://schemas.microsoft.com/office/drawing/2014/main" id="{CF5AF46D-C250-45FD-94F3-4DF2A71CCD5A}"/>
                </a:ext>
              </a:extLst>
            </p:cNvPr>
            <p:cNvSpPr>
              <a:spLocks/>
            </p:cNvSpPr>
            <p:nvPr>
              <p:custDataLst>
                <p:tags r:id="rId300"/>
              </p:custDataLst>
            </p:nvPr>
          </p:nvSpPr>
          <p:spPr bwMode="auto">
            <a:xfrm>
              <a:off x="4552950" y="2535238"/>
              <a:ext cx="69850" cy="57150"/>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grpFill/>
            <a:ln w="9525" cap="flat" cmpd="sng">
              <a:noFill/>
              <a:prstDash val="solid"/>
              <a:round/>
              <a:headEnd type="none" w="med" len="med"/>
              <a:tailEnd type="none" w="med" len="med"/>
            </a:ln>
            <a:effectLst/>
          </p:spPr>
          <p:txBody>
            <a:bodyPr/>
            <a:lstStyle/>
            <a:p>
              <a:endParaRPr lang="en-US" sz="2178"/>
            </a:p>
          </p:txBody>
        </p:sp>
        <p:sp>
          <p:nvSpPr>
            <p:cNvPr id="310" name="Freeform 463">
              <a:extLst>
                <a:ext uri="{FF2B5EF4-FFF2-40B4-BE49-F238E27FC236}">
                  <a16:creationId xmlns:a16="http://schemas.microsoft.com/office/drawing/2014/main" id="{4F62FCCC-647F-4878-95E1-92B69192369A}"/>
                </a:ext>
              </a:extLst>
            </p:cNvPr>
            <p:cNvSpPr>
              <a:spLocks/>
            </p:cNvSpPr>
            <p:nvPr>
              <p:custDataLst>
                <p:tags r:id="rId301"/>
              </p:custDataLst>
            </p:nvPr>
          </p:nvSpPr>
          <p:spPr bwMode="auto">
            <a:xfrm>
              <a:off x="3632200" y="3267075"/>
              <a:ext cx="187325" cy="158750"/>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grpFill/>
            <a:ln w="9525" cmpd="sng">
              <a:noFill/>
              <a:prstDash val="solid"/>
              <a:round/>
              <a:headEnd/>
              <a:tailEnd/>
            </a:ln>
          </p:spPr>
          <p:txBody>
            <a:bodyPr/>
            <a:lstStyle/>
            <a:p>
              <a:endParaRPr lang="en-US" sz="2178"/>
            </a:p>
          </p:txBody>
        </p:sp>
        <p:sp>
          <p:nvSpPr>
            <p:cNvPr id="311" name="Freeform 464">
              <a:extLst>
                <a:ext uri="{FF2B5EF4-FFF2-40B4-BE49-F238E27FC236}">
                  <a16:creationId xmlns:a16="http://schemas.microsoft.com/office/drawing/2014/main" id="{5E20183A-0A1F-437D-BCFC-27D87C3969AD}"/>
                </a:ext>
              </a:extLst>
            </p:cNvPr>
            <p:cNvSpPr>
              <a:spLocks/>
            </p:cNvSpPr>
            <p:nvPr>
              <p:custDataLst>
                <p:tags r:id="rId302"/>
              </p:custDataLst>
            </p:nvPr>
          </p:nvSpPr>
          <p:spPr bwMode="auto">
            <a:xfrm>
              <a:off x="5676900" y="2530475"/>
              <a:ext cx="692150" cy="874713"/>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grpFill/>
            <a:ln w="9525" cmpd="sng">
              <a:noFill/>
              <a:prstDash val="solid"/>
              <a:round/>
              <a:headEnd/>
              <a:tailEnd/>
            </a:ln>
          </p:spPr>
          <p:txBody>
            <a:bodyPr/>
            <a:lstStyle/>
            <a:p>
              <a:endParaRPr lang="en-US" sz="2178"/>
            </a:p>
          </p:txBody>
        </p:sp>
        <p:sp>
          <p:nvSpPr>
            <p:cNvPr id="312" name="Freeform 465">
              <a:extLst>
                <a:ext uri="{FF2B5EF4-FFF2-40B4-BE49-F238E27FC236}">
                  <a16:creationId xmlns:a16="http://schemas.microsoft.com/office/drawing/2014/main" id="{1520A167-BE63-4B54-9556-123860B43BFA}"/>
                </a:ext>
              </a:extLst>
            </p:cNvPr>
            <p:cNvSpPr>
              <a:spLocks/>
            </p:cNvSpPr>
            <p:nvPr>
              <p:custDataLst>
                <p:tags r:id="rId303"/>
              </p:custDataLst>
            </p:nvPr>
          </p:nvSpPr>
          <p:spPr bwMode="auto">
            <a:xfrm>
              <a:off x="3798888" y="3325813"/>
              <a:ext cx="158750" cy="206375"/>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grpFill/>
            <a:ln w="9525" cmpd="sng">
              <a:noFill/>
              <a:prstDash val="solid"/>
              <a:round/>
              <a:headEnd/>
              <a:tailEnd/>
            </a:ln>
          </p:spPr>
          <p:txBody>
            <a:bodyPr/>
            <a:lstStyle/>
            <a:p>
              <a:endParaRPr lang="en-US" sz="2178"/>
            </a:p>
          </p:txBody>
        </p:sp>
        <p:sp>
          <p:nvSpPr>
            <p:cNvPr id="313" name="Freeform 466">
              <a:extLst>
                <a:ext uri="{FF2B5EF4-FFF2-40B4-BE49-F238E27FC236}">
                  <a16:creationId xmlns:a16="http://schemas.microsoft.com/office/drawing/2014/main" id="{2128BC67-5785-40E1-9E6D-71EBA4A8E2C8}"/>
                </a:ext>
              </a:extLst>
            </p:cNvPr>
            <p:cNvSpPr>
              <a:spLocks/>
            </p:cNvSpPr>
            <p:nvPr>
              <p:custDataLst>
                <p:tags r:id="rId304"/>
              </p:custDataLst>
            </p:nvPr>
          </p:nvSpPr>
          <p:spPr bwMode="auto">
            <a:xfrm>
              <a:off x="4867275" y="3521075"/>
              <a:ext cx="192088" cy="271463"/>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grpFill/>
            <a:ln w="9525" cmpd="sng">
              <a:noFill/>
              <a:prstDash val="solid"/>
              <a:round/>
              <a:headEnd/>
              <a:tailEnd/>
            </a:ln>
          </p:spPr>
          <p:txBody>
            <a:bodyPr/>
            <a:lstStyle/>
            <a:p>
              <a:endParaRPr lang="en-US" sz="2178"/>
            </a:p>
          </p:txBody>
        </p:sp>
        <p:sp>
          <p:nvSpPr>
            <p:cNvPr id="314" name="Freeform 467">
              <a:extLst>
                <a:ext uri="{FF2B5EF4-FFF2-40B4-BE49-F238E27FC236}">
                  <a16:creationId xmlns:a16="http://schemas.microsoft.com/office/drawing/2014/main" id="{9938F3A1-C2DA-41BB-ACBE-0D99EA84CF80}"/>
                </a:ext>
              </a:extLst>
            </p:cNvPr>
            <p:cNvSpPr>
              <a:spLocks/>
            </p:cNvSpPr>
            <p:nvPr>
              <p:custDataLst>
                <p:tags r:id="rId305"/>
              </p:custDataLst>
            </p:nvPr>
          </p:nvSpPr>
          <p:spPr bwMode="auto">
            <a:xfrm>
              <a:off x="4849813" y="2606675"/>
              <a:ext cx="101600" cy="130175"/>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grpFill/>
            <a:ln w="9525" cmpd="sng">
              <a:noFill/>
              <a:prstDash val="solid"/>
              <a:round/>
              <a:headEnd/>
              <a:tailEnd/>
            </a:ln>
          </p:spPr>
          <p:txBody>
            <a:bodyPr/>
            <a:lstStyle/>
            <a:p>
              <a:endParaRPr lang="en-US" sz="2178"/>
            </a:p>
          </p:txBody>
        </p:sp>
        <p:sp>
          <p:nvSpPr>
            <p:cNvPr id="315" name="Freeform 468">
              <a:extLst>
                <a:ext uri="{FF2B5EF4-FFF2-40B4-BE49-F238E27FC236}">
                  <a16:creationId xmlns:a16="http://schemas.microsoft.com/office/drawing/2014/main" id="{E6ABD3E8-3EB2-4E90-8483-561085141BBF}"/>
                </a:ext>
              </a:extLst>
            </p:cNvPr>
            <p:cNvSpPr>
              <a:spLocks/>
            </p:cNvSpPr>
            <p:nvPr>
              <p:custDataLst>
                <p:tags r:id="rId306"/>
              </p:custDataLst>
            </p:nvPr>
          </p:nvSpPr>
          <p:spPr bwMode="auto">
            <a:xfrm>
              <a:off x="5148263" y="2709863"/>
              <a:ext cx="22225" cy="55562"/>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grpFill/>
            <a:ln w="9525" cmpd="sng">
              <a:noFill/>
              <a:prstDash val="solid"/>
              <a:round/>
              <a:headEnd/>
              <a:tailEnd/>
            </a:ln>
          </p:spPr>
          <p:txBody>
            <a:bodyPr/>
            <a:lstStyle/>
            <a:p>
              <a:endParaRPr lang="en-US" sz="2178"/>
            </a:p>
          </p:txBody>
        </p:sp>
        <p:sp>
          <p:nvSpPr>
            <p:cNvPr id="316" name="Freeform 469">
              <a:extLst>
                <a:ext uri="{FF2B5EF4-FFF2-40B4-BE49-F238E27FC236}">
                  <a16:creationId xmlns:a16="http://schemas.microsoft.com/office/drawing/2014/main" id="{6E35AB50-E009-40A7-BB17-885DC2131715}"/>
                </a:ext>
              </a:extLst>
            </p:cNvPr>
            <p:cNvSpPr>
              <a:spLocks/>
            </p:cNvSpPr>
            <p:nvPr>
              <p:custDataLst>
                <p:tags r:id="rId307"/>
              </p:custDataLst>
            </p:nvPr>
          </p:nvSpPr>
          <p:spPr bwMode="auto">
            <a:xfrm>
              <a:off x="4435475" y="1844675"/>
              <a:ext cx="161925" cy="66675"/>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grpFill/>
            <a:ln w="9525" cap="flat" cmpd="sng">
              <a:noFill/>
              <a:prstDash val="solid"/>
              <a:round/>
              <a:headEnd type="none" w="med" len="med"/>
              <a:tailEnd type="none" w="med" len="med"/>
            </a:ln>
            <a:effectLst/>
          </p:spPr>
          <p:txBody>
            <a:bodyPr/>
            <a:lstStyle/>
            <a:p>
              <a:endParaRPr lang="en-US" sz="2178"/>
            </a:p>
          </p:txBody>
        </p:sp>
        <p:sp>
          <p:nvSpPr>
            <p:cNvPr id="317" name="Freeform 470">
              <a:extLst>
                <a:ext uri="{FF2B5EF4-FFF2-40B4-BE49-F238E27FC236}">
                  <a16:creationId xmlns:a16="http://schemas.microsoft.com/office/drawing/2014/main" id="{01668D94-AD10-495C-82AE-CC6550D429EE}"/>
                </a:ext>
              </a:extLst>
            </p:cNvPr>
            <p:cNvSpPr>
              <a:spLocks/>
            </p:cNvSpPr>
            <p:nvPr>
              <p:custDataLst>
                <p:tags r:id="rId308"/>
              </p:custDataLst>
            </p:nvPr>
          </p:nvSpPr>
          <p:spPr bwMode="auto">
            <a:xfrm>
              <a:off x="4846638" y="2565400"/>
              <a:ext cx="30162" cy="57150"/>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grpFill/>
            <a:ln w="9525" cmpd="sng">
              <a:noFill/>
              <a:prstDash val="solid"/>
              <a:round/>
              <a:headEnd/>
              <a:tailEnd/>
            </a:ln>
          </p:spPr>
          <p:txBody>
            <a:bodyPr/>
            <a:lstStyle/>
            <a:p>
              <a:endParaRPr lang="en-US" sz="2178"/>
            </a:p>
          </p:txBody>
        </p:sp>
        <p:sp>
          <p:nvSpPr>
            <p:cNvPr id="318" name="Freeform 471">
              <a:extLst>
                <a:ext uri="{FF2B5EF4-FFF2-40B4-BE49-F238E27FC236}">
                  <a16:creationId xmlns:a16="http://schemas.microsoft.com/office/drawing/2014/main" id="{0B86EC0F-BA60-4453-960B-D45A07DA7668}"/>
                </a:ext>
              </a:extLst>
            </p:cNvPr>
            <p:cNvSpPr>
              <a:spLocks/>
            </p:cNvSpPr>
            <p:nvPr>
              <p:custDataLst>
                <p:tags r:id="rId309"/>
              </p:custDataLst>
            </p:nvPr>
          </p:nvSpPr>
          <p:spPr bwMode="auto">
            <a:xfrm>
              <a:off x="4662488" y="4576763"/>
              <a:ext cx="61912" cy="57150"/>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grpFill/>
            <a:ln w="9525" cmpd="sng">
              <a:noFill/>
              <a:prstDash val="solid"/>
              <a:round/>
              <a:headEnd/>
              <a:tailEnd/>
            </a:ln>
          </p:spPr>
          <p:txBody>
            <a:bodyPr/>
            <a:lstStyle/>
            <a:p>
              <a:endParaRPr lang="en-US" sz="2178"/>
            </a:p>
          </p:txBody>
        </p:sp>
        <p:sp>
          <p:nvSpPr>
            <p:cNvPr id="319" name="Freeform 472">
              <a:extLst>
                <a:ext uri="{FF2B5EF4-FFF2-40B4-BE49-F238E27FC236}">
                  <a16:creationId xmlns:a16="http://schemas.microsoft.com/office/drawing/2014/main" id="{A96001B1-FF1C-43C7-8C52-DA185A7DE674}"/>
                </a:ext>
              </a:extLst>
            </p:cNvPr>
            <p:cNvSpPr>
              <a:spLocks/>
            </p:cNvSpPr>
            <p:nvPr>
              <p:custDataLst>
                <p:tags r:id="rId310"/>
              </p:custDataLst>
            </p:nvPr>
          </p:nvSpPr>
          <p:spPr bwMode="auto">
            <a:xfrm>
              <a:off x="4433888" y="1892300"/>
              <a:ext cx="131762" cy="84138"/>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grpFill/>
            <a:ln w="9525" cap="flat" cmpd="sng">
              <a:noFill/>
              <a:prstDash val="solid"/>
              <a:round/>
              <a:headEnd type="none" w="med" len="med"/>
              <a:tailEnd type="none" w="med" len="med"/>
            </a:ln>
            <a:effectLst/>
          </p:spPr>
          <p:txBody>
            <a:bodyPr/>
            <a:lstStyle/>
            <a:p>
              <a:endParaRPr lang="en-US" sz="2178"/>
            </a:p>
          </p:txBody>
        </p:sp>
        <p:sp>
          <p:nvSpPr>
            <p:cNvPr id="320" name="Freeform 473">
              <a:extLst>
                <a:ext uri="{FF2B5EF4-FFF2-40B4-BE49-F238E27FC236}">
                  <a16:creationId xmlns:a16="http://schemas.microsoft.com/office/drawing/2014/main" id="{2B6E26DD-F14F-4845-BAAF-CB9828F3D89F}"/>
                </a:ext>
              </a:extLst>
            </p:cNvPr>
            <p:cNvSpPr>
              <a:spLocks/>
            </p:cNvSpPr>
            <p:nvPr>
              <p:custDataLst>
                <p:tags r:id="rId311"/>
              </p:custDataLst>
            </p:nvPr>
          </p:nvSpPr>
          <p:spPr bwMode="auto">
            <a:xfrm>
              <a:off x="4140200" y="2078038"/>
              <a:ext cx="19050" cy="60325"/>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21" name="Freeform 474">
              <a:extLst>
                <a:ext uri="{FF2B5EF4-FFF2-40B4-BE49-F238E27FC236}">
                  <a16:creationId xmlns:a16="http://schemas.microsoft.com/office/drawing/2014/main" id="{829A63B3-B897-45E3-9F6C-6255C1F5EA18}"/>
                </a:ext>
              </a:extLst>
            </p:cNvPr>
            <p:cNvSpPr>
              <a:spLocks/>
            </p:cNvSpPr>
            <p:nvPr>
              <p:custDataLst>
                <p:tags r:id="rId312"/>
              </p:custDataLst>
            </p:nvPr>
          </p:nvSpPr>
          <p:spPr bwMode="auto">
            <a:xfrm>
              <a:off x="4837113" y="3962400"/>
              <a:ext cx="69850" cy="241300"/>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grpFill/>
            <a:ln w="9525" cmpd="sng">
              <a:noFill/>
              <a:prstDash val="solid"/>
              <a:round/>
              <a:headEnd/>
              <a:tailEnd/>
            </a:ln>
          </p:spPr>
          <p:txBody>
            <a:bodyPr/>
            <a:lstStyle/>
            <a:p>
              <a:endParaRPr lang="en-US" sz="2178"/>
            </a:p>
          </p:txBody>
        </p:sp>
        <p:sp>
          <p:nvSpPr>
            <p:cNvPr id="322" name="Freeform 475">
              <a:extLst>
                <a:ext uri="{FF2B5EF4-FFF2-40B4-BE49-F238E27FC236}">
                  <a16:creationId xmlns:a16="http://schemas.microsoft.com/office/drawing/2014/main" id="{34D6A835-333E-4F47-9E98-E89F10EB0BC3}"/>
                </a:ext>
              </a:extLst>
            </p:cNvPr>
            <p:cNvSpPr>
              <a:spLocks/>
            </p:cNvSpPr>
            <p:nvPr>
              <p:custDataLst>
                <p:tags r:id="rId313"/>
              </p:custDataLst>
            </p:nvPr>
          </p:nvSpPr>
          <p:spPr bwMode="auto">
            <a:xfrm>
              <a:off x="4329113" y="2533650"/>
              <a:ext cx="14287" cy="57150"/>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grpFill/>
            <a:ln w="9525" cmpd="sng">
              <a:noFill/>
              <a:prstDash val="solid"/>
              <a:round/>
              <a:headEnd/>
              <a:tailEnd/>
            </a:ln>
          </p:spPr>
          <p:txBody>
            <a:bodyPr/>
            <a:lstStyle/>
            <a:p>
              <a:endParaRPr lang="en-US" sz="2178"/>
            </a:p>
          </p:txBody>
        </p:sp>
        <p:sp>
          <p:nvSpPr>
            <p:cNvPr id="323" name="Freeform 476">
              <a:extLst>
                <a:ext uri="{FF2B5EF4-FFF2-40B4-BE49-F238E27FC236}">
                  <a16:creationId xmlns:a16="http://schemas.microsoft.com/office/drawing/2014/main" id="{6FD3DC4E-2AC8-4382-83D0-9C0A60AB4B68}"/>
                </a:ext>
              </a:extLst>
            </p:cNvPr>
            <p:cNvSpPr>
              <a:spLocks/>
            </p:cNvSpPr>
            <p:nvPr>
              <p:custDataLst>
                <p:tags r:id="rId314"/>
              </p:custDataLst>
            </p:nvPr>
          </p:nvSpPr>
          <p:spPr bwMode="auto">
            <a:xfrm>
              <a:off x="4648200" y="4154488"/>
              <a:ext cx="188913" cy="217487"/>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grpFill/>
            <a:ln w="9525" cmpd="sng">
              <a:noFill/>
              <a:prstDash val="solid"/>
              <a:round/>
              <a:headEnd/>
              <a:tailEnd/>
            </a:ln>
          </p:spPr>
          <p:txBody>
            <a:bodyPr/>
            <a:lstStyle/>
            <a:p>
              <a:endParaRPr lang="en-US" sz="2178"/>
            </a:p>
          </p:txBody>
        </p:sp>
        <p:sp>
          <p:nvSpPr>
            <p:cNvPr id="324" name="Freeform 477">
              <a:extLst>
                <a:ext uri="{FF2B5EF4-FFF2-40B4-BE49-F238E27FC236}">
                  <a16:creationId xmlns:a16="http://schemas.microsoft.com/office/drawing/2014/main" id="{05AACC5C-6979-4B60-8195-D31D9F3BF38B}"/>
                </a:ext>
              </a:extLst>
            </p:cNvPr>
            <p:cNvSpPr>
              <a:spLocks/>
            </p:cNvSpPr>
            <p:nvPr>
              <p:custDataLst>
                <p:tags r:id="rId315"/>
              </p:custDataLst>
            </p:nvPr>
          </p:nvSpPr>
          <p:spPr bwMode="auto">
            <a:xfrm>
              <a:off x="4560888" y="3930650"/>
              <a:ext cx="293687" cy="300038"/>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grpFill/>
            <a:ln w="9525" cmpd="sng">
              <a:noFill/>
              <a:prstDash val="solid"/>
              <a:round/>
              <a:headEnd/>
              <a:tailEnd/>
            </a:ln>
          </p:spPr>
          <p:txBody>
            <a:bodyPr/>
            <a:lstStyle/>
            <a:p>
              <a:endParaRPr lang="en-US" sz="2178"/>
            </a:p>
          </p:txBody>
        </p:sp>
        <p:sp>
          <p:nvSpPr>
            <p:cNvPr id="325" name="Freeform 478">
              <a:extLst>
                <a:ext uri="{FF2B5EF4-FFF2-40B4-BE49-F238E27FC236}">
                  <a16:creationId xmlns:a16="http://schemas.microsoft.com/office/drawing/2014/main" id="{14C974D5-6C03-4603-B5C2-88ABD3DD6804}"/>
                </a:ext>
              </a:extLst>
            </p:cNvPr>
            <p:cNvSpPr>
              <a:spLocks/>
            </p:cNvSpPr>
            <p:nvPr>
              <p:custDataLst>
                <p:tags r:id="rId316"/>
              </p:custDataLst>
            </p:nvPr>
          </p:nvSpPr>
          <p:spPr bwMode="auto">
            <a:xfrm>
              <a:off x="4297363" y="4203700"/>
              <a:ext cx="350837" cy="381000"/>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grpFill/>
            <a:ln w="9525" cmpd="sng">
              <a:noFill/>
              <a:prstDash val="solid"/>
              <a:round/>
              <a:headEnd/>
              <a:tailEnd/>
            </a:ln>
          </p:spPr>
          <p:txBody>
            <a:bodyPr/>
            <a:lstStyle/>
            <a:p>
              <a:endParaRPr lang="en-US" sz="2178"/>
            </a:p>
          </p:txBody>
        </p:sp>
        <p:sp>
          <p:nvSpPr>
            <p:cNvPr id="326" name="Freeform 479">
              <a:extLst>
                <a:ext uri="{FF2B5EF4-FFF2-40B4-BE49-F238E27FC236}">
                  <a16:creationId xmlns:a16="http://schemas.microsoft.com/office/drawing/2014/main" id="{256199DB-7F5F-4646-B16C-4FC43BADCA02}"/>
                </a:ext>
              </a:extLst>
            </p:cNvPr>
            <p:cNvSpPr>
              <a:spLocks/>
            </p:cNvSpPr>
            <p:nvPr>
              <p:custDataLst>
                <p:tags r:id="rId317"/>
              </p:custDataLst>
            </p:nvPr>
          </p:nvSpPr>
          <p:spPr bwMode="auto">
            <a:xfrm>
              <a:off x="3576638" y="3133725"/>
              <a:ext cx="161925" cy="141288"/>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grpFill/>
            <a:ln w="9525" cmpd="sng">
              <a:noFill/>
              <a:prstDash val="solid"/>
              <a:round/>
              <a:headEnd/>
              <a:tailEnd/>
            </a:ln>
          </p:spPr>
          <p:txBody>
            <a:bodyPr/>
            <a:lstStyle/>
            <a:p>
              <a:endParaRPr lang="en-US" sz="2178"/>
            </a:p>
          </p:txBody>
        </p:sp>
        <p:sp>
          <p:nvSpPr>
            <p:cNvPr id="327" name="Freeform 480">
              <a:extLst>
                <a:ext uri="{FF2B5EF4-FFF2-40B4-BE49-F238E27FC236}">
                  <a16:creationId xmlns:a16="http://schemas.microsoft.com/office/drawing/2014/main" id="{0C2AE945-197E-421C-BA6F-54CFB6F94A2D}"/>
                </a:ext>
              </a:extLst>
            </p:cNvPr>
            <p:cNvSpPr>
              <a:spLocks/>
            </p:cNvSpPr>
            <p:nvPr>
              <p:custDataLst>
                <p:tags r:id="rId318"/>
              </p:custDataLst>
            </p:nvPr>
          </p:nvSpPr>
          <p:spPr bwMode="auto">
            <a:xfrm>
              <a:off x="4749800" y="3695700"/>
              <a:ext cx="269875" cy="334963"/>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grpFill/>
            <a:ln w="9525" cmpd="sng">
              <a:noFill/>
              <a:prstDash val="solid"/>
              <a:round/>
              <a:headEnd/>
              <a:tailEnd/>
            </a:ln>
          </p:spPr>
          <p:txBody>
            <a:bodyPr/>
            <a:lstStyle/>
            <a:p>
              <a:endParaRPr lang="en-US" sz="2178"/>
            </a:p>
          </p:txBody>
        </p:sp>
        <p:sp>
          <p:nvSpPr>
            <p:cNvPr id="328" name="Freeform 481">
              <a:extLst>
                <a:ext uri="{FF2B5EF4-FFF2-40B4-BE49-F238E27FC236}">
                  <a16:creationId xmlns:a16="http://schemas.microsoft.com/office/drawing/2014/main" id="{8C171998-D3BA-4E9D-81B8-095EDCF8A05C}"/>
                </a:ext>
              </a:extLst>
            </p:cNvPr>
            <p:cNvSpPr>
              <a:spLocks/>
            </p:cNvSpPr>
            <p:nvPr>
              <p:custDataLst>
                <p:tags r:id="rId319"/>
              </p:custDataLst>
            </p:nvPr>
          </p:nvSpPr>
          <p:spPr bwMode="auto">
            <a:xfrm>
              <a:off x="7313613" y="2209800"/>
              <a:ext cx="19050" cy="57150"/>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29" name="Freeform 482">
              <a:extLst>
                <a:ext uri="{FF2B5EF4-FFF2-40B4-BE49-F238E27FC236}">
                  <a16:creationId xmlns:a16="http://schemas.microsoft.com/office/drawing/2014/main" id="{AE110882-2B36-4B32-A8DF-9E9DBD1F65A4}"/>
                </a:ext>
              </a:extLst>
            </p:cNvPr>
            <p:cNvSpPr>
              <a:spLocks/>
            </p:cNvSpPr>
            <p:nvPr>
              <p:custDataLst>
                <p:tags r:id="rId320"/>
              </p:custDataLst>
            </p:nvPr>
          </p:nvSpPr>
          <p:spPr bwMode="auto">
            <a:xfrm>
              <a:off x="7172325" y="2211388"/>
              <a:ext cx="141288" cy="125412"/>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30" name="Freeform 483">
              <a:extLst>
                <a:ext uri="{FF2B5EF4-FFF2-40B4-BE49-F238E27FC236}">
                  <a16:creationId xmlns:a16="http://schemas.microsoft.com/office/drawing/2014/main" id="{B6473A9A-897A-46DF-BCF5-6C6DB08CB01E}"/>
                </a:ext>
              </a:extLst>
            </p:cNvPr>
            <p:cNvSpPr>
              <a:spLocks/>
            </p:cNvSpPr>
            <p:nvPr>
              <p:custDataLst>
                <p:tags r:id="rId321"/>
              </p:custDataLst>
            </p:nvPr>
          </p:nvSpPr>
          <p:spPr bwMode="auto">
            <a:xfrm>
              <a:off x="7142163" y="2565400"/>
              <a:ext cx="52387" cy="57150"/>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31" name="Freeform 484">
              <a:extLst>
                <a:ext uri="{FF2B5EF4-FFF2-40B4-BE49-F238E27FC236}">
                  <a16:creationId xmlns:a16="http://schemas.microsoft.com/office/drawing/2014/main" id="{7814427E-B134-4ACA-84FA-0D7ABB448A5C}"/>
                </a:ext>
              </a:extLst>
            </p:cNvPr>
            <p:cNvSpPr>
              <a:spLocks/>
            </p:cNvSpPr>
            <p:nvPr>
              <p:custDataLst>
                <p:tags r:id="rId322"/>
              </p:custDataLst>
            </p:nvPr>
          </p:nvSpPr>
          <p:spPr bwMode="auto">
            <a:xfrm>
              <a:off x="7088188" y="2579688"/>
              <a:ext cx="60325" cy="84137"/>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32" name="Freeform 485">
              <a:extLst>
                <a:ext uri="{FF2B5EF4-FFF2-40B4-BE49-F238E27FC236}">
                  <a16:creationId xmlns:a16="http://schemas.microsoft.com/office/drawing/2014/main" id="{561744FF-6288-455B-8766-CFFFD56B2DDF}"/>
                </a:ext>
              </a:extLst>
            </p:cNvPr>
            <p:cNvSpPr>
              <a:spLocks/>
            </p:cNvSpPr>
            <p:nvPr>
              <p:custDataLst>
                <p:tags r:id="rId323"/>
              </p:custDataLst>
            </p:nvPr>
          </p:nvSpPr>
          <p:spPr bwMode="auto">
            <a:xfrm>
              <a:off x="7104063" y="2341563"/>
              <a:ext cx="209550" cy="244475"/>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33" name="Freeform 486">
              <a:extLst>
                <a:ext uri="{FF2B5EF4-FFF2-40B4-BE49-F238E27FC236}">
                  <a16:creationId xmlns:a16="http://schemas.microsoft.com/office/drawing/2014/main" id="{DBE715A9-2BED-431C-80C9-499FA655B070}"/>
                </a:ext>
              </a:extLst>
            </p:cNvPr>
            <p:cNvSpPr>
              <a:spLocks/>
            </p:cNvSpPr>
            <p:nvPr>
              <p:custDataLst>
                <p:tags r:id="rId324"/>
              </p:custDataLst>
            </p:nvPr>
          </p:nvSpPr>
          <p:spPr bwMode="auto">
            <a:xfrm>
              <a:off x="4687888" y="1231900"/>
              <a:ext cx="107950" cy="60325"/>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34" name="Freeform 487">
              <a:extLst>
                <a:ext uri="{FF2B5EF4-FFF2-40B4-BE49-F238E27FC236}">
                  <a16:creationId xmlns:a16="http://schemas.microsoft.com/office/drawing/2014/main" id="{343CDF35-8744-4356-B295-65D2C4B0FA7A}"/>
                </a:ext>
              </a:extLst>
            </p:cNvPr>
            <p:cNvSpPr>
              <a:spLocks/>
            </p:cNvSpPr>
            <p:nvPr>
              <p:custDataLst>
                <p:tags r:id="rId325"/>
              </p:custDataLst>
            </p:nvPr>
          </p:nvSpPr>
          <p:spPr bwMode="auto">
            <a:xfrm>
              <a:off x="4830763" y="1214438"/>
              <a:ext cx="63500" cy="57150"/>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35" name="Freeform 488">
              <a:extLst>
                <a:ext uri="{FF2B5EF4-FFF2-40B4-BE49-F238E27FC236}">
                  <a16:creationId xmlns:a16="http://schemas.microsoft.com/office/drawing/2014/main" id="{380FB36F-760F-4FDC-927E-BC90448110DF}"/>
                </a:ext>
              </a:extLst>
            </p:cNvPr>
            <p:cNvSpPr>
              <a:spLocks/>
            </p:cNvSpPr>
            <p:nvPr>
              <p:custDataLst>
                <p:tags r:id="rId326"/>
              </p:custDataLst>
            </p:nvPr>
          </p:nvSpPr>
          <p:spPr bwMode="auto">
            <a:xfrm>
              <a:off x="4867275" y="1222375"/>
              <a:ext cx="130175" cy="57150"/>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36" name="Freeform 489">
              <a:extLst>
                <a:ext uri="{FF2B5EF4-FFF2-40B4-BE49-F238E27FC236}">
                  <a16:creationId xmlns:a16="http://schemas.microsoft.com/office/drawing/2014/main" id="{6EB20C87-D705-4A8E-A1D9-692DA503CDD7}"/>
                </a:ext>
              </a:extLst>
            </p:cNvPr>
            <p:cNvSpPr>
              <a:spLocks/>
            </p:cNvSpPr>
            <p:nvPr>
              <p:custDataLst>
                <p:tags r:id="rId327"/>
              </p:custDataLst>
            </p:nvPr>
          </p:nvSpPr>
          <p:spPr bwMode="auto">
            <a:xfrm>
              <a:off x="5400675" y="1408113"/>
              <a:ext cx="41275" cy="57150"/>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37" name="Freeform 490">
              <a:extLst>
                <a:ext uri="{FF2B5EF4-FFF2-40B4-BE49-F238E27FC236}">
                  <a16:creationId xmlns:a16="http://schemas.microsoft.com/office/drawing/2014/main" id="{A72D3CC1-FCF4-4133-986F-4CFBD7630B90}"/>
                </a:ext>
              </a:extLst>
            </p:cNvPr>
            <p:cNvSpPr>
              <a:spLocks/>
            </p:cNvSpPr>
            <p:nvPr>
              <p:custDataLst>
                <p:tags r:id="rId328"/>
              </p:custDataLst>
            </p:nvPr>
          </p:nvSpPr>
          <p:spPr bwMode="auto">
            <a:xfrm>
              <a:off x="5310188" y="1266825"/>
              <a:ext cx="15875" cy="58738"/>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38" name="Freeform 491">
              <a:extLst>
                <a:ext uri="{FF2B5EF4-FFF2-40B4-BE49-F238E27FC236}">
                  <a16:creationId xmlns:a16="http://schemas.microsoft.com/office/drawing/2014/main" id="{25F1799E-03AA-40F4-A99A-BCDF775E2669}"/>
                </a:ext>
              </a:extLst>
            </p:cNvPr>
            <p:cNvSpPr>
              <a:spLocks/>
            </p:cNvSpPr>
            <p:nvPr>
              <p:custDataLst>
                <p:tags r:id="rId329"/>
              </p:custDataLst>
            </p:nvPr>
          </p:nvSpPr>
          <p:spPr bwMode="auto">
            <a:xfrm>
              <a:off x="5332413" y="1225550"/>
              <a:ext cx="14287" cy="60325"/>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39" name="Freeform 492">
              <a:extLst>
                <a:ext uri="{FF2B5EF4-FFF2-40B4-BE49-F238E27FC236}">
                  <a16:creationId xmlns:a16="http://schemas.microsoft.com/office/drawing/2014/main" id="{DD56B6D4-6CBC-4D43-A545-0654F50FC384}"/>
                </a:ext>
              </a:extLst>
            </p:cNvPr>
            <p:cNvSpPr>
              <a:spLocks/>
            </p:cNvSpPr>
            <p:nvPr>
              <p:custDataLst>
                <p:tags r:id="rId330"/>
              </p:custDataLst>
            </p:nvPr>
          </p:nvSpPr>
          <p:spPr bwMode="auto">
            <a:xfrm>
              <a:off x="5476875" y="1341438"/>
              <a:ext cx="17463" cy="57150"/>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40" name="Freeform 493">
              <a:extLst>
                <a:ext uri="{FF2B5EF4-FFF2-40B4-BE49-F238E27FC236}">
                  <a16:creationId xmlns:a16="http://schemas.microsoft.com/office/drawing/2014/main" id="{9CC0315B-F2F7-429F-A3D4-9A1A1E6D3666}"/>
                </a:ext>
              </a:extLst>
            </p:cNvPr>
            <p:cNvSpPr>
              <a:spLocks/>
            </p:cNvSpPr>
            <p:nvPr>
              <p:custDataLst>
                <p:tags r:id="rId331"/>
              </p:custDataLst>
            </p:nvPr>
          </p:nvSpPr>
          <p:spPr bwMode="auto">
            <a:xfrm>
              <a:off x="5530850" y="1225550"/>
              <a:ext cx="93663" cy="60325"/>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41" name="Freeform 494">
              <a:extLst>
                <a:ext uri="{FF2B5EF4-FFF2-40B4-BE49-F238E27FC236}">
                  <a16:creationId xmlns:a16="http://schemas.microsoft.com/office/drawing/2014/main" id="{F7516D45-5BD9-413C-8B77-760D7E44368B}"/>
                </a:ext>
              </a:extLst>
            </p:cNvPr>
            <p:cNvSpPr>
              <a:spLocks/>
            </p:cNvSpPr>
            <p:nvPr>
              <p:custDataLst>
                <p:tags r:id="rId332"/>
              </p:custDataLst>
            </p:nvPr>
          </p:nvSpPr>
          <p:spPr bwMode="auto">
            <a:xfrm>
              <a:off x="5591175" y="1250950"/>
              <a:ext cx="103188" cy="60325"/>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42" name="Freeform 495">
              <a:extLst>
                <a:ext uri="{FF2B5EF4-FFF2-40B4-BE49-F238E27FC236}">
                  <a16:creationId xmlns:a16="http://schemas.microsoft.com/office/drawing/2014/main" id="{4BB2B016-0659-4A1C-9A8E-5BD9CB2330D1}"/>
                </a:ext>
              </a:extLst>
            </p:cNvPr>
            <p:cNvSpPr>
              <a:spLocks/>
            </p:cNvSpPr>
            <p:nvPr>
              <p:custDataLst>
                <p:tags r:id="rId333"/>
              </p:custDataLst>
            </p:nvPr>
          </p:nvSpPr>
          <p:spPr bwMode="auto">
            <a:xfrm>
              <a:off x="5708650" y="1265238"/>
              <a:ext cx="82550" cy="57150"/>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43" name="Freeform 496">
              <a:extLst>
                <a:ext uri="{FF2B5EF4-FFF2-40B4-BE49-F238E27FC236}">
                  <a16:creationId xmlns:a16="http://schemas.microsoft.com/office/drawing/2014/main" id="{8BF218B7-0330-4BE2-9301-626B7C2D63F9}"/>
                </a:ext>
              </a:extLst>
            </p:cNvPr>
            <p:cNvSpPr>
              <a:spLocks/>
            </p:cNvSpPr>
            <p:nvPr>
              <p:custDataLst>
                <p:tags r:id="rId334"/>
              </p:custDataLst>
            </p:nvPr>
          </p:nvSpPr>
          <p:spPr bwMode="auto">
            <a:xfrm>
              <a:off x="6235700" y="1390650"/>
              <a:ext cx="79375" cy="58738"/>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44" name="Freeform 497">
              <a:extLst>
                <a:ext uri="{FF2B5EF4-FFF2-40B4-BE49-F238E27FC236}">
                  <a16:creationId xmlns:a16="http://schemas.microsoft.com/office/drawing/2014/main" id="{AB12A350-C47D-44EF-8BC8-14DE94B5E792}"/>
                </a:ext>
              </a:extLst>
            </p:cNvPr>
            <p:cNvSpPr>
              <a:spLocks/>
            </p:cNvSpPr>
            <p:nvPr>
              <p:custDataLst>
                <p:tags r:id="rId335"/>
              </p:custDataLst>
            </p:nvPr>
          </p:nvSpPr>
          <p:spPr bwMode="auto">
            <a:xfrm>
              <a:off x="6302375" y="1408113"/>
              <a:ext cx="33338" cy="57150"/>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45" name="Freeform 498">
              <a:extLst>
                <a:ext uri="{FF2B5EF4-FFF2-40B4-BE49-F238E27FC236}">
                  <a16:creationId xmlns:a16="http://schemas.microsoft.com/office/drawing/2014/main" id="{7EBF4AE9-0081-4E24-9373-D2267AB42446}"/>
                </a:ext>
              </a:extLst>
            </p:cNvPr>
            <p:cNvSpPr>
              <a:spLocks/>
            </p:cNvSpPr>
            <p:nvPr>
              <p:custDataLst>
                <p:tags r:id="rId336"/>
              </p:custDataLst>
            </p:nvPr>
          </p:nvSpPr>
          <p:spPr bwMode="auto">
            <a:xfrm>
              <a:off x="6332538" y="1419225"/>
              <a:ext cx="52387" cy="58738"/>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46" name="Freeform 499">
              <a:extLst>
                <a:ext uri="{FF2B5EF4-FFF2-40B4-BE49-F238E27FC236}">
                  <a16:creationId xmlns:a16="http://schemas.microsoft.com/office/drawing/2014/main" id="{6B6DCDAE-559D-4620-9C44-AC07033AB556}"/>
                </a:ext>
              </a:extLst>
            </p:cNvPr>
            <p:cNvSpPr>
              <a:spLocks/>
            </p:cNvSpPr>
            <p:nvPr>
              <p:custDataLst>
                <p:tags r:id="rId337"/>
              </p:custDataLst>
            </p:nvPr>
          </p:nvSpPr>
          <p:spPr bwMode="auto">
            <a:xfrm>
              <a:off x="6103938" y="1392238"/>
              <a:ext cx="61912" cy="58737"/>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47" name="Freeform 500">
              <a:extLst>
                <a:ext uri="{FF2B5EF4-FFF2-40B4-BE49-F238E27FC236}">
                  <a16:creationId xmlns:a16="http://schemas.microsoft.com/office/drawing/2014/main" id="{0CE1E309-7949-4F7E-B62C-EEBD09CDEC49}"/>
                </a:ext>
              </a:extLst>
            </p:cNvPr>
            <p:cNvSpPr>
              <a:spLocks/>
            </p:cNvSpPr>
            <p:nvPr>
              <p:custDataLst>
                <p:tags r:id="rId338"/>
              </p:custDataLst>
            </p:nvPr>
          </p:nvSpPr>
          <p:spPr bwMode="auto">
            <a:xfrm>
              <a:off x="6403975" y="1333500"/>
              <a:ext cx="139700" cy="57150"/>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48" name="Freeform 501">
              <a:extLst>
                <a:ext uri="{FF2B5EF4-FFF2-40B4-BE49-F238E27FC236}">
                  <a16:creationId xmlns:a16="http://schemas.microsoft.com/office/drawing/2014/main" id="{0E13F4DA-26E4-430F-A9A7-5C44CDDECCDF}"/>
                </a:ext>
              </a:extLst>
            </p:cNvPr>
            <p:cNvSpPr>
              <a:spLocks/>
            </p:cNvSpPr>
            <p:nvPr>
              <p:custDataLst>
                <p:tags r:id="rId339"/>
              </p:custDataLst>
            </p:nvPr>
          </p:nvSpPr>
          <p:spPr bwMode="auto">
            <a:xfrm>
              <a:off x="6564313" y="1341438"/>
              <a:ext cx="95250" cy="57150"/>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49" name="Freeform 502">
              <a:extLst>
                <a:ext uri="{FF2B5EF4-FFF2-40B4-BE49-F238E27FC236}">
                  <a16:creationId xmlns:a16="http://schemas.microsoft.com/office/drawing/2014/main" id="{0E41A563-5184-4808-AB91-81024AE06756}"/>
                </a:ext>
              </a:extLst>
            </p:cNvPr>
            <p:cNvSpPr>
              <a:spLocks/>
            </p:cNvSpPr>
            <p:nvPr>
              <p:custDataLst>
                <p:tags r:id="rId340"/>
              </p:custDataLst>
            </p:nvPr>
          </p:nvSpPr>
          <p:spPr bwMode="auto">
            <a:xfrm>
              <a:off x="6524625" y="1389063"/>
              <a:ext cx="63500" cy="58737"/>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50" name="Freeform 503">
              <a:extLst>
                <a:ext uri="{FF2B5EF4-FFF2-40B4-BE49-F238E27FC236}">
                  <a16:creationId xmlns:a16="http://schemas.microsoft.com/office/drawing/2014/main" id="{120B362F-794D-4DFC-984D-E500E2785C87}"/>
                </a:ext>
              </a:extLst>
            </p:cNvPr>
            <p:cNvSpPr>
              <a:spLocks/>
            </p:cNvSpPr>
            <p:nvPr>
              <p:custDataLst>
                <p:tags r:id="rId341"/>
              </p:custDataLst>
            </p:nvPr>
          </p:nvSpPr>
          <p:spPr bwMode="auto">
            <a:xfrm>
              <a:off x="6503988" y="1385888"/>
              <a:ext cx="20637" cy="58737"/>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51" name="Line 504">
              <a:extLst>
                <a:ext uri="{FF2B5EF4-FFF2-40B4-BE49-F238E27FC236}">
                  <a16:creationId xmlns:a16="http://schemas.microsoft.com/office/drawing/2014/main" id="{C2DE225A-BD89-42F3-88CD-F84EF5A81C36}"/>
                </a:ext>
              </a:extLst>
            </p:cNvPr>
            <p:cNvSpPr>
              <a:spLocks noChangeShapeType="1"/>
            </p:cNvSpPr>
            <p:nvPr>
              <p:custDataLst>
                <p:tags r:id="rId342"/>
              </p:custDataLst>
            </p:nvPr>
          </p:nvSpPr>
          <p:spPr bwMode="auto">
            <a:xfrm flipV="1">
              <a:off x="6505575" y="1384300"/>
              <a:ext cx="0" cy="1588"/>
            </a:xfrm>
            <a:prstGeom prst="line">
              <a:avLst/>
            </a:prstGeom>
            <a:grpFill/>
            <a:ln w="9525">
              <a:no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52" name="Freeform 505">
              <a:extLst>
                <a:ext uri="{FF2B5EF4-FFF2-40B4-BE49-F238E27FC236}">
                  <a16:creationId xmlns:a16="http://schemas.microsoft.com/office/drawing/2014/main" id="{00403190-E59A-4DA4-816E-39C95ED565BB}"/>
                </a:ext>
              </a:extLst>
            </p:cNvPr>
            <p:cNvSpPr>
              <a:spLocks/>
            </p:cNvSpPr>
            <p:nvPr>
              <p:custDataLst>
                <p:tags r:id="rId343"/>
              </p:custDataLst>
            </p:nvPr>
          </p:nvSpPr>
          <p:spPr bwMode="auto">
            <a:xfrm>
              <a:off x="5675313" y="1312863"/>
              <a:ext cx="11112" cy="55562"/>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53" name="Freeform 506">
              <a:extLst>
                <a:ext uri="{FF2B5EF4-FFF2-40B4-BE49-F238E27FC236}">
                  <a16:creationId xmlns:a16="http://schemas.microsoft.com/office/drawing/2014/main" id="{7CFED07C-BD91-469E-8EDC-B09C5BA722E3}"/>
                </a:ext>
              </a:extLst>
            </p:cNvPr>
            <p:cNvSpPr>
              <a:spLocks/>
            </p:cNvSpPr>
            <p:nvPr>
              <p:custDataLst>
                <p:tags r:id="rId344"/>
              </p:custDataLst>
            </p:nvPr>
          </p:nvSpPr>
          <p:spPr bwMode="auto">
            <a:xfrm>
              <a:off x="6424613" y="1384300"/>
              <a:ext cx="9525" cy="57150"/>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54" name="Freeform 507">
              <a:extLst>
                <a:ext uri="{FF2B5EF4-FFF2-40B4-BE49-F238E27FC236}">
                  <a16:creationId xmlns:a16="http://schemas.microsoft.com/office/drawing/2014/main" id="{022D93DA-07FE-4DF0-B880-A41C9A398373}"/>
                </a:ext>
              </a:extLst>
            </p:cNvPr>
            <p:cNvSpPr>
              <a:spLocks/>
            </p:cNvSpPr>
            <p:nvPr>
              <p:custDataLst>
                <p:tags r:id="rId345"/>
              </p:custDataLst>
            </p:nvPr>
          </p:nvSpPr>
          <p:spPr bwMode="auto">
            <a:xfrm>
              <a:off x="6378575" y="1347788"/>
              <a:ext cx="9525" cy="57150"/>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55" name="Freeform 508">
              <a:extLst>
                <a:ext uri="{FF2B5EF4-FFF2-40B4-BE49-F238E27FC236}">
                  <a16:creationId xmlns:a16="http://schemas.microsoft.com/office/drawing/2014/main" id="{D1746941-E827-45C9-809A-2CECCCA4051D}"/>
                </a:ext>
              </a:extLst>
            </p:cNvPr>
            <p:cNvSpPr>
              <a:spLocks/>
            </p:cNvSpPr>
            <p:nvPr>
              <p:custDataLst>
                <p:tags r:id="rId346"/>
              </p:custDataLst>
            </p:nvPr>
          </p:nvSpPr>
          <p:spPr bwMode="auto">
            <a:xfrm>
              <a:off x="6878638" y="1917700"/>
              <a:ext cx="12700" cy="58738"/>
            </a:xfrm>
            <a:custGeom>
              <a:avLst/>
              <a:gdLst>
                <a:gd name="T0" fmla="*/ 0 w 33"/>
                <a:gd name="T1" fmla="*/ 31 h 31"/>
                <a:gd name="T2" fmla="*/ 0 w 33"/>
                <a:gd name="T3" fmla="*/ 0 h 31"/>
                <a:gd name="T4" fmla="*/ 9 w 33"/>
                <a:gd name="T5" fmla="*/ 0 h 31"/>
                <a:gd name="T6" fmla="*/ 16 w 33"/>
                <a:gd name="T7" fmla="*/ 0 h 31"/>
                <a:gd name="T8" fmla="*/ 24 w 33"/>
                <a:gd name="T9" fmla="*/ 0 h 31"/>
                <a:gd name="T10" fmla="*/ 33 w 33"/>
                <a:gd name="T11" fmla="*/ 0 h 31"/>
                <a:gd name="T12" fmla="*/ 30 w 33"/>
                <a:gd name="T13" fmla="*/ 2 h 31"/>
                <a:gd name="T14" fmla="*/ 29 w 33"/>
                <a:gd name="T15" fmla="*/ 5 h 31"/>
                <a:gd name="T16" fmla="*/ 28 w 33"/>
                <a:gd name="T17" fmla="*/ 9 h 31"/>
                <a:gd name="T18" fmla="*/ 28 w 33"/>
                <a:gd name="T19" fmla="*/ 13 h 31"/>
                <a:gd name="T20" fmla="*/ 28 w 33"/>
                <a:gd name="T21" fmla="*/ 17 h 31"/>
                <a:gd name="T22" fmla="*/ 29 w 33"/>
                <a:gd name="T23" fmla="*/ 21 h 31"/>
                <a:gd name="T24" fmla="*/ 30 w 33"/>
                <a:gd name="T25" fmla="*/ 26 h 31"/>
                <a:gd name="T26" fmla="*/ 33 w 33"/>
                <a:gd name="T27" fmla="*/ 31 h 31"/>
                <a:gd name="T28" fmla="*/ 0 w 3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56" name="Freeform 509">
              <a:extLst>
                <a:ext uri="{FF2B5EF4-FFF2-40B4-BE49-F238E27FC236}">
                  <a16:creationId xmlns:a16="http://schemas.microsoft.com/office/drawing/2014/main" id="{DC3781E0-A447-4B09-9079-C9C9E3CD4A52}"/>
                </a:ext>
              </a:extLst>
            </p:cNvPr>
            <p:cNvSpPr>
              <a:spLocks/>
            </p:cNvSpPr>
            <p:nvPr>
              <p:custDataLst>
                <p:tags r:id="rId347"/>
              </p:custDataLst>
            </p:nvPr>
          </p:nvSpPr>
          <p:spPr bwMode="auto">
            <a:xfrm>
              <a:off x="7172325" y="1439863"/>
              <a:ext cx="55563" cy="58737"/>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57" name="Freeform 510">
              <a:extLst>
                <a:ext uri="{FF2B5EF4-FFF2-40B4-BE49-F238E27FC236}">
                  <a16:creationId xmlns:a16="http://schemas.microsoft.com/office/drawing/2014/main" id="{4D2DB53A-D9B0-41BA-AFC6-A181C676C974}"/>
                </a:ext>
              </a:extLst>
            </p:cNvPr>
            <p:cNvSpPr>
              <a:spLocks/>
            </p:cNvSpPr>
            <p:nvPr>
              <p:custDataLst>
                <p:tags r:id="rId348"/>
              </p:custDataLst>
            </p:nvPr>
          </p:nvSpPr>
          <p:spPr bwMode="auto">
            <a:xfrm>
              <a:off x="7308850" y="1792288"/>
              <a:ext cx="14288" cy="57150"/>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58" name="Freeform 511">
              <a:extLst>
                <a:ext uri="{FF2B5EF4-FFF2-40B4-BE49-F238E27FC236}">
                  <a16:creationId xmlns:a16="http://schemas.microsoft.com/office/drawing/2014/main" id="{6FDA5A76-0F25-4A42-B4D7-AEABAE2C0C60}"/>
                </a:ext>
              </a:extLst>
            </p:cNvPr>
            <p:cNvSpPr>
              <a:spLocks/>
            </p:cNvSpPr>
            <p:nvPr>
              <p:custDataLst>
                <p:tags r:id="rId349"/>
              </p:custDataLst>
            </p:nvPr>
          </p:nvSpPr>
          <p:spPr bwMode="auto">
            <a:xfrm>
              <a:off x="7458075" y="1905000"/>
              <a:ext cx="42863" cy="60325"/>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59" name="Freeform 512">
              <a:extLst>
                <a:ext uri="{FF2B5EF4-FFF2-40B4-BE49-F238E27FC236}">
                  <a16:creationId xmlns:a16="http://schemas.microsoft.com/office/drawing/2014/main" id="{DA642F5B-C652-4BFF-ACD3-98966A0486DD}"/>
                </a:ext>
              </a:extLst>
            </p:cNvPr>
            <p:cNvSpPr>
              <a:spLocks/>
            </p:cNvSpPr>
            <p:nvPr>
              <p:custDataLst>
                <p:tags r:id="rId350"/>
              </p:custDataLst>
            </p:nvPr>
          </p:nvSpPr>
          <p:spPr bwMode="auto">
            <a:xfrm>
              <a:off x="7508875" y="1920875"/>
              <a:ext cx="19050" cy="58738"/>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60" name="Freeform 513">
              <a:extLst>
                <a:ext uri="{FF2B5EF4-FFF2-40B4-BE49-F238E27FC236}">
                  <a16:creationId xmlns:a16="http://schemas.microsoft.com/office/drawing/2014/main" id="{3BBEFFED-9363-483B-AEF2-E96D0CCF4132}"/>
                </a:ext>
              </a:extLst>
            </p:cNvPr>
            <p:cNvSpPr>
              <a:spLocks/>
            </p:cNvSpPr>
            <p:nvPr>
              <p:custDataLst>
                <p:tags r:id="rId351"/>
              </p:custDataLst>
            </p:nvPr>
          </p:nvSpPr>
          <p:spPr bwMode="auto">
            <a:xfrm>
              <a:off x="7373938" y="2047875"/>
              <a:ext cx="14287" cy="57150"/>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61" name="Freeform 514">
              <a:extLst>
                <a:ext uri="{FF2B5EF4-FFF2-40B4-BE49-F238E27FC236}">
                  <a16:creationId xmlns:a16="http://schemas.microsoft.com/office/drawing/2014/main" id="{2EEC6DA7-F437-4649-A5E8-7D0D98C37DEA}"/>
                </a:ext>
              </a:extLst>
            </p:cNvPr>
            <p:cNvSpPr>
              <a:spLocks/>
            </p:cNvSpPr>
            <p:nvPr>
              <p:custDataLst>
                <p:tags r:id="rId352"/>
              </p:custDataLst>
            </p:nvPr>
          </p:nvSpPr>
          <p:spPr bwMode="auto">
            <a:xfrm>
              <a:off x="7385050" y="2076450"/>
              <a:ext cx="3175" cy="60325"/>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62" name="Freeform 515">
              <a:extLst>
                <a:ext uri="{FF2B5EF4-FFF2-40B4-BE49-F238E27FC236}">
                  <a16:creationId xmlns:a16="http://schemas.microsoft.com/office/drawing/2014/main" id="{CBD70991-5CC0-4C3A-8E12-C1FD8E844B26}"/>
                </a:ext>
              </a:extLst>
            </p:cNvPr>
            <p:cNvSpPr>
              <a:spLocks/>
            </p:cNvSpPr>
            <p:nvPr>
              <p:custDataLst>
                <p:tags r:id="rId353"/>
              </p:custDataLst>
            </p:nvPr>
          </p:nvSpPr>
          <p:spPr bwMode="auto">
            <a:xfrm>
              <a:off x="7372350" y="2159000"/>
              <a:ext cx="9525" cy="55563"/>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63" name="Freeform 516">
              <a:extLst>
                <a:ext uri="{FF2B5EF4-FFF2-40B4-BE49-F238E27FC236}">
                  <a16:creationId xmlns:a16="http://schemas.microsoft.com/office/drawing/2014/main" id="{45D8F221-E740-41EB-92E4-BA77D3C8D7BE}"/>
                </a:ext>
              </a:extLst>
            </p:cNvPr>
            <p:cNvSpPr>
              <a:spLocks/>
            </p:cNvSpPr>
            <p:nvPr>
              <p:custDataLst>
                <p:tags r:id="rId354"/>
              </p:custDataLst>
            </p:nvPr>
          </p:nvSpPr>
          <p:spPr bwMode="auto">
            <a:xfrm>
              <a:off x="7350125" y="2193925"/>
              <a:ext cx="0" cy="58738"/>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64" name="Freeform 517">
              <a:extLst>
                <a:ext uri="{FF2B5EF4-FFF2-40B4-BE49-F238E27FC236}">
                  <a16:creationId xmlns:a16="http://schemas.microsoft.com/office/drawing/2014/main" id="{8941BA0D-D7AE-4024-B470-1B6CF72F9F4E}"/>
                </a:ext>
              </a:extLst>
            </p:cNvPr>
            <p:cNvSpPr>
              <a:spLocks/>
            </p:cNvSpPr>
            <p:nvPr>
              <p:custDataLst>
                <p:tags r:id="rId355"/>
              </p:custDataLst>
            </p:nvPr>
          </p:nvSpPr>
          <p:spPr bwMode="auto">
            <a:xfrm>
              <a:off x="7350125" y="2193925"/>
              <a:ext cx="7938" cy="58738"/>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65" name="Freeform 518">
              <a:extLst>
                <a:ext uri="{FF2B5EF4-FFF2-40B4-BE49-F238E27FC236}">
                  <a16:creationId xmlns:a16="http://schemas.microsoft.com/office/drawing/2014/main" id="{0D394810-0BEF-4268-8402-488D4415B968}"/>
                </a:ext>
              </a:extLst>
            </p:cNvPr>
            <p:cNvSpPr>
              <a:spLocks/>
            </p:cNvSpPr>
            <p:nvPr>
              <p:custDataLst>
                <p:tags r:id="rId356"/>
              </p:custDataLst>
            </p:nvPr>
          </p:nvSpPr>
          <p:spPr bwMode="auto">
            <a:xfrm>
              <a:off x="7104063" y="1781175"/>
              <a:ext cx="17462" cy="60325"/>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66" name="Freeform 519">
              <a:extLst>
                <a:ext uri="{FF2B5EF4-FFF2-40B4-BE49-F238E27FC236}">
                  <a16:creationId xmlns:a16="http://schemas.microsoft.com/office/drawing/2014/main" id="{56D2F277-D5D9-4453-A4E3-ADAAE9F7AF1A}"/>
                </a:ext>
              </a:extLst>
            </p:cNvPr>
            <p:cNvSpPr>
              <a:spLocks/>
            </p:cNvSpPr>
            <p:nvPr>
              <p:custDataLst>
                <p:tags r:id="rId357"/>
              </p:custDataLst>
            </p:nvPr>
          </p:nvSpPr>
          <p:spPr bwMode="auto">
            <a:xfrm>
              <a:off x="4419600" y="1920875"/>
              <a:ext cx="47625" cy="58738"/>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grpFill/>
            <a:ln w="9525" cap="flat" cmpd="sng">
              <a:noFill/>
              <a:prstDash val="solid"/>
              <a:round/>
              <a:headEnd type="none" w="med" len="med"/>
              <a:tailEnd type="none" w="med" len="med"/>
            </a:ln>
            <a:effectLst/>
          </p:spPr>
          <p:txBody>
            <a:bodyPr/>
            <a:lstStyle/>
            <a:p>
              <a:endParaRPr lang="en-US" sz="2178"/>
            </a:p>
          </p:txBody>
        </p:sp>
        <p:sp>
          <p:nvSpPr>
            <p:cNvPr id="367" name="Freeform 520">
              <a:extLst>
                <a:ext uri="{FF2B5EF4-FFF2-40B4-BE49-F238E27FC236}">
                  <a16:creationId xmlns:a16="http://schemas.microsoft.com/office/drawing/2014/main" id="{9A457E68-3724-427A-8E40-CC395AAA25E6}"/>
                </a:ext>
              </a:extLst>
            </p:cNvPr>
            <p:cNvSpPr>
              <a:spLocks/>
            </p:cNvSpPr>
            <p:nvPr>
              <p:custDataLst>
                <p:tags r:id="rId358"/>
              </p:custDataLst>
            </p:nvPr>
          </p:nvSpPr>
          <p:spPr bwMode="auto">
            <a:xfrm>
              <a:off x="4868863" y="1512888"/>
              <a:ext cx="42862" cy="58737"/>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68" name="Freeform 521">
              <a:extLst>
                <a:ext uri="{FF2B5EF4-FFF2-40B4-BE49-F238E27FC236}">
                  <a16:creationId xmlns:a16="http://schemas.microsoft.com/office/drawing/2014/main" id="{3E53E62C-6030-4E69-BB8F-8F57B37DACB9}"/>
                </a:ext>
              </a:extLst>
            </p:cNvPr>
            <p:cNvSpPr>
              <a:spLocks/>
            </p:cNvSpPr>
            <p:nvPr>
              <p:custDataLst>
                <p:tags r:id="rId359"/>
              </p:custDataLst>
            </p:nvPr>
          </p:nvSpPr>
          <p:spPr bwMode="auto">
            <a:xfrm>
              <a:off x="4903788" y="1325563"/>
              <a:ext cx="228600" cy="163512"/>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69" name="Freeform 522">
              <a:extLst>
                <a:ext uri="{FF2B5EF4-FFF2-40B4-BE49-F238E27FC236}">
                  <a16:creationId xmlns:a16="http://schemas.microsoft.com/office/drawing/2014/main" id="{329E2F6F-8986-4CAF-81F5-356DA112799D}"/>
                </a:ext>
              </a:extLst>
            </p:cNvPr>
            <p:cNvSpPr>
              <a:spLocks/>
            </p:cNvSpPr>
            <p:nvPr>
              <p:custDataLst>
                <p:tags r:id="rId360"/>
              </p:custDataLst>
            </p:nvPr>
          </p:nvSpPr>
          <p:spPr bwMode="auto">
            <a:xfrm>
              <a:off x="4695825" y="1636713"/>
              <a:ext cx="31750" cy="55562"/>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70" name="Freeform 523">
              <a:extLst>
                <a:ext uri="{FF2B5EF4-FFF2-40B4-BE49-F238E27FC236}">
                  <a16:creationId xmlns:a16="http://schemas.microsoft.com/office/drawing/2014/main" id="{F7A44511-9407-41FE-A187-D3C086882CDC}"/>
                </a:ext>
              </a:extLst>
            </p:cNvPr>
            <p:cNvSpPr>
              <a:spLocks/>
            </p:cNvSpPr>
            <p:nvPr>
              <p:custDataLst>
                <p:tags r:id="rId361"/>
              </p:custDataLst>
            </p:nvPr>
          </p:nvSpPr>
          <p:spPr bwMode="auto">
            <a:xfrm>
              <a:off x="7000875" y="1933575"/>
              <a:ext cx="196850" cy="268288"/>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grpSp>
          <p:nvGrpSpPr>
            <p:cNvPr id="371" name="Group 524">
              <a:extLst>
                <a:ext uri="{FF2B5EF4-FFF2-40B4-BE49-F238E27FC236}">
                  <a16:creationId xmlns:a16="http://schemas.microsoft.com/office/drawing/2014/main" id="{DCDBA144-DF24-46D7-8454-9DEE74ACF9F7}"/>
                </a:ext>
              </a:extLst>
            </p:cNvPr>
            <p:cNvGrpSpPr>
              <a:grpSpLocks/>
            </p:cNvGrpSpPr>
            <p:nvPr>
              <p:custDataLst>
                <p:tags r:id="rId362"/>
              </p:custDataLst>
            </p:nvPr>
          </p:nvGrpSpPr>
          <p:grpSpPr bwMode="auto">
            <a:xfrm>
              <a:off x="5791200" y="1889125"/>
              <a:ext cx="671513" cy="384175"/>
              <a:chOff x="4115" y="1551"/>
              <a:chExt cx="504" cy="244"/>
            </a:xfrm>
            <a:grpFill/>
          </p:grpSpPr>
          <p:sp>
            <p:nvSpPr>
              <p:cNvPr id="396" name="Freeform 525">
                <a:extLst>
                  <a:ext uri="{FF2B5EF4-FFF2-40B4-BE49-F238E27FC236}">
                    <a16:creationId xmlns:a16="http://schemas.microsoft.com/office/drawing/2014/main" id="{C7C6E5AD-B102-4381-900C-0297EB638D58}"/>
                  </a:ext>
                </a:extLst>
              </p:cNvPr>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noFill/>
                <a:prstDash val="solid"/>
                <a:round/>
                <a:headEnd/>
                <a:tailEnd/>
              </a:ln>
            </p:spPr>
            <p:txBody>
              <a:bodyPr/>
              <a:lstStyle/>
              <a:p>
                <a:endParaRPr lang="en-US" sz="2178"/>
              </a:p>
            </p:txBody>
          </p:sp>
          <p:sp>
            <p:nvSpPr>
              <p:cNvPr id="397" name="Freeform 526">
                <a:extLst>
                  <a:ext uri="{FF2B5EF4-FFF2-40B4-BE49-F238E27FC236}">
                    <a16:creationId xmlns:a16="http://schemas.microsoft.com/office/drawing/2014/main" id="{A334D210-C20B-48AF-927F-39FA6B015D40}"/>
                  </a:ext>
                </a:extLst>
              </p:cNvPr>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noFill/>
                <a:prstDash val="solid"/>
                <a:round/>
                <a:headEnd/>
                <a:tailEnd/>
              </a:ln>
            </p:spPr>
            <p:txBody>
              <a:bodyPr/>
              <a:lstStyle/>
              <a:p>
                <a:endParaRPr lang="en-US" sz="2178"/>
              </a:p>
            </p:txBody>
          </p:sp>
        </p:grpSp>
        <p:sp>
          <p:nvSpPr>
            <p:cNvPr id="372" name="Freeform 527">
              <a:extLst>
                <a:ext uri="{FF2B5EF4-FFF2-40B4-BE49-F238E27FC236}">
                  <a16:creationId xmlns:a16="http://schemas.microsoft.com/office/drawing/2014/main" id="{BB0D631A-E57D-4DCF-B8C8-851579937867}"/>
                </a:ext>
              </a:extLst>
            </p:cNvPr>
            <p:cNvSpPr>
              <a:spLocks/>
            </p:cNvSpPr>
            <p:nvPr>
              <p:custDataLst>
                <p:tags r:id="rId363"/>
              </p:custDataLst>
            </p:nvPr>
          </p:nvSpPr>
          <p:spPr bwMode="auto">
            <a:xfrm>
              <a:off x="4848225" y="2638425"/>
              <a:ext cx="530225" cy="511175"/>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grpFill/>
            <a:ln w="9525" cap="flat" cmpd="sng">
              <a:noFill/>
              <a:prstDash val="solid"/>
              <a:round/>
              <a:headEnd type="none" w="med" len="med"/>
              <a:tailEnd type="none" w="med" len="med"/>
            </a:ln>
            <a:effectLst/>
          </p:spPr>
          <p:txBody>
            <a:bodyPr/>
            <a:lstStyle/>
            <a:p>
              <a:endParaRPr lang="en-US" sz="2178"/>
            </a:p>
          </p:txBody>
        </p:sp>
        <p:sp>
          <p:nvSpPr>
            <p:cNvPr id="373" name="Freeform 528">
              <a:extLst>
                <a:ext uri="{FF2B5EF4-FFF2-40B4-BE49-F238E27FC236}">
                  <a16:creationId xmlns:a16="http://schemas.microsoft.com/office/drawing/2014/main" id="{A54C1CF4-38EC-496B-BD41-64B73DF41729}"/>
                </a:ext>
              </a:extLst>
            </p:cNvPr>
            <p:cNvSpPr>
              <a:spLocks/>
            </p:cNvSpPr>
            <p:nvPr>
              <p:custDataLst>
                <p:tags r:id="rId364"/>
              </p:custDataLst>
            </p:nvPr>
          </p:nvSpPr>
          <p:spPr bwMode="auto">
            <a:xfrm>
              <a:off x="4322763" y="2182813"/>
              <a:ext cx="57150" cy="57150"/>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grpFill/>
            <a:ln w="9525" cap="flat" cmpd="sng">
              <a:noFill/>
              <a:prstDash val="solid"/>
              <a:round/>
              <a:headEnd type="none" w="med" len="med"/>
              <a:tailEnd type="none" w="med" len="med"/>
            </a:ln>
            <a:effectLst/>
          </p:spPr>
          <p:txBody>
            <a:bodyPr/>
            <a:lstStyle/>
            <a:p>
              <a:endParaRPr lang="en-US" sz="2178"/>
            </a:p>
          </p:txBody>
        </p:sp>
        <p:sp>
          <p:nvSpPr>
            <p:cNvPr id="374" name="Freeform 529">
              <a:extLst>
                <a:ext uri="{FF2B5EF4-FFF2-40B4-BE49-F238E27FC236}">
                  <a16:creationId xmlns:a16="http://schemas.microsoft.com/office/drawing/2014/main" id="{E73712BA-27C2-4171-A12B-2FD892DB7E4C}"/>
                </a:ext>
              </a:extLst>
            </p:cNvPr>
            <p:cNvSpPr>
              <a:spLocks/>
            </p:cNvSpPr>
            <p:nvPr>
              <p:custDataLst>
                <p:tags r:id="rId365"/>
              </p:custDataLst>
            </p:nvPr>
          </p:nvSpPr>
          <p:spPr bwMode="auto">
            <a:xfrm>
              <a:off x="4062413" y="2395538"/>
              <a:ext cx="15875" cy="57150"/>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75" name="Freeform 530">
              <a:extLst>
                <a:ext uri="{FF2B5EF4-FFF2-40B4-BE49-F238E27FC236}">
                  <a16:creationId xmlns:a16="http://schemas.microsoft.com/office/drawing/2014/main" id="{E284324F-1E75-4A60-8D2C-7411EF5A6817}"/>
                </a:ext>
              </a:extLst>
            </p:cNvPr>
            <p:cNvSpPr>
              <a:spLocks/>
            </p:cNvSpPr>
            <p:nvPr>
              <p:custDataLst>
                <p:tags r:id="rId366"/>
              </p:custDataLst>
            </p:nvPr>
          </p:nvSpPr>
          <p:spPr bwMode="auto">
            <a:xfrm>
              <a:off x="3654425" y="2741613"/>
              <a:ext cx="28575" cy="57150"/>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76" name="Freeform 531">
              <a:extLst>
                <a:ext uri="{FF2B5EF4-FFF2-40B4-BE49-F238E27FC236}">
                  <a16:creationId xmlns:a16="http://schemas.microsoft.com/office/drawing/2014/main" id="{995B9EFB-5B6C-429F-BFF2-14E58014AE1E}"/>
                </a:ext>
              </a:extLst>
            </p:cNvPr>
            <p:cNvSpPr>
              <a:spLocks/>
            </p:cNvSpPr>
            <p:nvPr>
              <p:custDataLst>
                <p:tags r:id="rId367"/>
              </p:custDataLst>
            </p:nvPr>
          </p:nvSpPr>
          <p:spPr bwMode="auto">
            <a:xfrm>
              <a:off x="3595688" y="2757488"/>
              <a:ext cx="23812" cy="60325"/>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77" name="Freeform 532">
              <a:extLst>
                <a:ext uri="{FF2B5EF4-FFF2-40B4-BE49-F238E27FC236}">
                  <a16:creationId xmlns:a16="http://schemas.microsoft.com/office/drawing/2014/main" id="{D7643829-9746-4A27-95FB-ACAD8F26B56A}"/>
                </a:ext>
              </a:extLst>
            </p:cNvPr>
            <p:cNvSpPr>
              <a:spLocks/>
            </p:cNvSpPr>
            <p:nvPr>
              <p:custDataLst>
                <p:tags r:id="rId368"/>
              </p:custDataLst>
            </p:nvPr>
          </p:nvSpPr>
          <p:spPr bwMode="auto">
            <a:xfrm>
              <a:off x="3570288" y="2751138"/>
              <a:ext cx="6350" cy="57150"/>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78" name="Freeform 533">
              <a:extLst>
                <a:ext uri="{FF2B5EF4-FFF2-40B4-BE49-F238E27FC236}">
                  <a16:creationId xmlns:a16="http://schemas.microsoft.com/office/drawing/2014/main" id="{44DBBD49-0709-40E4-8284-B14E21EDE418}"/>
                </a:ext>
              </a:extLst>
            </p:cNvPr>
            <p:cNvSpPr>
              <a:spLocks/>
            </p:cNvSpPr>
            <p:nvPr>
              <p:custDataLst>
                <p:tags r:id="rId369"/>
              </p:custDataLst>
            </p:nvPr>
          </p:nvSpPr>
          <p:spPr bwMode="auto">
            <a:xfrm>
              <a:off x="4841875" y="2479675"/>
              <a:ext cx="174625" cy="158750"/>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grpFill/>
            <a:ln w="9525" cmpd="sng">
              <a:noFill/>
              <a:prstDash val="solid"/>
              <a:round/>
              <a:headEnd/>
              <a:tailEnd/>
            </a:ln>
          </p:spPr>
          <p:txBody>
            <a:bodyPr/>
            <a:lstStyle/>
            <a:p>
              <a:endParaRPr lang="en-US" sz="2178"/>
            </a:p>
          </p:txBody>
        </p:sp>
        <p:sp>
          <p:nvSpPr>
            <p:cNvPr id="379" name="Freeform 534">
              <a:extLst>
                <a:ext uri="{FF2B5EF4-FFF2-40B4-BE49-F238E27FC236}">
                  <a16:creationId xmlns:a16="http://schemas.microsoft.com/office/drawing/2014/main" id="{C2318927-03AC-40D5-89E6-606C8237F7AF}"/>
                </a:ext>
              </a:extLst>
            </p:cNvPr>
            <p:cNvSpPr>
              <a:spLocks/>
            </p:cNvSpPr>
            <p:nvPr>
              <p:custDataLst>
                <p:tags r:id="rId370"/>
              </p:custDataLst>
            </p:nvPr>
          </p:nvSpPr>
          <p:spPr bwMode="auto">
            <a:xfrm>
              <a:off x="6935788" y="2860675"/>
              <a:ext cx="42862" cy="79375"/>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grpFill/>
            <a:ln w="9525" cmpd="sng">
              <a:noFill/>
              <a:prstDash val="solid"/>
              <a:round/>
              <a:headEnd/>
              <a:tailEnd/>
            </a:ln>
          </p:spPr>
          <p:txBody>
            <a:bodyPr/>
            <a:lstStyle/>
            <a:p>
              <a:endParaRPr lang="en-US" sz="2178"/>
            </a:p>
          </p:txBody>
        </p:sp>
        <p:grpSp>
          <p:nvGrpSpPr>
            <p:cNvPr id="380" name="Group 535">
              <a:extLst>
                <a:ext uri="{FF2B5EF4-FFF2-40B4-BE49-F238E27FC236}">
                  <a16:creationId xmlns:a16="http://schemas.microsoft.com/office/drawing/2014/main" id="{7E765D2E-C2F7-4E71-AD59-BA9A213BE80B}"/>
                </a:ext>
              </a:extLst>
            </p:cNvPr>
            <p:cNvGrpSpPr>
              <a:grpSpLocks/>
            </p:cNvGrpSpPr>
            <p:nvPr>
              <p:custDataLst>
                <p:tags r:id="rId371"/>
              </p:custDataLst>
            </p:nvPr>
          </p:nvGrpSpPr>
          <p:grpSpPr bwMode="auto">
            <a:xfrm>
              <a:off x="4583113" y="2328863"/>
              <a:ext cx="482600" cy="201612"/>
              <a:chOff x="3289" y="1830"/>
              <a:chExt cx="363" cy="128"/>
            </a:xfrm>
            <a:grpFill/>
          </p:grpSpPr>
          <p:sp>
            <p:nvSpPr>
              <p:cNvPr id="391" name="Freeform 536">
                <a:extLst>
                  <a:ext uri="{FF2B5EF4-FFF2-40B4-BE49-F238E27FC236}">
                    <a16:creationId xmlns:a16="http://schemas.microsoft.com/office/drawing/2014/main" id="{25B8ACD2-9069-4558-8A77-5024F28CE15A}"/>
                  </a:ext>
                </a:extLst>
              </p:cNvPr>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92" name="Freeform 537">
                <a:extLst>
                  <a:ext uri="{FF2B5EF4-FFF2-40B4-BE49-F238E27FC236}">
                    <a16:creationId xmlns:a16="http://schemas.microsoft.com/office/drawing/2014/main" id="{D778021E-59D5-4B13-A326-187E673645FD}"/>
                  </a:ext>
                </a:extLst>
              </p:cNvPr>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93" name="Freeform 538">
                <a:extLst>
                  <a:ext uri="{FF2B5EF4-FFF2-40B4-BE49-F238E27FC236}">
                    <a16:creationId xmlns:a16="http://schemas.microsoft.com/office/drawing/2014/main" id="{B60B1876-25F0-4729-B0D0-006176F4B0A2}"/>
                  </a:ext>
                </a:extLst>
              </p:cNvPr>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94" name="Freeform 539">
                <a:extLst>
                  <a:ext uri="{FF2B5EF4-FFF2-40B4-BE49-F238E27FC236}">
                    <a16:creationId xmlns:a16="http://schemas.microsoft.com/office/drawing/2014/main" id="{429FBC94-AA6F-4F52-832E-033D71F31CB8}"/>
                  </a:ext>
                </a:extLst>
              </p:cNvPr>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95" name="Freeform 540">
                <a:extLst>
                  <a:ext uri="{FF2B5EF4-FFF2-40B4-BE49-F238E27FC236}">
                    <a16:creationId xmlns:a16="http://schemas.microsoft.com/office/drawing/2014/main" id="{E8D88C71-87BC-4B73-88B2-606B7884E44D}"/>
                  </a:ext>
                </a:extLst>
              </p:cNvPr>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grpSp>
        <p:sp>
          <p:nvSpPr>
            <p:cNvPr id="381" name="Freeform 541">
              <a:extLst>
                <a:ext uri="{FF2B5EF4-FFF2-40B4-BE49-F238E27FC236}">
                  <a16:creationId xmlns:a16="http://schemas.microsoft.com/office/drawing/2014/main" id="{BCCA3B69-3C6F-4C75-9AC3-4813D062F87E}"/>
                </a:ext>
              </a:extLst>
            </p:cNvPr>
            <p:cNvSpPr>
              <a:spLocks/>
            </p:cNvSpPr>
            <p:nvPr>
              <p:custDataLst>
                <p:tags r:id="rId372"/>
              </p:custDataLst>
            </p:nvPr>
          </p:nvSpPr>
          <p:spPr bwMode="auto">
            <a:xfrm>
              <a:off x="2571750" y="3481388"/>
              <a:ext cx="100013" cy="122237"/>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82" name="Freeform 542">
              <a:extLst>
                <a:ext uri="{FF2B5EF4-FFF2-40B4-BE49-F238E27FC236}">
                  <a16:creationId xmlns:a16="http://schemas.microsoft.com/office/drawing/2014/main" id="{EE62C91C-062F-4140-BE3A-C6F3B251B75C}"/>
                </a:ext>
              </a:extLst>
            </p:cNvPr>
            <p:cNvSpPr>
              <a:spLocks/>
            </p:cNvSpPr>
            <p:nvPr>
              <p:custDataLst>
                <p:tags r:id="rId373"/>
              </p:custDataLst>
            </p:nvPr>
          </p:nvSpPr>
          <p:spPr bwMode="auto">
            <a:xfrm>
              <a:off x="6516688" y="2917825"/>
              <a:ext cx="207962" cy="458788"/>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grpFill/>
            <a:ln w="9525" cmpd="sng">
              <a:noFill/>
              <a:prstDash val="solid"/>
              <a:round/>
              <a:headEnd/>
              <a:tailEnd/>
            </a:ln>
          </p:spPr>
          <p:txBody>
            <a:bodyPr/>
            <a:lstStyle/>
            <a:p>
              <a:endParaRPr lang="en-US" sz="2178"/>
            </a:p>
          </p:txBody>
        </p:sp>
        <p:sp>
          <p:nvSpPr>
            <p:cNvPr id="383" name="Freeform 543">
              <a:extLst>
                <a:ext uri="{FF2B5EF4-FFF2-40B4-BE49-F238E27FC236}">
                  <a16:creationId xmlns:a16="http://schemas.microsoft.com/office/drawing/2014/main" id="{8B779E74-41D4-4478-9F99-75AE401BE634}"/>
                </a:ext>
              </a:extLst>
            </p:cNvPr>
            <p:cNvSpPr>
              <a:spLocks/>
            </p:cNvSpPr>
            <p:nvPr>
              <p:custDataLst>
                <p:tags r:id="rId374"/>
              </p:custDataLst>
            </p:nvPr>
          </p:nvSpPr>
          <p:spPr bwMode="auto">
            <a:xfrm>
              <a:off x="6604000" y="3603625"/>
              <a:ext cx="25400" cy="57150"/>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grpFill/>
            <a:ln w="9525" cmpd="sng">
              <a:noFill/>
              <a:prstDash val="solid"/>
              <a:round/>
              <a:headEnd/>
              <a:tailEnd/>
            </a:ln>
          </p:spPr>
          <p:txBody>
            <a:bodyPr/>
            <a:lstStyle/>
            <a:p>
              <a:endParaRPr lang="en-US" sz="2178"/>
            </a:p>
          </p:txBody>
        </p:sp>
        <p:sp>
          <p:nvSpPr>
            <p:cNvPr id="384" name="Freeform 544">
              <a:extLst>
                <a:ext uri="{FF2B5EF4-FFF2-40B4-BE49-F238E27FC236}">
                  <a16:creationId xmlns:a16="http://schemas.microsoft.com/office/drawing/2014/main" id="{9332BE3D-E081-47F5-8E24-20153B64A137}"/>
                </a:ext>
              </a:extLst>
            </p:cNvPr>
            <p:cNvSpPr>
              <a:spLocks/>
            </p:cNvSpPr>
            <p:nvPr>
              <p:custDataLst>
                <p:tags r:id="rId375"/>
              </p:custDataLst>
            </p:nvPr>
          </p:nvSpPr>
          <p:spPr bwMode="auto">
            <a:xfrm>
              <a:off x="5295900" y="2862263"/>
              <a:ext cx="174625" cy="271462"/>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grpFill/>
            <a:ln w="9525" cap="flat" cmpd="sng">
              <a:noFill/>
              <a:prstDash val="solid"/>
              <a:round/>
              <a:headEnd type="none" w="med" len="med"/>
              <a:tailEnd type="none" w="med" len="med"/>
            </a:ln>
            <a:effectLst/>
          </p:spPr>
          <p:txBody>
            <a:bodyPr/>
            <a:lstStyle/>
            <a:p>
              <a:endParaRPr lang="en-US" sz="2178"/>
            </a:p>
          </p:txBody>
        </p:sp>
        <p:sp>
          <p:nvSpPr>
            <p:cNvPr id="385" name="Freeform 545">
              <a:extLst>
                <a:ext uri="{FF2B5EF4-FFF2-40B4-BE49-F238E27FC236}">
                  <a16:creationId xmlns:a16="http://schemas.microsoft.com/office/drawing/2014/main" id="{5196A3F1-FC46-45C1-A53C-536735BD86B8}"/>
                </a:ext>
              </a:extLst>
            </p:cNvPr>
            <p:cNvSpPr>
              <a:spLocks/>
            </p:cNvSpPr>
            <p:nvPr>
              <p:custDataLst>
                <p:tags r:id="rId376"/>
              </p:custDataLst>
            </p:nvPr>
          </p:nvSpPr>
          <p:spPr bwMode="auto">
            <a:xfrm>
              <a:off x="4022725" y="2916238"/>
              <a:ext cx="376238" cy="385762"/>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grpFill/>
            <a:ln w="9525" cmpd="sng">
              <a:noFill/>
              <a:prstDash val="solid"/>
              <a:round/>
              <a:headEnd/>
              <a:tailEnd/>
            </a:ln>
          </p:spPr>
          <p:txBody>
            <a:bodyPr/>
            <a:lstStyle/>
            <a:p>
              <a:endParaRPr lang="en-US" sz="2178"/>
            </a:p>
          </p:txBody>
        </p:sp>
        <p:sp>
          <p:nvSpPr>
            <p:cNvPr id="386" name="Freeform 546">
              <a:extLst>
                <a:ext uri="{FF2B5EF4-FFF2-40B4-BE49-F238E27FC236}">
                  <a16:creationId xmlns:a16="http://schemas.microsoft.com/office/drawing/2014/main" id="{41D70BE5-A32F-4FB2-8A05-C541736679EC}"/>
                </a:ext>
              </a:extLst>
            </p:cNvPr>
            <p:cNvSpPr>
              <a:spLocks/>
            </p:cNvSpPr>
            <p:nvPr>
              <p:custDataLst>
                <p:tags r:id="rId377"/>
              </p:custDataLst>
            </p:nvPr>
          </p:nvSpPr>
          <p:spPr bwMode="auto">
            <a:xfrm>
              <a:off x="3692525" y="2533650"/>
              <a:ext cx="300038" cy="260350"/>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grpFill/>
            <a:ln w="9525" cap="flat" cmpd="sng">
              <a:noFill/>
              <a:prstDash val="solid"/>
              <a:round/>
              <a:headEnd type="none" w="med" len="med"/>
              <a:tailEnd type="none" w="med" len="med"/>
            </a:ln>
            <a:effectLst/>
          </p:spPr>
          <p:txBody>
            <a:bodyPr/>
            <a:lstStyle/>
            <a:p>
              <a:endParaRPr lang="en-US" sz="2178"/>
            </a:p>
          </p:txBody>
        </p:sp>
        <p:sp>
          <p:nvSpPr>
            <p:cNvPr id="387" name="Freeform 547">
              <a:extLst>
                <a:ext uri="{FF2B5EF4-FFF2-40B4-BE49-F238E27FC236}">
                  <a16:creationId xmlns:a16="http://schemas.microsoft.com/office/drawing/2014/main" id="{FE13BB3A-EFB1-403C-ACBD-36506231750C}"/>
                </a:ext>
              </a:extLst>
            </p:cNvPr>
            <p:cNvSpPr>
              <a:spLocks/>
            </p:cNvSpPr>
            <p:nvPr>
              <p:custDataLst>
                <p:tags r:id="rId378"/>
              </p:custDataLst>
            </p:nvPr>
          </p:nvSpPr>
          <p:spPr bwMode="auto">
            <a:xfrm>
              <a:off x="4392613" y="1463675"/>
              <a:ext cx="236537" cy="92075"/>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grpFill/>
            <a:ln w="9525" cap="flat" cmpd="sng">
              <a:noFill/>
              <a:prstDash val="solid"/>
              <a:round/>
              <a:headEnd type="none" w="med" len="med"/>
              <a:tailEnd type="none" w="med" len="med"/>
            </a:ln>
            <a:effectLst/>
          </p:spPr>
          <p:txBody>
            <a:bodyPr/>
            <a:lstStyle/>
            <a:p>
              <a:endParaRPr lang="en-US" sz="2178"/>
            </a:p>
          </p:txBody>
        </p:sp>
        <p:sp>
          <p:nvSpPr>
            <p:cNvPr id="388" name="Freeform 548">
              <a:extLst>
                <a:ext uri="{FF2B5EF4-FFF2-40B4-BE49-F238E27FC236}">
                  <a16:creationId xmlns:a16="http://schemas.microsoft.com/office/drawing/2014/main" id="{3DA49243-92E2-4048-86F9-8088E511E98A}"/>
                </a:ext>
              </a:extLst>
            </p:cNvPr>
            <p:cNvSpPr>
              <a:spLocks/>
            </p:cNvSpPr>
            <p:nvPr>
              <p:custDataLst>
                <p:tags r:id="rId379"/>
              </p:custDataLst>
            </p:nvPr>
          </p:nvSpPr>
          <p:spPr bwMode="auto">
            <a:xfrm>
              <a:off x="4903788" y="1447800"/>
              <a:ext cx="107950" cy="60325"/>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89" name="Freeform 549">
              <a:extLst>
                <a:ext uri="{FF2B5EF4-FFF2-40B4-BE49-F238E27FC236}">
                  <a16:creationId xmlns:a16="http://schemas.microsoft.com/office/drawing/2014/main" id="{B4D47CB9-406F-4CF1-B31E-844C60EB832D}"/>
                </a:ext>
              </a:extLst>
            </p:cNvPr>
            <p:cNvSpPr>
              <a:spLocks/>
            </p:cNvSpPr>
            <p:nvPr>
              <p:custDataLst>
                <p:tags r:id="rId380"/>
              </p:custDataLst>
            </p:nvPr>
          </p:nvSpPr>
          <p:spPr bwMode="auto">
            <a:xfrm>
              <a:off x="5046663" y="1430338"/>
              <a:ext cx="63500" cy="57150"/>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sp>
          <p:nvSpPr>
            <p:cNvPr id="390" name="Freeform 550">
              <a:extLst>
                <a:ext uri="{FF2B5EF4-FFF2-40B4-BE49-F238E27FC236}">
                  <a16:creationId xmlns:a16="http://schemas.microsoft.com/office/drawing/2014/main" id="{E02862CA-8674-49EA-B12C-102C365CF9A8}"/>
                </a:ext>
              </a:extLst>
            </p:cNvPr>
            <p:cNvSpPr>
              <a:spLocks/>
            </p:cNvSpPr>
            <p:nvPr>
              <p:custDataLst>
                <p:tags r:id="rId381"/>
              </p:custDataLst>
            </p:nvPr>
          </p:nvSpPr>
          <p:spPr bwMode="auto">
            <a:xfrm>
              <a:off x="5083175" y="1438275"/>
              <a:ext cx="130175" cy="57150"/>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grp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2178"/>
            </a:p>
          </p:txBody>
        </p:sp>
      </p:grpSp>
      <p:sp>
        <p:nvSpPr>
          <p:cNvPr id="558" name="Date Placeholder 3">
            <a:extLst>
              <a:ext uri="{FF2B5EF4-FFF2-40B4-BE49-F238E27FC236}">
                <a16:creationId xmlns:a16="http://schemas.microsoft.com/office/drawing/2014/main" id="{DC829570-7430-4515-AB9B-E84C8CFD6F96}"/>
              </a:ext>
            </a:extLst>
          </p:cNvPr>
          <p:cNvSpPr>
            <a:spLocks noGrp="1"/>
          </p:cNvSpPr>
          <p:nvPr>
            <p:ph type="dt" sz="half" idx="10"/>
          </p:nvPr>
        </p:nvSpPr>
        <p:spPr>
          <a:xfrm>
            <a:off x="2460928" y="5870736"/>
            <a:ext cx="999374" cy="163375"/>
          </a:xfrm>
          <a:prstGeom prst="rect">
            <a:avLst/>
          </a:prstGeom>
        </p:spPr>
        <p:txBody>
          <a:bodyPr vert="horz" wrap="none" lIns="0" tIns="0" rIns="0" bIns="0" rtlCol="0" anchor="t" anchorCtr="0"/>
          <a:lstStyle>
            <a:lvl1pPr>
              <a:defRPr lang="en-US" sz="1210" smtClean="0">
                <a:solidFill>
                  <a:schemeClr val="accent4"/>
                </a:solidFill>
              </a:defRPr>
            </a:lvl1pPr>
          </a:lstStyle>
          <a:p>
            <a:pPr algn="ctr"/>
            <a:endParaRPr lang="en-US"/>
          </a:p>
        </p:txBody>
      </p:sp>
      <p:sp>
        <p:nvSpPr>
          <p:cNvPr id="560" name="Slide Number Placeholder 5">
            <a:extLst>
              <a:ext uri="{FF2B5EF4-FFF2-40B4-BE49-F238E27FC236}">
                <a16:creationId xmlns:a16="http://schemas.microsoft.com/office/drawing/2014/main" id="{75453BA6-9956-4FD5-813C-1DE5C7D7D125}"/>
              </a:ext>
            </a:extLst>
          </p:cNvPr>
          <p:cNvSpPr>
            <a:spLocks noGrp="1"/>
          </p:cNvSpPr>
          <p:nvPr>
            <p:ph type="sldNum" sz="quarter" idx="12"/>
          </p:nvPr>
        </p:nvSpPr>
        <p:spPr>
          <a:xfrm>
            <a:off x="805791" y="5870736"/>
            <a:ext cx="304894" cy="163375"/>
          </a:xfrm>
          <a:prstGeom prst="rect">
            <a:avLst/>
          </a:prstGeom>
        </p:spPr>
        <p:txBody>
          <a:bodyPr vert="horz" wrap="none" lIns="0" tIns="0" rIns="0" bIns="0" rtlCol="0" anchor="t" anchorCtr="0"/>
          <a:lstStyle>
            <a:lvl1pPr algn="l">
              <a:defRPr lang="en-US" sz="1210" smtClean="0">
                <a:solidFill>
                  <a:schemeClr val="accent4"/>
                </a:solidFill>
              </a:defRPr>
            </a:lvl1pPr>
          </a:lstStyle>
          <a:p>
            <a:fld id="{57CB76AC-E5DF-427C-ABDC-2F4FBD8E4B69}" type="slidenum">
              <a:rPr lang="en-US" smtClean="0"/>
              <a:pPr/>
              <a:t>‹#›</a:t>
            </a:fld>
            <a:endParaRPr lang="en-US"/>
          </a:p>
        </p:txBody>
      </p:sp>
      <p:sp>
        <p:nvSpPr>
          <p:cNvPr id="559" name="Footer Placeholder 4">
            <a:extLst>
              <a:ext uri="{FF2B5EF4-FFF2-40B4-BE49-F238E27FC236}">
                <a16:creationId xmlns:a16="http://schemas.microsoft.com/office/drawing/2014/main" id="{5696B0A4-24C4-4894-B91F-E07A0E81F0DD}"/>
              </a:ext>
            </a:extLst>
          </p:cNvPr>
          <p:cNvSpPr>
            <a:spLocks noGrp="1"/>
          </p:cNvSpPr>
          <p:nvPr>
            <p:ph type="ftr" sz="quarter" idx="11"/>
          </p:nvPr>
        </p:nvSpPr>
        <p:spPr>
          <a:xfrm>
            <a:off x="3462722" y="5870736"/>
            <a:ext cx="3571613" cy="163375"/>
          </a:xfrm>
          <a:prstGeom prst="rect">
            <a:avLst/>
          </a:prstGeom>
        </p:spPr>
        <p:txBody>
          <a:bodyPr vert="horz" wrap="none" lIns="0" tIns="0" rIns="0" bIns="0" rtlCol="0" anchor="t" anchorCtr="0"/>
          <a:lstStyle>
            <a:lvl1pPr algn="l">
              <a:defRPr sz="1210">
                <a:solidFill>
                  <a:schemeClr val="accent4"/>
                </a:solidFill>
              </a:defRPr>
            </a:lvl1pPr>
          </a:lstStyle>
          <a:p>
            <a:endParaRPr lang="en-US"/>
          </a:p>
        </p:txBody>
      </p:sp>
    </p:spTree>
    <p:extLst>
      <p:ext uri="{BB962C8B-B14F-4D97-AF65-F5344CB8AC3E}">
        <p14:creationId xmlns:p14="http://schemas.microsoft.com/office/powerpoint/2010/main" val="9834345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0_Le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6C2B5BD4-BE90-4BB4-8332-837BDC64ADC1}"/>
              </a:ext>
            </a:extLst>
          </p:cNvPr>
          <p:cNvSpPr>
            <a:spLocks noGrp="1"/>
          </p:cNvSpPr>
          <p:nvPr>
            <p:ph type="body" idx="1" hasCustomPrompt="1"/>
          </p:nvPr>
        </p:nvSpPr>
        <p:spPr>
          <a:xfrm>
            <a:off x="490538" y="1133360"/>
            <a:ext cx="10082212" cy="288000"/>
          </a:xfrm>
        </p:spPr>
        <p:txBody>
          <a:bodyPr anchor="t"/>
          <a:lstStyle>
            <a:lvl1pPr marL="0" indent="0">
              <a:buNone/>
              <a:defRPr sz="2000" b="0"/>
            </a:lvl1pPr>
            <a:lvl2pPr marL="457200" indent="0">
              <a:buNone/>
              <a:defRPr sz="2000" b="1"/>
            </a:lvl2pPr>
            <a:lvl3pPr marL="914400" indent="0">
              <a:buNone/>
              <a:defRPr sz="1800" b="1"/>
            </a:lvl3pPr>
            <a:lvl4pPr marL="1371598"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598" indent="0">
              <a:buNone/>
              <a:defRPr sz="1600" b="1"/>
            </a:lvl9pPr>
          </a:lstStyle>
          <a:p>
            <a:pPr lvl="0"/>
            <a:r>
              <a:rPr lang="en-US"/>
              <a:t>Click to edit Master text styles</a:t>
            </a:r>
          </a:p>
        </p:txBody>
      </p:sp>
      <p:sp>
        <p:nvSpPr>
          <p:cNvPr id="10" name="Title 1">
            <a:extLst>
              <a:ext uri="{FF2B5EF4-FFF2-40B4-BE49-F238E27FC236}">
                <a16:creationId xmlns:a16="http://schemas.microsoft.com/office/drawing/2014/main" id="{1DEC45BD-5FBA-4427-AE6D-10920D761D52}"/>
              </a:ext>
            </a:extLst>
          </p:cNvPr>
          <p:cNvSpPr>
            <a:spLocks noGrp="1"/>
          </p:cNvSpPr>
          <p:nvPr>
            <p:ph type="title"/>
          </p:nvPr>
        </p:nvSpPr>
        <p:spPr>
          <a:xfrm>
            <a:off x="490538" y="231776"/>
            <a:ext cx="10082212" cy="720724"/>
          </a:xfrm>
        </p:spPr>
        <p:txBody>
          <a:bodyPr/>
          <a:lstStyle/>
          <a:p>
            <a:r>
              <a:rPr lang="en-US"/>
              <a:t>Click to edit Master title style</a:t>
            </a:r>
          </a:p>
        </p:txBody>
      </p:sp>
    </p:spTree>
    <p:extLst>
      <p:ext uri="{BB962C8B-B14F-4D97-AF65-F5344CB8AC3E}">
        <p14:creationId xmlns:p14="http://schemas.microsoft.com/office/powerpoint/2010/main" val="94280457"/>
      </p:ext>
    </p:extLst>
  </p:cSld>
  <p:clrMapOvr>
    <a:masterClrMapping/>
  </p:clrMapOvr>
  <p:extLst>
    <p:ext uri="{DCECCB84-F9BA-43D5-87BE-67443E8EF086}">
      <p15:sldGuideLst xmlns:p15="http://schemas.microsoft.com/office/powerpoint/2012/main">
        <p15:guide id="2" orient="horz" pos="89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58C1B-AB03-B937-F3AB-82465B092C7B}"/>
              </a:ext>
            </a:extLst>
          </p:cNvPr>
          <p:cNvSpPr>
            <a:spLocks noGrp="1"/>
          </p:cNvSpPr>
          <p:nvPr>
            <p:ph type="title"/>
          </p:nvPr>
        </p:nvSpPr>
        <p:spPr>
          <a:xfrm>
            <a:off x="754063" y="1552581"/>
            <a:ext cx="9542462" cy="2589213"/>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491AA65-F9D2-9A82-9226-FAEDE0449282}"/>
              </a:ext>
            </a:extLst>
          </p:cNvPr>
          <p:cNvSpPr>
            <a:spLocks noGrp="1"/>
          </p:cNvSpPr>
          <p:nvPr>
            <p:ph type="body" idx="1"/>
          </p:nvPr>
        </p:nvSpPr>
        <p:spPr>
          <a:xfrm>
            <a:off x="754063" y="4165606"/>
            <a:ext cx="9542462" cy="1362075"/>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598"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598"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C0031CF-68E3-18C6-076F-8CFFBE3B691C}"/>
              </a:ext>
            </a:extLst>
          </p:cNvPr>
          <p:cNvSpPr>
            <a:spLocks noGrp="1"/>
          </p:cNvSpPr>
          <p:nvPr>
            <p:ph type="dt" sz="half" idx="10"/>
          </p:nvPr>
        </p:nvSpPr>
        <p:spPr/>
        <p:txBody>
          <a:bodyPr/>
          <a:lstStyle/>
          <a:p>
            <a:pPr lvl="0"/>
            <a:endParaRPr lang="en-GB"/>
          </a:p>
        </p:txBody>
      </p:sp>
      <p:sp>
        <p:nvSpPr>
          <p:cNvPr id="5" name="Footer Placeholder 4">
            <a:extLst>
              <a:ext uri="{FF2B5EF4-FFF2-40B4-BE49-F238E27FC236}">
                <a16:creationId xmlns:a16="http://schemas.microsoft.com/office/drawing/2014/main" id="{A2E4AF44-9199-75D7-828C-09DB061F597B}"/>
              </a:ext>
            </a:extLst>
          </p:cNvPr>
          <p:cNvSpPr>
            <a:spLocks noGrp="1"/>
          </p:cNvSpPr>
          <p:nvPr>
            <p:ph type="ftr" sz="quarter" idx="11"/>
          </p:nvPr>
        </p:nvSpPr>
        <p:spPr/>
        <p:txBody>
          <a:bodyPr/>
          <a:lstStyle/>
          <a:p>
            <a:pPr lvl="0"/>
            <a:endParaRPr lang="en-GB"/>
          </a:p>
        </p:txBody>
      </p:sp>
      <p:sp>
        <p:nvSpPr>
          <p:cNvPr id="6" name="Slide Number Placeholder 5">
            <a:extLst>
              <a:ext uri="{FF2B5EF4-FFF2-40B4-BE49-F238E27FC236}">
                <a16:creationId xmlns:a16="http://schemas.microsoft.com/office/drawing/2014/main" id="{DFB6E35B-B55E-311D-A7CF-02ACCAA07609}"/>
              </a:ext>
            </a:extLst>
          </p:cNvPr>
          <p:cNvSpPr>
            <a:spLocks noGrp="1"/>
          </p:cNvSpPr>
          <p:nvPr>
            <p:ph type="sldNum" sz="quarter" idx="12"/>
          </p:nvPr>
        </p:nvSpPr>
        <p:spPr/>
        <p:txBody>
          <a:bodyPr/>
          <a:lstStyle/>
          <a:p>
            <a:pPr lvl="0"/>
            <a:fld id="{5E3D5D1D-BCB5-43E4-8096-0989EBE5346F}" type="slidenum">
              <a:t>‹#›</a:t>
            </a:fld>
            <a:endParaRPr lang="en-GB"/>
          </a:p>
        </p:txBody>
      </p:sp>
    </p:spTree>
    <p:extLst>
      <p:ext uri="{BB962C8B-B14F-4D97-AF65-F5344CB8AC3E}">
        <p14:creationId xmlns:p14="http://schemas.microsoft.com/office/powerpoint/2010/main" val="15083317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A9C0C-D77F-4FDE-D758-1595FFA446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37F3275-F797-FC1C-2511-19E135A4962F}"/>
              </a:ext>
            </a:extLst>
          </p:cNvPr>
          <p:cNvSpPr>
            <a:spLocks noGrp="1"/>
          </p:cNvSpPr>
          <p:nvPr>
            <p:ph sz="half" idx="1"/>
          </p:nvPr>
        </p:nvSpPr>
        <p:spPr>
          <a:xfrm>
            <a:off x="552450" y="1455744"/>
            <a:ext cx="4902200" cy="3609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1BFB946-FFDB-511F-93A2-99B65A80B8C2}"/>
              </a:ext>
            </a:extLst>
          </p:cNvPr>
          <p:cNvSpPr>
            <a:spLocks noGrp="1"/>
          </p:cNvSpPr>
          <p:nvPr>
            <p:ph sz="half" idx="2"/>
          </p:nvPr>
        </p:nvSpPr>
        <p:spPr>
          <a:xfrm>
            <a:off x="5607050" y="1455744"/>
            <a:ext cx="4902200" cy="36099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C1473C1-78A6-D8CF-0410-833ECC306E10}"/>
              </a:ext>
            </a:extLst>
          </p:cNvPr>
          <p:cNvSpPr>
            <a:spLocks noGrp="1"/>
          </p:cNvSpPr>
          <p:nvPr>
            <p:ph type="dt" sz="half" idx="10"/>
          </p:nvPr>
        </p:nvSpPr>
        <p:spPr/>
        <p:txBody>
          <a:bodyPr/>
          <a:lstStyle/>
          <a:p>
            <a:pPr lvl="0"/>
            <a:endParaRPr lang="en-GB"/>
          </a:p>
        </p:txBody>
      </p:sp>
      <p:sp>
        <p:nvSpPr>
          <p:cNvPr id="6" name="Footer Placeholder 5">
            <a:extLst>
              <a:ext uri="{FF2B5EF4-FFF2-40B4-BE49-F238E27FC236}">
                <a16:creationId xmlns:a16="http://schemas.microsoft.com/office/drawing/2014/main" id="{97C2546F-AAF6-6065-B031-88BC27292231}"/>
              </a:ext>
            </a:extLst>
          </p:cNvPr>
          <p:cNvSpPr>
            <a:spLocks noGrp="1"/>
          </p:cNvSpPr>
          <p:nvPr>
            <p:ph type="ftr" sz="quarter" idx="11"/>
          </p:nvPr>
        </p:nvSpPr>
        <p:spPr/>
        <p:txBody>
          <a:bodyPr/>
          <a:lstStyle/>
          <a:p>
            <a:pPr lvl="0"/>
            <a:endParaRPr lang="en-GB"/>
          </a:p>
        </p:txBody>
      </p:sp>
      <p:sp>
        <p:nvSpPr>
          <p:cNvPr id="7" name="Slide Number Placeholder 6">
            <a:extLst>
              <a:ext uri="{FF2B5EF4-FFF2-40B4-BE49-F238E27FC236}">
                <a16:creationId xmlns:a16="http://schemas.microsoft.com/office/drawing/2014/main" id="{49C98CB7-A4E7-DA5C-8D30-796E51A739A1}"/>
              </a:ext>
            </a:extLst>
          </p:cNvPr>
          <p:cNvSpPr>
            <a:spLocks noGrp="1"/>
          </p:cNvSpPr>
          <p:nvPr>
            <p:ph type="sldNum" sz="quarter" idx="12"/>
          </p:nvPr>
        </p:nvSpPr>
        <p:spPr/>
        <p:txBody>
          <a:bodyPr/>
          <a:lstStyle/>
          <a:p>
            <a:pPr lvl="0"/>
            <a:fld id="{66AA8674-85BA-4A8F-BB65-119156636E12}" type="slidenum">
              <a:t>‹#›</a:t>
            </a:fld>
            <a:endParaRPr lang="en-GB"/>
          </a:p>
        </p:txBody>
      </p:sp>
    </p:spTree>
    <p:extLst>
      <p:ext uri="{BB962C8B-B14F-4D97-AF65-F5344CB8AC3E}">
        <p14:creationId xmlns:p14="http://schemas.microsoft.com/office/powerpoint/2010/main" val="2649911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7898D-7E36-4A85-B794-57682416FD7D}"/>
              </a:ext>
            </a:extLst>
          </p:cNvPr>
          <p:cNvSpPr>
            <a:spLocks noGrp="1"/>
          </p:cNvSpPr>
          <p:nvPr>
            <p:ph type="title"/>
          </p:nvPr>
        </p:nvSpPr>
        <p:spPr>
          <a:xfrm>
            <a:off x="762003" y="331788"/>
            <a:ext cx="9542463" cy="1203325"/>
          </a:xfrm>
        </p:spPr>
        <p:txBody>
          <a:bodyPr/>
          <a:lstStyle/>
          <a:p>
            <a:r>
              <a:rPr lang="en-US"/>
              <a:t>Click to edit Master title style</a:t>
            </a:r>
          </a:p>
        </p:txBody>
      </p:sp>
      <p:sp>
        <p:nvSpPr>
          <p:cNvPr id="3" name="Text Placeholder 2">
            <a:extLst>
              <a:ext uri="{FF2B5EF4-FFF2-40B4-BE49-F238E27FC236}">
                <a16:creationId xmlns:a16="http://schemas.microsoft.com/office/drawing/2014/main" id="{14F5BCBE-279D-E41B-8741-4E119630A7E2}"/>
              </a:ext>
            </a:extLst>
          </p:cNvPr>
          <p:cNvSpPr>
            <a:spLocks noGrp="1"/>
          </p:cNvSpPr>
          <p:nvPr>
            <p:ph type="body" idx="1"/>
          </p:nvPr>
        </p:nvSpPr>
        <p:spPr>
          <a:xfrm>
            <a:off x="762003" y="1525588"/>
            <a:ext cx="4679950" cy="747712"/>
          </a:xfrm>
        </p:spPr>
        <p:txBody>
          <a:bodyPr anchor="b"/>
          <a:lstStyle>
            <a:lvl1pPr marL="0" indent="0">
              <a:buNone/>
              <a:defRPr sz="2400" b="1"/>
            </a:lvl1pPr>
            <a:lvl2pPr marL="457200" indent="0">
              <a:buNone/>
              <a:defRPr sz="2000" b="1"/>
            </a:lvl2pPr>
            <a:lvl3pPr marL="914400" indent="0">
              <a:buNone/>
              <a:defRPr sz="1800" b="1"/>
            </a:lvl3pPr>
            <a:lvl4pPr marL="1371598"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598"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0D538B7-B859-9726-0139-C1D253C1D2B9}"/>
              </a:ext>
            </a:extLst>
          </p:cNvPr>
          <p:cNvSpPr>
            <a:spLocks noGrp="1"/>
          </p:cNvSpPr>
          <p:nvPr>
            <p:ph sz="half" idx="2"/>
          </p:nvPr>
        </p:nvSpPr>
        <p:spPr>
          <a:xfrm>
            <a:off x="762003" y="2273306"/>
            <a:ext cx="4679950" cy="33448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04DF9E3-10D0-3C05-C961-00430466B284}"/>
              </a:ext>
            </a:extLst>
          </p:cNvPr>
          <p:cNvSpPr>
            <a:spLocks noGrp="1"/>
          </p:cNvSpPr>
          <p:nvPr>
            <p:ph type="body" sz="quarter" idx="3"/>
          </p:nvPr>
        </p:nvSpPr>
        <p:spPr>
          <a:xfrm>
            <a:off x="5600703" y="1525588"/>
            <a:ext cx="4703763" cy="747712"/>
          </a:xfrm>
        </p:spPr>
        <p:txBody>
          <a:bodyPr anchor="b"/>
          <a:lstStyle>
            <a:lvl1pPr marL="0" indent="0">
              <a:buNone/>
              <a:defRPr sz="2400" b="1"/>
            </a:lvl1pPr>
            <a:lvl2pPr marL="457200" indent="0">
              <a:buNone/>
              <a:defRPr sz="2000" b="1"/>
            </a:lvl2pPr>
            <a:lvl3pPr marL="914400" indent="0">
              <a:buNone/>
              <a:defRPr sz="1800" b="1"/>
            </a:lvl3pPr>
            <a:lvl4pPr marL="1371598"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598"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5AA1AC9-ADA9-4934-EB92-F9C6523E50C0}"/>
              </a:ext>
            </a:extLst>
          </p:cNvPr>
          <p:cNvSpPr>
            <a:spLocks noGrp="1"/>
          </p:cNvSpPr>
          <p:nvPr>
            <p:ph sz="quarter" idx="4"/>
          </p:nvPr>
        </p:nvSpPr>
        <p:spPr>
          <a:xfrm>
            <a:off x="5600703" y="2273306"/>
            <a:ext cx="4703763" cy="33448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59B0D26-E21B-38F2-D919-3FB4EB3174B2}"/>
              </a:ext>
            </a:extLst>
          </p:cNvPr>
          <p:cNvSpPr>
            <a:spLocks noGrp="1"/>
          </p:cNvSpPr>
          <p:nvPr>
            <p:ph type="dt" sz="half" idx="10"/>
          </p:nvPr>
        </p:nvSpPr>
        <p:spPr/>
        <p:txBody>
          <a:bodyPr/>
          <a:lstStyle/>
          <a:p>
            <a:pPr lvl="0"/>
            <a:endParaRPr lang="en-GB"/>
          </a:p>
        </p:txBody>
      </p:sp>
      <p:sp>
        <p:nvSpPr>
          <p:cNvPr id="8" name="Footer Placeholder 7">
            <a:extLst>
              <a:ext uri="{FF2B5EF4-FFF2-40B4-BE49-F238E27FC236}">
                <a16:creationId xmlns:a16="http://schemas.microsoft.com/office/drawing/2014/main" id="{88DA6D97-D6E8-316C-57AF-B2CA603675AD}"/>
              </a:ext>
            </a:extLst>
          </p:cNvPr>
          <p:cNvSpPr>
            <a:spLocks noGrp="1"/>
          </p:cNvSpPr>
          <p:nvPr>
            <p:ph type="ftr" sz="quarter" idx="11"/>
          </p:nvPr>
        </p:nvSpPr>
        <p:spPr/>
        <p:txBody>
          <a:bodyPr/>
          <a:lstStyle/>
          <a:p>
            <a:pPr lvl="0"/>
            <a:endParaRPr lang="en-GB"/>
          </a:p>
        </p:txBody>
      </p:sp>
      <p:sp>
        <p:nvSpPr>
          <p:cNvPr id="9" name="Slide Number Placeholder 8">
            <a:extLst>
              <a:ext uri="{FF2B5EF4-FFF2-40B4-BE49-F238E27FC236}">
                <a16:creationId xmlns:a16="http://schemas.microsoft.com/office/drawing/2014/main" id="{E676E892-4860-EB9C-9916-E553A9641D1B}"/>
              </a:ext>
            </a:extLst>
          </p:cNvPr>
          <p:cNvSpPr>
            <a:spLocks noGrp="1"/>
          </p:cNvSpPr>
          <p:nvPr>
            <p:ph type="sldNum" sz="quarter" idx="12"/>
          </p:nvPr>
        </p:nvSpPr>
        <p:spPr/>
        <p:txBody>
          <a:bodyPr/>
          <a:lstStyle/>
          <a:p>
            <a:pPr lvl="0"/>
            <a:fld id="{D360842A-A088-4C3B-A783-EBF4B6D9125E}" type="slidenum">
              <a:t>‹#›</a:t>
            </a:fld>
            <a:endParaRPr lang="en-GB"/>
          </a:p>
        </p:txBody>
      </p:sp>
    </p:spTree>
    <p:extLst>
      <p:ext uri="{BB962C8B-B14F-4D97-AF65-F5344CB8AC3E}">
        <p14:creationId xmlns:p14="http://schemas.microsoft.com/office/powerpoint/2010/main" val="24315583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4C810-5556-C241-E7B3-6E9EC53AE57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710EFD3-3B9B-EE6A-22E6-4D722DBE352C}"/>
              </a:ext>
            </a:extLst>
          </p:cNvPr>
          <p:cNvSpPr>
            <a:spLocks noGrp="1"/>
          </p:cNvSpPr>
          <p:nvPr>
            <p:ph type="dt" sz="half" idx="10"/>
          </p:nvPr>
        </p:nvSpPr>
        <p:spPr/>
        <p:txBody>
          <a:bodyPr/>
          <a:lstStyle/>
          <a:p>
            <a:pPr lvl="0"/>
            <a:endParaRPr lang="en-GB"/>
          </a:p>
        </p:txBody>
      </p:sp>
      <p:sp>
        <p:nvSpPr>
          <p:cNvPr id="4" name="Footer Placeholder 3">
            <a:extLst>
              <a:ext uri="{FF2B5EF4-FFF2-40B4-BE49-F238E27FC236}">
                <a16:creationId xmlns:a16="http://schemas.microsoft.com/office/drawing/2014/main" id="{A4DB2BD2-88D3-F306-02E2-4A9D76DAEA3B}"/>
              </a:ext>
            </a:extLst>
          </p:cNvPr>
          <p:cNvSpPr>
            <a:spLocks noGrp="1"/>
          </p:cNvSpPr>
          <p:nvPr>
            <p:ph type="ftr" sz="quarter" idx="11"/>
          </p:nvPr>
        </p:nvSpPr>
        <p:spPr/>
        <p:txBody>
          <a:bodyPr/>
          <a:lstStyle/>
          <a:p>
            <a:pPr lvl="0"/>
            <a:endParaRPr lang="en-GB"/>
          </a:p>
        </p:txBody>
      </p:sp>
      <p:sp>
        <p:nvSpPr>
          <p:cNvPr id="5" name="Slide Number Placeholder 4">
            <a:extLst>
              <a:ext uri="{FF2B5EF4-FFF2-40B4-BE49-F238E27FC236}">
                <a16:creationId xmlns:a16="http://schemas.microsoft.com/office/drawing/2014/main" id="{7499F96F-FE91-782E-1078-165F894952DE}"/>
              </a:ext>
            </a:extLst>
          </p:cNvPr>
          <p:cNvSpPr>
            <a:spLocks noGrp="1"/>
          </p:cNvSpPr>
          <p:nvPr>
            <p:ph type="sldNum" sz="quarter" idx="12"/>
          </p:nvPr>
        </p:nvSpPr>
        <p:spPr/>
        <p:txBody>
          <a:bodyPr/>
          <a:lstStyle/>
          <a:p>
            <a:pPr lvl="0"/>
            <a:fld id="{BD59C1C9-0E03-4544-867C-A73B216B47F8}" type="slidenum">
              <a:t>‹#›</a:t>
            </a:fld>
            <a:endParaRPr lang="en-GB"/>
          </a:p>
        </p:txBody>
      </p:sp>
    </p:spTree>
    <p:extLst>
      <p:ext uri="{BB962C8B-B14F-4D97-AF65-F5344CB8AC3E}">
        <p14:creationId xmlns:p14="http://schemas.microsoft.com/office/powerpoint/2010/main" val="28469590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51233DC-87EC-E79D-6B0D-416709491291}"/>
              </a:ext>
            </a:extLst>
          </p:cNvPr>
          <p:cNvSpPr>
            <a:spLocks noGrp="1"/>
          </p:cNvSpPr>
          <p:nvPr>
            <p:ph type="dt" sz="half" idx="10"/>
          </p:nvPr>
        </p:nvSpPr>
        <p:spPr/>
        <p:txBody>
          <a:bodyPr/>
          <a:lstStyle/>
          <a:p>
            <a:pPr lvl="0"/>
            <a:endParaRPr lang="en-GB"/>
          </a:p>
        </p:txBody>
      </p:sp>
      <p:sp>
        <p:nvSpPr>
          <p:cNvPr id="3" name="Footer Placeholder 2">
            <a:extLst>
              <a:ext uri="{FF2B5EF4-FFF2-40B4-BE49-F238E27FC236}">
                <a16:creationId xmlns:a16="http://schemas.microsoft.com/office/drawing/2014/main" id="{3FF92BAB-1D7E-E2D8-AE66-0879BEE7596B}"/>
              </a:ext>
            </a:extLst>
          </p:cNvPr>
          <p:cNvSpPr>
            <a:spLocks noGrp="1"/>
          </p:cNvSpPr>
          <p:nvPr>
            <p:ph type="ftr" sz="quarter" idx="11"/>
          </p:nvPr>
        </p:nvSpPr>
        <p:spPr/>
        <p:txBody>
          <a:bodyPr/>
          <a:lstStyle/>
          <a:p>
            <a:pPr lvl="0"/>
            <a:endParaRPr lang="en-GB"/>
          </a:p>
        </p:txBody>
      </p:sp>
      <p:sp>
        <p:nvSpPr>
          <p:cNvPr id="4" name="Slide Number Placeholder 3">
            <a:extLst>
              <a:ext uri="{FF2B5EF4-FFF2-40B4-BE49-F238E27FC236}">
                <a16:creationId xmlns:a16="http://schemas.microsoft.com/office/drawing/2014/main" id="{AA41F21D-D3AC-B1AD-50D4-34A430108C6A}"/>
              </a:ext>
            </a:extLst>
          </p:cNvPr>
          <p:cNvSpPr>
            <a:spLocks noGrp="1"/>
          </p:cNvSpPr>
          <p:nvPr>
            <p:ph type="sldNum" sz="quarter" idx="12"/>
          </p:nvPr>
        </p:nvSpPr>
        <p:spPr/>
        <p:txBody>
          <a:bodyPr/>
          <a:lstStyle/>
          <a:p>
            <a:pPr lvl="0"/>
            <a:fld id="{A8A30BBE-3104-4602-965A-B67E662962C4}" type="slidenum">
              <a:t>‹#›</a:t>
            </a:fld>
            <a:endParaRPr lang="en-GB"/>
          </a:p>
        </p:txBody>
      </p:sp>
    </p:spTree>
    <p:extLst>
      <p:ext uri="{BB962C8B-B14F-4D97-AF65-F5344CB8AC3E}">
        <p14:creationId xmlns:p14="http://schemas.microsoft.com/office/powerpoint/2010/main" val="28263249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EADF7-9D83-4EE3-6084-DB7ECEC10791}"/>
              </a:ext>
            </a:extLst>
          </p:cNvPr>
          <p:cNvSpPr>
            <a:spLocks noGrp="1"/>
          </p:cNvSpPr>
          <p:nvPr>
            <p:ph type="title"/>
          </p:nvPr>
        </p:nvSpPr>
        <p:spPr>
          <a:xfrm>
            <a:off x="762000" y="414338"/>
            <a:ext cx="3568700" cy="1452562"/>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E7D8F51-367C-DD80-9C4C-93B5FC2F316A}"/>
              </a:ext>
            </a:extLst>
          </p:cNvPr>
          <p:cNvSpPr>
            <a:spLocks noGrp="1"/>
          </p:cNvSpPr>
          <p:nvPr>
            <p:ph idx="1"/>
          </p:nvPr>
        </p:nvSpPr>
        <p:spPr>
          <a:xfrm>
            <a:off x="4703763" y="896944"/>
            <a:ext cx="5600700" cy="442277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737B79B-9760-CCDB-D55B-97FA5087E2F9}"/>
              </a:ext>
            </a:extLst>
          </p:cNvPr>
          <p:cNvSpPr>
            <a:spLocks noGrp="1"/>
          </p:cNvSpPr>
          <p:nvPr>
            <p:ph type="body" sz="half" idx="2"/>
          </p:nvPr>
        </p:nvSpPr>
        <p:spPr>
          <a:xfrm>
            <a:off x="762000" y="1866900"/>
            <a:ext cx="3568700" cy="3460750"/>
          </a:xfrm>
        </p:spPr>
        <p:txBody>
          <a:bodyPr/>
          <a:lstStyle>
            <a:lvl1pPr marL="0" indent="0">
              <a:buNone/>
              <a:defRPr sz="1600"/>
            </a:lvl1pPr>
            <a:lvl2pPr marL="457200" indent="0">
              <a:buNone/>
              <a:defRPr sz="1400"/>
            </a:lvl2pPr>
            <a:lvl3pPr marL="914400" indent="0">
              <a:buNone/>
              <a:defRPr sz="1200"/>
            </a:lvl3pPr>
            <a:lvl4pPr marL="1371598"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598"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3EAAE83-BCCF-551A-1034-E4E23CA76CAD}"/>
              </a:ext>
            </a:extLst>
          </p:cNvPr>
          <p:cNvSpPr>
            <a:spLocks noGrp="1"/>
          </p:cNvSpPr>
          <p:nvPr>
            <p:ph type="dt" sz="half" idx="10"/>
          </p:nvPr>
        </p:nvSpPr>
        <p:spPr/>
        <p:txBody>
          <a:bodyPr/>
          <a:lstStyle/>
          <a:p>
            <a:pPr lvl="0"/>
            <a:endParaRPr lang="en-GB"/>
          </a:p>
        </p:txBody>
      </p:sp>
      <p:sp>
        <p:nvSpPr>
          <p:cNvPr id="6" name="Footer Placeholder 5">
            <a:extLst>
              <a:ext uri="{FF2B5EF4-FFF2-40B4-BE49-F238E27FC236}">
                <a16:creationId xmlns:a16="http://schemas.microsoft.com/office/drawing/2014/main" id="{ED7896FD-E728-CE48-658E-50B329DE611D}"/>
              </a:ext>
            </a:extLst>
          </p:cNvPr>
          <p:cNvSpPr>
            <a:spLocks noGrp="1"/>
          </p:cNvSpPr>
          <p:nvPr>
            <p:ph type="ftr" sz="quarter" idx="11"/>
          </p:nvPr>
        </p:nvSpPr>
        <p:spPr/>
        <p:txBody>
          <a:bodyPr/>
          <a:lstStyle/>
          <a:p>
            <a:pPr lvl="0"/>
            <a:endParaRPr lang="en-GB"/>
          </a:p>
        </p:txBody>
      </p:sp>
      <p:sp>
        <p:nvSpPr>
          <p:cNvPr id="7" name="Slide Number Placeholder 6">
            <a:extLst>
              <a:ext uri="{FF2B5EF4-FFF2-40B4-BE49-F238E27FC236}">
                <a16:creationId xmlns:a16="http://schemas.microsoft.com/office/drawing/2014/main" id="{6F74682D-1722-14EF-B24D-22B2CD88FFD9}"/>
              </a:ext>
            </a:extLst>
          </p:cNvPr>
          <p:cNvSpPr>
            <a:spLocks noGrp="1"/>
          </p:cNvSpPr>
          <p:nvPr>
            <p:ph type="sldNum" sz="quarter" idx="12"/>
          </p:nvPr>
        </p:nvSpPr>
        <p:spPr/>
        <p:txBody>
          <a:bodyPr/>
          <a:lstStyle/>
          <a:p>
            <a:pPr lvl="0"/>
            <a:fld id="{643511A3-F979-49B6-9438-F588F6D42C7C}" type="slidenum">
              <a:t>‹#›</a:t>
            </a:fld>
            <a:endParaRPr lang="en-GB"/>
          </a:p>
        </p:txBody>
      </p:sp>
    </p:spTree>
    <p:extLst>
      <p:ext uri="{BB962C8B-B14F-4D97-AF65-F5344CB8AC3E}">
        <p14:creationId xmlns:p14="http://schemas.microsoft.com/office/powerpoint/2010/main" val="257567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40C173-C4C2-8E7E-534A-DFABF94C571E}"/>
              </a:ext>
            </a:extLst>
          </p:cNvPr>
          <p:cNvSpPr>
            <a:spLocks noGrp="1"/>
          </p:cNvSpPr>
          <p:nvPr>
            <p:ph type="title"/>
          </p:nvPr>
        </p:nvSpPr>
        <p:spPr>
          <a:xfrm>
            <a:off x="762000" y="414338"/>
            <a:ext cx="3568700" cy="1452562"/>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CB7549-B391-6416-8E4B-7478BD67C1B6}"/>
              </a:ext>
            </a:extLst>
          </p:cNvPr>
          <p:cNvSpPr>
            <a:spLocks noGrp="1"/>
          </p:cNvSpPr>
          <p:nvPr>
            <p:ph type="pic" idx="1"/>
          </p:nvPr>
        </p:nvSpPr>
        <p:spPr>
          <a:xfrm>
            <a:off x="4703763" y="896944"/>
            <a:ext cx="5600700" cy="4422775"/>
          </a:xfrm>
        </p:spPr>
        <p:txBody>
          <a:bodyPr/>
          <a:lstStyle>
            <a:lvl1pPr marL="0" indent="0">
              <a:buNone/>
              <a:defRPr sz="3200"/>
            </a:lvl1pPr>
            <a:lvl2pPr marL="457200" indent="0">
              <a:buNone/>
              <a:defRPr sz="2800"/>
            </a:lvl2pPr>
            <a:lvl3pPr marL="914400" indent="0">
              <a:buNone/>
              <a:defRPr sz="2400"/>
            </a:lvl3pPr>
            <a:lvl4pPr marL="1371598"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598" indent="0">
              <a:buNone/>
              <a:defRPr sz="2000"/>
            </a:lvl9pPr>
          </a:lstStyle>
          <a:p>
            <a:endParaRPr lang="en-US"/>
          </a:p>
        </p:txBody>
      </p:sp>
      <p:sp>
        <p:nvSpPr>
          <p:cNvPr id="4" name="Text Placeholder 3">
            <a:extLst>
              <a:ext uri="{FF2B5EF4-FFF2-40B4-BE49-F238E27FC236}">
                <a16:creationId xmlns:a16="http://schemas.microsoft.com/office/drawing/2014/main" id="{5785C146-8487-35A4-11FD-7F8E076CA095}"/>
              </a:ext>
            </a:extLst>
          </p:cNvPr>
          <p:cNvSpPr>
            <a:spLocks noGrp="1"/>
          </p:cNvSpPr>
          <p:nvPr>
            <p:ph type="body" sz="half" idx="2"/>
          </p:nvPr>
        </p:nvSpPr>
        <p:spPr>
          <a:xfrm>
            <a:off x="762000" y="1866900"/>
            <a:ext cx="3568700" cy="3460750"/>
          </a:xfrm>
        </p:spPr>
        <p:txBody>
          <a:bodyPr/>
          <a:lstStyle>
            <a:lvl1pPr marL="0" indent="0">
              <a:buNone/>
              <a:defRPr sz="1600"/>
            </a:lvl1pPr>
            <a:lvl2pPr marL="457200" indent="0">
              <a:buNone/>
              <a:defRPr sz="1400"/>
            </a:lvl2pPr>
            <a:lvl3pPr marL="914400" indent="0">
              <a:buNone/>
              <a:defRPr sz="1200"/>
            </a:lvl3pPr>
            <a:lvl4pPr marL="1371598"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598"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604874B-AF2F-37EE-A9A7-CC994402797F}"/>
              </a:ext>
            </a:extLst>
          </p:cNvPr>
          <p:cNvSpPr>
            <a:spLocks noGrp="1"/>
          </p:cNvSpPr>
          <p:nvPr>
            <p:ph type="dt" sz="half" idx="10"/>
          </p:nvPr>
        </p:nvSpPr>
        <p:spPr/>
        <p:txBody>
          <a:bodyPr/>
          <a:lstStyle/>
          <a:p>
            <a:pPr lvl="0"/>
            <a:endParaRPr lang="en-GB"/>
          </a:p>
        </p:txBody>
      </p:sp>
      <p:sp>
        <p:nvSpPr>
          <p:cNvPr id="6" name="Footer Placeholder 5">
            <a:extLst>
              <a:ext uri="{FF2B5EF4-FFF2-40B4-BE49-F238E27FC236}">
                <a16:creationId xmlns:a16="http://schemas.microsoft.com/office/drawing/2014/main" id="{D24CE73C-5166-E136-67A0-1AB2A230968F}"/>
              </a:ext>
            </a:extLst>
          </p:cNvPr>
          <p:cNvSpPr>
            <a:spLocks noGrp="1"/>
          </p:cNvSpPr>
          <p:nvPr>
            <p:ph type="ftr" sz="quarter" idx="11"/>
          </p:nvPr>
        </p:nvSpPr>
        <p:spPr/>
        <p:txBody>
          <a:bodyPr/>
          <a:lstStyle/>
          <a:p>
            <a:pPr lvl="0"/>
            <a:endParaRPr lang="en-GB"/>
          </a:p>
        </p:txBody>
      </p:sp>
      <p:sp>
        <p:nvSpPr>
          <p:cNvPr id="7" name="Slide Number Placeholder 6">
            <a:extLst>
              <a:ext uri="{FF2B5EF4-FFF2-40B4-BE49-F238E27FC236}">
                <a16:creationId xmlns:a16="http://schemas.microsoft.com/office/drawing/2014/main" id="{AC4C4FBE-0F06-AE2C-9293-653E6A105711}"/>
              </a:ext>
            </a:extLst>
          </p:cNvPr>
          <p:cNvSpPr>
            <a:spLocks noGrp="1"/>
          </p:cNvSpPr>
          <p:nvPr>
            <p:ph type="sldNum" sz="quarter" idx="12"/>
          </p:nvPr>
        </p:nvSpPr>
        <p:spPr/>
        <p:txBody>
          <a:bodyPr/>
          <a:lstStyle/>
          <a:p>
            <a:pPr lvl="0"/>
            <a:fld id="{19102AE0-DB72-4C96-8F20-27BBF008B78D}" type="slidenum">
              <a:t>‹#›</a:t>
            </a:fld>
            <a:endParaRPr lang="en-GB"/>
          </a:p>
        </p:txBody>
      </p:sp>
    </p:spTree>
    <p:extLst>
      <p:ext uri="{BB962C8B-B14F-4D97-AF65-F5344CB8AC3E}">
        <p14:creationId xmlns:p14="http://schemas.microsoft.com/office/powerpoint/2010/main" val="19667014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image" Target="../media/image2.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image" Target="../media/image3.png"/><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880161-6A6F-5E9B-14C9-850184EE2EED}"/>
              </a:ext>
            </a:extLst>
          </p:cNvPr>
          <p:cNvPicPr>
            <a:picLocks noChangeAspect="1"/>
          </p:cNvPicPr>
          <p:nvPr/>
        </p:nvPicPr>
        <p:blipFill>
          <a:blip r:embed="rId14">
            <a:lum/>
            <a:alphaModFix/>
          </a:blip>
          <a:srcRect/>
          <a:stretch>
            <a:fillRect/>
          </a:stretch>
        </p:blipFill>
        <p:spPr>
          <a:xfrm>
            <a:off x="-73800" y="6"/>
            <a:ext cx="11136600" cy="6263999"/>
          </a:xfrm>
          <a:prstGeom prst="rect">
            <a:avLst/>
          </a:prstGeom>
          <a:noFill/>
          <a:ln>
            <a:noFill/>
          </a:ln>
        </p:spPr>
      </p:pic>
      <p:sp>
        <p:nvSpPr>
          <p:cNvPr id="3" name="Title Placeholder 2">
            <a:extLst>
              <a:ext uri="{FF2B5EF4-FFF2-40B4-BE49-F238E27FC236}">
                <a16:creationId xmlns:a16="http://schemas.microsoft.com/office/drawing/2014/main" id="{A123295D-AEB7-2B7B-5BC1-BE2A36A8FF36}"/>
              </a:ext>
            </a:extLst>
          </p:cNvPr>
          <p:cNvSpPr txBox="1">
            <a:spLocks noGrp="1"/>
          </p:cNvSpPr>
          <p:nvPr>
            <p:ph type="title"/>
          </p:nvPr>
        </p:nvSpPr>
        <p:spPr>
          <a:xfrm>
            <a:off x="552963" y="391320"/>
            <a:ext cx="9956160" cy="471240"/>
          </a:xfrm>
          <a:prstGeom prst="rect">
            <a:avLst/>
          </a:prstGeom>
          <a:noFill/>
          <a:ln>
            <a:noFill/>
          </a:ln>
        </p:spPr>
        <p:txBody>
          <a:bodyPr lIns="0" tIns="0" rIns="0" bIns="0" anchor="ctr"/>
          <a:lstStyle/>
          <a:p>
            <a:pPr lvl="0"/>
            <a:r>
              <a:rPr lang="en-GB"/>
              <a:t>Click to edit the title text format</a:t>
            </a:r>
          </a:p>
        </p:txBody>
      </p:sp>
      <p:sp>
        <p:nvSpPr>
          <p:cNvPr id="4" name="Text Placeholder 3">
            <a:extLst>
              <a:ext uri="{FF2B5EF4-FFF2-40B4-BE49-F238E27FC236}">
                <a16:creationId xmlns:a16="http://schemas.microsoft.com/office/drawing/2014/main" id="{0697F7F4-C638-F1E2-5AF5-C391C45F6DFB}"/>
              </a:ext>
            </a:extLst>
          </p:cNvPr>
          <p:cNvSpPr txBox="1">
            <a:spLocks noGrp="1"/>
          </p:cNvSpPr>
          <p:nvPr>
            <p:ph type="body" idx="1"/>
          </p:nvPr>
        </p:nvSpPr>
        <p:spPr>
          <a:xfrm>
            <a:off x="552963" y="1456200"/>
            <a:ext cx="9956160" cy="4068300"/>
          </a:xfrm>
          <a:prstGeom prst="rect">
            <a:avLst/>
          </a:prstGeom>
          <a:noFill/>
          <a:ln>
            <a:noFill/>
          </a:ln>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1B3CDBF-9E65-5D43-7546-1D79C46A09B0}"/>
              </a:ext>
            </a:extLst>
          </p:cNvPr>
          <p:cNvSpPr txBox="1">
            <a:spLocks noGrp="1"/>
          </p:cNvSpPr>
          <p:nvPr>
            <p:ph type="dt" sz="half" idx="2"/>
          </p:nvPr>
        </p:nvSpPr>
        <p:spPr>
          <a:xfrm>
            <a:off x="552960" y="5670360"/>
            <a:ext cx="2577240" cy="429120"/>
          </a:xfrm>
          <a:prstGeom prst="rect">
            <a:avLst/>
          </a:prstGeom>
          <a:noFill/>
          <a:ln>
            <a:noFill/>
          </a:ln>
        </p:spPr>
        <p:txBody>
          <a:bodyPr lIns="0" tIns="0" rIns="0" bIns="0" anchorCtr="0">
            <a:noAutofit/>
          </a:bodyPr>
          <a:lstStyle>
            <a:lvl1pPr lvl="0" rtl="0" hangingPunct="0">
              <a:buNone/>
              <a:tabLst/>
              <a:defRPr lang="en-GB" sz="1400" kern="1200">
                <a:latin typeface="Times New Roman" pitchFamily="18"/>
                <a:ea typeface="Lucida Sans Unicode" pitchFamily="2"/>
                <a:cs typeface="Tahoma" pitchFamily="2"/>
              </a:defRPr>
            </a:lvl1pPr>
          </a:lstStyle>
          <a:p>
            <a:pPr lvl="0"/>
            <a:endParaRPr lang="en-GB"/>
          </a:p>
        </p:txBody>
      </p:sp>
      <p:sp>
        <p:nvSpPr>
          <p:cNvPr id="6" name="Footer Placeholder 5">
            <a:extLst>
              <a:ext uri="{FF2B5EF4-FFF2-40B4-BE49-F238E27FC236}">
                <a16:creationId xmlns:a16="http://schemas.microsoft.com/office/drawing/2014/main" id="{0F9E9525-1B17-C4BB-23C2-ADB1D3C53DFF}"/>
              </a:ext>
            </a:extLst>
          </p:cNvPr>
          <p:cNvSpPr txBox="1">
            <a:spLocks noGrp="1"/>
          </p:cNvSpPr>
          <p:nvPr>
            <p:ph type="ftr" sz="quarter" idx="3"/>
          </p:nvPr>
        </p:nvSpPr>
        <p:spPr>
          <a:xfrm>
            <a:off x="3783243" y="5670360"/>
            <a:ext cx="3506399" cy="429120"/>
          </a:xfrm>
          <a:prstGeom prst="rect">
            <a:avLst/>
          </a:prstGeom>
          <a:noFill/>
          <a:ln>
            <a:noFill/>
          </a:ln>
        </p:spPr>
        <p:txBody>
          <a:bodyPr lIns="0" tIns="0" rIns="0" bIns="0" anchorCtr="0">
            <a:noAutofit/>
          </a:bodyPr>
          <a:lstStyle>
            <a:lvl1pPr lvl="0" algn="ctr" rtl="0" hangingPunct="0">
              <a:buNone/>
              <a:tabLst/>
              <a:defRPr lang="en-GB" sz="1400" kern="1200">
                <a:latin typeface="Times New Roman" pitchFamily="18"/>
                <a:ea typeface="Lucida Sans Unicode" pitchFamily="2"/>
                <a:cs typeface="Tahoma" pitchFamily="2"/>
              </a:defRPr>
            </a:lvl1pPr>
          </a:lstStyle>
          <a:p>
            <a:pPr lvl="0"/>
            <a:endParaRPr lang="en-GB"/>
          </a:p>
        </p:txBody>
      </p:sp>
      <p:sp>
        <p:nvSpPr>
          <p:cNvPr id="7" name="Slide Number Placeholder 6">
            <a:extLst>
              <a:ext uri="{FF2B5EF4-FFF2-40B4-BE49-F238E27FC236}">
                <a16:creationId xmlns:a16="http://schemas.microsoft.com/office/drawing/2014/main" id="{758A8CFB-6ED4-1045-2428-12F57B0A5B88}"/>
              </a:ext>
            </a:extLst>
          </p:cNvPr>
          <p:cNvSpPr txBox="1">
            <a:spLocks noGrp="1"/>
          </p:cNvSpPr>
          <p:nvPr>
            <p:ph type="sldNum" sz="quarter" idx="4"/>
          </p:nvPr>
        </p:nvSpPr>
        <p:spPr>
          <a:xfrm>
            <a:off x="7931880" y="5670360"/>
            <a:ext cx="2577240" cy="429120"/>
          </a:xfrm>
          <a:prstGeom prst="rect">
            <a:avLst/>
          </a:prstGeom>
          <a:noFill/>
          <a:ln>
            <a:noFill/>
          </a:ln>
        </p:spPr>
        <p:txBody>
          <a:bodyPr lIns="0" tIns="0" rIns="0" bIns="0" anchorCtr="0">
            <a:noAutofit/>
          </a:bodyPr>
          <a:lstStyle>
            <a:lvl1pPr lvl="0" algn="r" rtl="0" hangingPunct="0">
              <a:buNone/>
              <a:tabLst/>
              <a:defRPr lang="en-GB" sz="1400" kern="1200">
                <a:latin typeface="Times New Roman" pitchFamily="18"/>
                <a:ea typeface="Lucida Sans Unicode" pitchFamily="2"/>
                <a:cs typeface="Tahoma" pitchFamily="2"/>
              </a:defRPr>
            </a:lvl1pPr>
          </a:lstStyle>
          <a:p>
            <a:pPr lvl="0"/>
            <a:fld id="{32737A06-5BF0-41FA-A8CF-95DED3E51F99}" type="slidenum">
              <a:t>‹#›</a:t>
            </a:fld>
            <a:endParaRPr lang="en-GB"/>
          </a:p>
        </p:txBody>
      </p:sp>
    </p:spTree>
    <p:extLst>
      <p:ext uri="{BB962C8B-B14F-4D97-AF65-F5344CB8AC3E}">
        <p14:creationId xmlns:p14="http://schemas.microsoft.com/office/powerpoint/2010/main" val="427831197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5" r:id="rId12"/>
  </p:sldLayoutIdLst>
  <p:hf sldNum="0" hdr="0" ftr="0" dt="0"/>
  <p:txStyles>
    <p:titleStyle>
      <a:lvl1pPr lvl="0" algn="ctr" rtl="0" hangingPunct="0">
        <a:buNone/>
        <a:tabLst/>
        <a:defRPr lang="en-GB" sz="2960" b="1" i="0" u="none" strike="noStrike" kern="1200">
          <a:ln>
            <a:noFill/>
          </a:ln>
          <a:latin typeface="Rubik" pitchFamily="2"/>
          <a:ea typeface="Microsoft YaHei" pitchFamily="2"/>
          <a:cs typeface="Arial" pitchFamily="2"/>
        </a:defRPr>
      </a:lvl1pPr>
    </p:titleStyle>
    <p:bodyStyle>
      <a:lvl1pPr marL="285750" indent="-285750" rtl="0" hangingPunct="0">
        <a:spcBef>
          <a:spcPts val="480"/>
        </a:spcBef>
        <a:spcAft>
          <a:spcPts val="0"/>
        </a:spcAft>
        <a:buFont typeface="Arial" panose="020B0604020202020204" pitchFamily="34" charset="0"/>
        <a:buChar char="•"/>
        <a:tabLst/>
        <a:defRPr lang="en-GB" sz="2000" b="0" i="0" u="none" strike="noStrike" kern="1200">
          <a:ln>
            <a:noFill/>
          </a:ln>
          <a:solidFill>
            <a:srgbClr val="FFFFFF"/>
          </a:solidFill>
          <a:latin typeface="Montserrat" panose="00000500000000000000" pitchFamily="2" charset="0"/>
          <a:ea typeface="Microsoft YaHei" pitchFamily="2"/>
          <a:cs typeface="Arial" pitchFamily="2"/>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ontserrat"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ontserrat"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ontserrat"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ontserrat" panose="00000500000000000000" pitchFamily="2" charset="0"/>
          <a:ea typeface="+mn-ea"/>
          <a:cs typeface="+mn-cs"/>
        </a:defRPr>
      </a:lvl5pPr>
      <a:lvl6pPr marL="2514598"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598"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598"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5F691A0-76ED-1AEE-7422-D10F859DAB94}"/>
              </a:ext>
            </a:extLst>
          </p:cNvPr>
          <p:cNvPicPr>
            <a:picLocks noChangeAspect="1"/>
          </p:cNvPicPr>
          <p:nvPr/>
        </p:nvPicPr>
        <p:blipFill>
          <a:blip r:embed="rId18">
            <a:lum/>
            <a:alphaModFix/>
          </a:blip>
          <a:srcRect/>
          <a:stretch>
            <a:fillRect/>
          </a:stretch>
        </p:blipFill>
        <p:spPr>
          <a:xfrm>
            <a:off x="4" y="9630"/>
            <a:ext cx="11063287" cy="6214958"/>
          </a:xfrm>
          <a:prstGeom prst="rect">
            <a:avLst/>
          </a:prstGeom>
          <a:noFill/>
          <a:ln>
            <a:noFill/>
          </a:ln>
        </p:spPr>
      </p:pic>
      <p:sp>
        <p:nvSpPr>
          <p:cNvPr id="9" name="Rechteck 8">
            <a:extLst>
              <a:ext uri="{FF2B5EF4-FFF2-40B4-BE49-F238E27FC236}">
                <a16:creationId xmlns:a16="http://schemas.microsoft.com/office/drawing/2014/main" id="{4F945EE6-1E04-4D25-92D9-BFE2FE6A6152}"/>
              </a:ext>
            </a:extLst>
          </p:cNvPr>
          <p:cNvSpPr/>
          <p:nvPr userDrawn="1"/>
        </p:nvSpPr>
        <p:spPr>
          <a:xfrm>
            <a:off x="6851044" y="1669774"/>
            <a:ext cx="3772894" cy="37831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Freeform: Shape 2">
            <a:extLst>
              <a:ext uri="{FF2B5EF4-FFF2-40B4-BE49-F238E27FC236}">
                <a16:creationId xmlns:a16="http://schemas.microsoft.com/office/drawing/2014/main" id="{896031DA-94AF-D743-1C3A-6DE2612A6BEA}"/>
              </a:ext>
            </a:extLst>
          </p:cNvPr>
          <p:cNvSpPr/>
          <p:nvPr/>
        </p:nvSpPr>
        <p:spPr>
          <a:xfrm>
            <a:off x="0" y="5873619"/>
            <a:ext cx="11063288" cy="360000"/>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solidFill>
            <a:srgbClr val="418FDE"/>
          </a:solidFill>
          <a:ln w="25400">
            <a:noFill/>
            <a:prstDash val="solid"/>
          </a:ln>
        </p:spPr>
        <p:txBody>
          <a:bodyPr lIns="0" tIns="0" rIns="0" bIns="0" anchor="ctr" anchorCtr="0">
            <a:noAutofit/>
          </a:bodyPr>
          <a:lstStyle/>
          <a:p>
            <a:pPr lvl="0" rtl="0" hangingPunct="0">
              <a:buNone/>
              <a:tabLst/>
            </a:pPr>
            <a:endParaRPr lang="en-GB" sz="2400" kern="1200">
              <a:latin typeface="Times New Roman" pitchFamily="18"/>
              <a:ea typeface="Lucida Sans Unicode" pitchFamily="2"/>
              <a:cs typeface="Tahoma" pitchFamily="2"/>
            </a:endParaRPr>
          </a:p>
        </p:txBody>
      </p:sp>
      <p:sp>
        <p:nvSpPr>
          <p:cNvPr id="4" name="Title Placeholder 3">
            <a:extLst>
              <a:ext uri="{FF2B5EF4-FFF2-40B4-BE49-F238E27FC236}">
                <a16:creationId xmlns:a16="http://schemas.microsoft.com/office/drawing/2014/main" id="{6B44DB55-9447-9575-2C57-FB90FFFB8ABE}"/>
              </a:ext>
            </a:extLst>
          </p:cNvPr>
          <p:cNvSpPr txBox="1">
            <a:spLocks noGrp="1"/>
          </p:cNvSpPr>
          <p:nvPr>
            <p:ph type="title"/>
          </p:nvPr>
        </p:nvSpPr>
        <p:spPr>
          <a:xfrm>
            <a:off x="490538" y="231775"/>
            <a:ext cx="10082212" cy="720000"/>
          </a:xfrm>
          <a:prstGeom prst="rect">
            <a:avLst/>
          </a:prstGeom>
          <a:noFill/>
          <a:ln>
            <a:noFill/>
          </a:ln>
        </p:spPr>
        <p:txBody>
          <a:bodyPr lIns="0" tIns="0" rIns="0" bIns="0" anchor="t"/>
          <a:lstStyle/>
          <a:p>
            <a:endParaRPr lang="en-GB"/>
          </a:p>
        </p:txBody>
      </p:sp>
      <p:sp>
        <p:nvSpPr>
          <p:cNvPr id="5" name="Text Placeholder 4">
            <a:extLst>
              <a:ext uri="{FF2B5EF4-FFF2-40B4-BE49-F238E27FC236}">
                <a16:creationId xmlns:a16="http://schemas.microsoft.com/office/drawing/2014/main" id="{0E6CE3BD-79ED-36AA-174A-2C93ABB3850B}"/>
              </a:ext>
            </a:extLst>
          </p:cNvPr>
          <p:cNvSpPr txBox="1">
            <a:spLocks noGrp="1"/>
          </p:cNvSpPr>
          <p:nvPr>
            <p:ph type="body" idx="1"/>
          </p:nvPr>
        </p:nvSpPr>
        <p:spPr>
          <a:xfrm>
            <a:off x="490538" y="1131888"/>
            <a:ext cx="10082212" cy="4608312"/>
          </a:xfrm>
          <a:prstGeom prst="rect">
            <a:avLst/>
          </a:prstGeom>
          <a:noFill/>
          <a:ln>
            <a:noFill/>
          </a:ln>
        </p:spPr>
        <p:txBody>
          <a:bodyPr lIns="0" tIns="0" rIns="0" b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Date Placeholder 5">
            <a:extLst>
              <a:ext uri="{FF2B5EF4-FFF2-40B4-BE49-F238E27FC236}">
                <a16:creationId xmlns:a16="http://schemas.microsoft.com/office/drawing/2014/main" id="{04E3ED7E-A936-02FE-743E-03779062B384}"/>
              </a:ext>
            </a:extLst>
          </p:cNvPr>
          <p:cNvSpPr txBox="1">
            <a:spLocks noGrp="1"/>
          </p:cNvSpPr>
          <p:nvPr>
            <p:ph type="dt" sz="half" idx="2"/>
          </p:nvPr>
        </p:nvSpPr>
        <p:spPr>
          <a:xfrm>
            <a:off x="490538" y="5920213"/>
            <a:ext cx="2639662" cy="251130"/>
          </a:xfrm>
          <a:prstGeom prst="rect">
            <a:avLst/>
          </a:prstGeom>
          <a:noFill/>
          <a:ln>
            <a:noFill/>
          </a:ln>
        </p:spPr>
        <p:txBody>
          <a:bodyPr lIns="0" tIns="0" rIns="0" bIns="0" anchor="ctr" anchorCtr="0">
            <a:noAutofit/>
          </a:bodyPr>
          <a:lstStyle>
            <a:lvl1pPr lvl="0" rtl="0" hangingPunct="0">
              <a:buNone/>
              <a:tabLst/>
              <a:defRPr lang="en-GB" sz="1100" kern="1200">
                <a:solidFill>
                  <a:srgbClr val="FFFFFF"/>
                </a:solidFill>
                <a:latin typeface="Montserrat" pitchFamily="2"/>
                <a:ea typeface="Lucida Sans Unicode" pitchFamily="2"/>
                <a:cs typeface="Tahoma" pitchFamily="2"/>
              </a:defRPr>
            </a:lvl1pPr>
          </a:lstStyle>
          <a:p>
            <a:pPr lvl="0"/>
            <a:endParaRPr lang="en-GB"/>
          </a:p>
        </p:txBody>
      </p:sp>
      <p:sp>
        <p:nvSpPr>
          <p:cNvPr id="7" name="Footer Placeholder 6">
            <a:extLst>
              <a:ext uri="{FF2B5EF4-FFF2-40B4-BE49-F238E27FC236}">
                <a16:creationId xmlns:a16="http://schemas.microsoft.com/office/drawing/2014/main" id="{5B773C2B-5C83-6CFC-8032-CA79311604E3}"/>
              </a:ext>
            </a:extLst>
          </p:cNvPr>
          <p:cNvSpPr txBox="1">
            <a:spLocks noGrp="1"/>
          </p:cNvSpPr>
          <p:nvPr>
            <p:ph type="ftr" sz="quarter" idx="3"/>
          </p:nvPr>
        </p:nvSpPr>
        <p:spPr>
          <a:xfrm>
            <a:off x="3783243" y="5920213"/>
            <a:ext cx="3506399" cy="251130"/>
          </a:xfrm>
          <a:prstGeom prst="rect">
            <a:avLst/>
          </a:prstGeom>
          <a:noFill/>
          <a:ln>
            <a:noFill/>
          </a:ln>
        </p:spPr>
        <p:txBody>
          <a:bodyPr lIns="0" tIns="0" rIns="0" bIns="0" anchor="ctr" anchorCtr="0">
            <a:noAutofit/>
          </a:bodyPr>
          <a:lstStyle>
            <a:lvl1pPr lvl="0" algn="ctr" rtl="0" hangingPunct="0">
              <a:buNone/>
              <a:tabLst/>
              <a:defRPr lang="en-GB" sz="1100" kern="1200">
                <a:solidFill>
                  <a:srgbClr val="FFFFFF"/>
                </a:solidFill>
                <a:latin typeface="Montserrat" pitchFamily="2"/>
                <a:ea typeface="Lucida Sans Unicode" pitchFamily="2"/>
                <a:cs typeface="Tahoma" pitchFamily="2"/>
              </a:defRPr>
            </a:lvl1pPr>
          </a:lstStyle>
          <a:p>
            <a:pPr lvl="0"/>
            <a:endParaRPr lang="en-GB"/>
          </a:p>
        </p:txBody>
      </p:sp>
      <p:sp>
        <p:nvSpPr>
          <p:cNvPr id="8" name="Slide Number Placeholder 7">
            <a:extLst>
              <a:ext uri="{FF2B5EF4-FFF2-40B4-BE49-F238E27FC236}">
                <a16:creationId xmlns:a16="http://schemas.microsoft.com/office/drawing/2014/main" id="{5F3CF4F2-0569-8546-DD4F-0A98F5253C57}"/>
              </a:ext>
            </a:extLst>
          </p:cNvPr>
          <p:cNvSpPr txBox="1">
            <a:spLocks noGrp="1"/>
          </p:cNvSpPr>
          <p:nvPr>
            <p:ph type="sldNum" sz="quarter" idx="4"/>
          </p:nvPr>
        </p:nvSpPr>
        <p:spPr>
          <a:xfrm>
            <a:off x="7931880" y="5920213"/>
            <a:ext cx="2640870" cy="251130"/>
          </a:xfrm>
          <a:prstGeom prst="rect">
            <a:avLst/>
          </a:prstGeom>
          <a:noFill/>
          <a:ln>
            <a:noFill/>
          </a:ln>
        </p:spPr>
        <p:txBody>
          <a:bodyPr lIns="0" tIns="0" rIns="0" bIns="0" anchor="ctr" anchorCtr="0">
            <a:noAutofit/>
          </a:bodyPr>
          <a:lstStyle>
            <a:lvl1pPr lvl="0" algn="r" rtl="0" hangingPunct="0">
              <a:buNone/>
              <a:tabLst/>
              <a:defRPr lang="en-GB" sz="1100" kern="1200">
                <a:solidFill>
                  <a:srgbClr val="FFFFFF"/>
                </a:solidFill>
                <a:latin typeface="Montserrat" pitchFamily="2"/>
                <a:ea typeface="Lucida Sans Unicode" pitchFamily="2"/>
                <a:cs typeface="Tahoma" pitchFamily="2"/>
              </a:defRPr>
            </a:lvl1pPr>
          </a:lstStyle>
          <a:p>
            <a:pPr lvl="0"/>
            <a:fld id="{2D0860B2-1F30-44E9-BE2E-AF24E0FDB9FF}" type="slidenum">
              <a:t>‹#›</a:t>
            </a:fld>
            <a:endParaRPr lang="en-GB"/>
          </a:p>
        </p:txBody>
      </p:sp>
      <p:pic>
        <p:nvPicPr>
          <p:cNvPr id="11" name="Picture 28">
            <a:extLst>
              <a:ext uri="{FF2B5EF4-FFF2-40B4-BE49-F238E27FC236}">
                <a16:creationId xmlns:a16="http://schemas.microsoft.com/office/drawing/2014/main" id="{690BC076-5DEE-449C-B4C0-A36B74E302B0}"/>
              </a:ext>
            </a:extLst>
          </p:cNvPr>
          <p:cNvPicPr>
            <a:picLocks noChangeAspect="1"/>
          </p:cNvPicPr>
          <p:nvPr userDrawn="1"/>
        </p:nvPicPr>
        <p:blipFill rotWithShape="1">
          <a:blip r:embed="rId19">
            <a:lum/>
            <a:alphaModFix/>
          </a:blip>
          <a:srcRect l="29506"/>
          <a:stretch/>
        </p:blipFill>
        <p:spPr>
          <a:xfrm>
            <a:off x="9832449" y="383845"/>
            <a:ext cx="1183921" cy="449725"/>
          </a:xfrm>
          <a:prstGeom prst="rect">
            <a:avLst/>
          </a:prstGeom>
          <a:noFill/>
          <a:ln>
            <a:noFill/>
          </a:ln>
        </p:spPr>
      </p:pic>
      <p:pic>
        <p:nvPicPr>
          <p:cNvPr id="12" name="Picture 29">
            <a:extLst>
              <a:ext uri="{FF2B5EF4-FFF2-40B4-BE49-F238E27FC236}">
                <a16:creationId xmlns:a16="http://schemas.microsoft.com/office/drawing/2014/main" id="{DA79808F-3035-41D2-BC37-6196B879359C}"/>
              </a:ext>
            </a:extLst>
          </p:cNvPr>
          <p:cNvPicPr>
            <a:picLocks noChangeAspect="1"/>
          </p:cNvPicPr>
          <p:nvPr userDrawn="1"/>
        </p:nvPicPr>
        <p:blipFill rotWithShape="1">
          <a:blip r:embed="rId19">
            <a:lum/>
            <a:alphaModFix/>
          </a:blip>
          <a:srcRect t="-1" r="72483" b="5172"/>
          <a:stretch/>
        </p:blipFill>
        <p:spPr>
          <a:xfrm>
            <a:off x="10536247" y="57208"/>
            <a:ext cx="462120" cy="426469"/>
          </a:xfrm>
          <a:prstGeom prst="rect">
            <a:avLst/>
          </a:prstGeom>
          <a:noFill/>
          <a:ln>
            <a:noFill/>
          </a:ln>
        </p:spPr>
      </p:pic>
    </p:spTree>
    <p:extLst>
      <p:ext uri="{BB962C8B-B14F-4D97-AF65-F5344CB8AC3E}">
        <p14:creationId xmlns:p14="http://schemas.microsoft.com/office/powerpoint/2010/main" val="611449510"/>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706" r:id="rId6"/>
    <p:sldLayoutId id="2147483707" r:id="rId7"/>
    <p:sldLayoutId id="2147483693" r:id="rId8"/>
    <p:sldLayoutId id="2147483694" r:id="rId9"/>
    <p:sldLayoutId id="2147483695" r:id="rId10"/>
    <p:sldLayoutId id="2147483696" r:id="rId11"/>
    <p:sldLayoutId id="2147483697" r:id="rId12"/>
    <p:sldLayoutId id="2147483699" r:id="rId13"/>
    <p:sldLayoutId id="2147483700" r:id="rId14"/>
    <p:sldLayoutId id="2147483703" r:id="rId15"/>
    <p:sldLayoutId id="2147483705" r:id="rId16"/>
  </p:sldLayoutIdLst>
  <p:hf sldNum="0" hdr="0" ftr="0" dt="0"/>
  <p:txStyles>
    <p:titleStyle>
      <a:lvl1pPr algn="l" rtl="0" hangingPunct="0">
        <a:tabLst/>
        <a:defRPr lang="en-GB" sz="3200" b="1" i="0" u="none" strike="noStrike" kern="1200">
          <a:ln>
            <a:noFill/>
          </a:ln>
          <a:solidFill>
            <a:srgbClr val="183859"/>
          </a:solidFill>
          <a:latin typeface="+mj-lt"/>
          <a:ea typeface="Microsoft YaHei" pitchFamily="2"/>
          <a:cs typeface="Arial" pitchFamily="2"/>
        </a:defRPr>
      </a:lvl1pPr>
    </p:titleStyle>
    <p:bodyStyle>
      <a:lvl1pPr marL="252000" marR="0" indent="-252000" rtl="0" hangingPunct="0">
        <a:spcBef>
          <a:spcPts val="480"/>
        </a:spcBef>
        <a:spcAft>
          <a:spcPts val="0"/>
        </a:spcAft>
        <a:buFont typeface="Arial" panose="020B0604020202020204" pitchFamily="34" charset="0"/>
        <a:buChar char="•"/>
        <a:tabLst/>
        <a:defRPr lang="en-GB" sz="2000" b="0" i="0" u="none" strike="noStrike" kern="1200">
          <a:ln>
            <a:noFill/>
          </a:ln>
          <a:latin typeface="+mn-lt"/>
          <a:ea typeface="Microsoft YaHei" pitchFamily="2"/>
          <a:cs typeface="Arial" pitchFamily="2"/>
        </a:defRPr>
      </a:lvl1pPr>
      <a:lvl2pPr marL="446088"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625475" indent="-179388"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804861" indent="-179388"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984250" indent="-179388"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598"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598"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598"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16" userDrawn="1">
          <p15:clr>
            <a:srgbClr val="F26B43"/>
          </p15:clr>
        </p15:guide>
        <p15:guide id="2" orient="horz" pos="713" userDrawn="1">
          <p15:clr>
            <a:srgbClr val="F26B43"/>
          </p15:clr>
        </p15:guide>
        <p15:guide id="3" pos="309" userDrawn="1">
          <p15:clr>
            <a:srgbClr val="F26B43"/>
          </p15:clr>
        </p15:guide>
        <p15:guide id="4" pos="6660" userDrawn="1">
          <p15:clr>
            <a:srgbClr val="F26B43"/>
          </p15:clr>
        </p15:guide>
        <p15:guide id="5" orient="horz" pos="600" userDrawn="1">
          <p15:clr>
            <a:srgbClr val="F26B43"/>
          </p15:clr>
        </p15:guide>
        <p15:guide id="6" orient="horz" pos="14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6.xml"/><Relationship Id="rId1" Type="http://schemas.openxmlformats.org/officeDocument/2006/relationships/slideLayout" Target="../slideLayouts/slideLayout28.xml"/><Relationship Id="rId4" Type="http://schemas.openxmlformats.org/officeDocument/2006/relationships/image" Target="../media/image72.png"/></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7.xml"/><Relationship Id="rId1" Type="http://schemas.openxmlformats.org/officeDocument/2006/relationships/slideLayout" Target="../slideLayouts/slideLayout18.xml"/><Relationship Id="rId6" Type="http://schemas.openxmlformats.org/officeDocument/2006/relationships/image" Target="../media/image76.jpeg"/><Relationship Id="rId5" Type="http://schemas.openxmlformats.org/officeDocument/2006/relationships/image" Target="../media/image75.gif"/><Relationship Id="rId4" Type="http://schemas.openxmlformats.org/officeDocument/2006/relationships/image" Target="../media/image74.jpeg"/></Relationships>
</file>

<file path=ppt/slides/_rels/slide13.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image" Target="../media/image78.png"/></Relationships>
</file>

<file path=ppt/slides/_rels/slide14.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image" Target="../media/image84.jpeg"/><Relationship Id="rId5" Type="http://schemas.openxmlformats.org/officeDocument/2006/relationships/image" Target="../media/image83.jpeg"/><Relationship Id="rId4" Type="http://schemas.openxmlformats.org/officeDocument/2006/relationships/image" Target="../media/image82.jpeg"/></Relationships>
</file>

<file path=ppt/slides/_rels/slide17.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54.jpeg"/><Relationship Id="rId7" Type="http://schemas.openxmlformats.org/officeDocument/2006/relationships/image" Target="../media/image88.pn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image" Target="../media/image87.png"/><Relationship Id="rId11" Type="http://schemas.openxmlformats.org/officeDocument/2006/relationships/image" Target="../media/image52.pn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51.jpeg"/><Relationship Id="rId9" Type="http://schemas.openxmlformats.org/officeDocument/2006/relationships/image" Target="../media/image90.png"/></Relationships>
</file>

<file path=ppt/slides/_rels/slide19.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1.svg"/><Relationship Id="rId3" Type="http://schemas.openxmlformats.org/officeDocument/2006/relationships/image" Target="../media/image54.jpeg"/><Relationship Id="rId7" Type="http://schemas.openxmlformats.org/officeDocument/2006/relationships/image" Target="../media/image86.png"/><Relationship Id="rId12" Type="http://schemas.openxmlformats.org/officeDocument/2006/relationships/image" Target="../media/image90.png"/><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51.jpeg"/><Relationship Id="rId11" Type="http://schemas.openxmlformats.org/officeDocument/2006/relationships/image" Target="../media/image52.png"/><Relationship Id="rId5" Type="http://schemas.openxmlformats.org/officeDocument/2006/relationships/image" Target="../media/image93.svg"/><Relationship Id="rId10" Type="http://schemas.openxmlformats.org/officeDocument/2006/relationships/image" Target="../media/image89.png"/><Relationship Id="rId4" Type="http://schemas.openxmlformats.org/officeDocument/2006/relationships/image" Target="../media/image92.png"/><Relationship Id="rId9" Type="http://schemas.openxmlformats.org/officeDocument/2006/relationships/image" Target="../media/image88.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1.svg"/><Relationship Id="rId3" Type="http://schemas.openxmlformats.org/officeDocument/2006/relationships/image" Target="../media/image54.jpeg"/><Relationship Id="rId7" Type="http://schemas.openxmlformats.org/officeDocument/2006/relationships/image" Target="../media/image86.png"/><Relationship Id="rId12" Type="http://schemas.openxmlformats.org/officeDocument/2006/relationships/image" Target="../media/image90.png"/><Relationship Id="rId2" Type="http://schemas.openxmlformats.org/officeDocument/2006/relationships/notesSlide" Target="../notesSlides/notesSlide13.xml"/><Relationship Id="rId1" Type="http://schemas.openxmlformats.org/officeDocument/2006/relationships/slideLayout" Target="../slideLayouts/slideLayout16.xml"/><Relationship Id="rId6" Type="http://schemas.openxmlformats.org/officeDocument/2006/relationships/image" Target="../media/image51.jpeg"/><Relationship Id="rId11" Type="http://schemas.openxmlformats.org/officeDocument/2006/relationships/image" Target="../media/image52.png"/><Relationship Id="rId5" Type="http://schemas.openxmlformats.org/officeDocument/2006/relationships/image" Target="../media/image93.svg"/><Relationship Id="rId10" Type="http://schemas.openxmlformats.org/officeDocument/2006/relationships/image" Target="../media/image89.png"/><Relationship Id="rId4" Type="http://schemas.openxmlformats.org/officeDocument/2006/relationships/image" Target="../media/image92.png"/><Relationship Id="rId9" Type="http://schemas.openxmlformats.org/officeDocument/2006/relationships/image" Target="../media/image88.png"/></Relationships>
</file>

<file path=ppt/slides/_rels/slide21.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50.png"/><Relationship Id="rId3" Type="http://schemas.openxmlformats.org/officeDocument/2006/relationships/image" Target="../media/image51.jpeg"/><Relationship Id="rId7" Type="http://schemas.openxmlformats.org/officeDocument/2006/relationships/image" Target="../media/image88.png"/><Relationship Id="rId12" Type="http://schemas.openxmlformats.org/officeDocument/2006/relationships/image" Target="../media/image49.png"/><Relationship Id="rId2" Type="http://schemas.openxmlformats.org/officeDocument/2006/relationships/notesSlide" Target="../notesSlides/notesSlide14.xml"/><Relationship Id="rId16" Type="http://schemas.openxmlformats.org/officeDocument/2006/relationships/image" Target="../media/image91.svg"/><Relationship Id="rId1" Type="http://schemas.openxmlformats.org/officeDocument/2006/relationships/slideLayout" Target="../slideLayouts/slideLayout16.xml"/><Relationship Id="rId6" Type="http://schemas.openxmlformats.org/officeDocument/2006/relationships/image" Target="../media/image87.png"/><Relationship Id="rId11" Type="http://schemas.openxmlformats.org/officeDocument/2006/relationships/image" Target="../media/image47.jpeg"/><Relationship Id="rId5" Type="http://schemas.openxmlformats.org/officeDocument/2006/relationships/image" Target="../media/image86.png"/><Relationship Id="rId15" Type="http://schemas.openxmlformats.org/officeDocument/2006/relationships/image" Target="../media/image90.png"/><Relationship Id="rId10" Type="http://schemas.openxmlformats.org/officeDocument/2006/relationships/image" Target="../media/image93.svg"/><Relationship Id="rId4" Type="http://schemas.openxmlformats.org/officeDocument/2006/relationships/image" Target="../media/image54.jpeg"/><Relationship Id="rId9" Type="http://schemas.openxmlformats.org/officeDocument/2006/relationships/image" Target="../media/image92.png"/><Relationship Id="rId14" Type="http://schemas.openxmlformats.org/officeDocument/2006/relationships/image" Target="../media/image52.png"/></Relationships>
</file>

<file path=ppt/slides/_rels/slide22.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90.png"/><Relationship Id="rId3" Type="http://schemas.openxmlformats.org/officeDocument/2006/relationships/image" Target="../media/image51.jpeg"/><Relationship Id="rId7" Type="http://schemas.openxmlformats.org/officeDocument/2006/relationships/image" Target="../media/image88.png"/><Relationship Id="rId12" Type="http://schemas.openxmlformats.org/officeDocument/2006/relationships/image" Target="../media/image52.png"/><Relationship Id="rId2" Type="http://schemas.openxmlformats.org/officeDocument/2006/relationships/notesSlide" Target="../notesSlides/notesSlide15.xml"/><Relationship Id="rId16" Type="http://schemas.openxmlformats.org/officeDocument/2006/relationships/image" Target="../media/image50.png"/><Relationship Id="rId1" Type="http://schemas.openxmlformats.org/officeDocument/2006/relationships/slideLayout" Target="../slideLayouts/slideLayout16.xml"/><Relationship Id="rId6" Type="http://schemas.openxmlformats.org/officeDocument/2006/relationships/image" Target="../media/image87.png"/><Relationship Id="rId11" Type="http://schemas.openxmlformats.org/officeDocument/2006/relationships/image" Target="../media/image47.jpeg"/><Relationship Id="rId5" Type="http://schemas.openxmlformats.org/officeDocument/2006/relationships/image" Target="../media/image86.png"/><Relationship Id="rId15" Type="http://schemas.openxmlformats.org/officeDocument/2006/relationships/image" Target="../media/image49.png"/><Relationship Id="rId10" Type="http://schemas.openxmlformats.org/officeDocument/2006/relationships/image" Target="../media/image93.svg"/><Relationship Id="rId4" Type="http://schemas.openxmlformats.org/officeDocument/2006/relationships/image" Target="../media/image54.jpeg"/><Relationship Id="rId9" Type="http://schemas.openxmlformats.org/officeDocument/2006/relationships/image" Target="../media/image92.png"/><Relationship Id="rId14" Type="http://schemas.openxmlformats.org/officeDocument/2006/relationships/image" Target="../media/image91.svg"/></Relationships>
</file>

<file path=ppt/slides/_rels/slide23.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50.png"/><Relationship Id="rId18" Type="http://schemas.openxmlformats.org/officeDocument/2006/relationships/image" Target="../media/image95.svg"/><Relationship Id="rId3" Type="http://schemas.openxmlformats.org/officeDocument/2006/relationships/image" Target="../media/image51.jpeg"/><Relationship Id="rId21" Type="http://schemas.openxmlformats.org/officeDocument/2006/relationships/image" Target="../media/image98.png"/><Relationship Id="rId7" Type="http://schemas.openxmlformats.org/officeDocument/2006/relationships/image" Target="../media/image88.png"/><Relationship Id="rId12" Type="http://schemas.openxmlformats.org/officeDocument/2006/relationships/image" Target="../media/image49.png"/><Relationship Id="rId17" Type="http://schemas.openxmlformats.org/officeDocument/2006/relationships/image" Target="../media/image94.png"/><Relationship Id="rId2" Type="http://schemas.openxmlformats.org/officeDocument/2006/relationships/notesSlide" Target="../notesSlides/notesSlide16.xml"/><Relationship Id="rId16" Type="http://schemas.openxmlformats.org/officeDocument/2006/relationships/image" Target="../media/image91.svg"/><Relationship Id="rId20" Type="http://schemas.openxmlformats.org/officeDocument/2006/relationships/image" Target="../media/image97.svg"/><Relationship Id="rId1" Type="http://schemas.openxmlformats.org/officeDocument/2006/relationships/slideLayout" Target="../slideLayouts/slideLayout16.xml"/><Relationship Id="rId6" Type="http://schemas.openxmlformats.org/officeDocument/2006/relationships/image" Target="../media/image87.png"/><Relationship Id="rId11" Type="http://schemas.openxmlformats.org/officeDocument/2006/relationships/image" Target="../media/image47.jpeg"/><Relationship Id="rId5" Type="http://schemas.openxmlformats.org/officeDocument/2006/relationships/image" Target="../media/image86.png"/><Relationship Id="rId15" Type="http://schemas.openxmlformats.org/officeDocument/2006/relationships/image" Target="../media/image90.png"/><Relationship Id="rId10" Type="http://schemas.openxmlformats.org/officeDocument/2006/relationships/image" Target="../media/image93.svg"/><Relationship Id="rId19" Type="http://schemas.openxmlformats.org/officeDocument/2006/relationships/image" Target="../media/image96.png"/><Relationship Id="rId4" Type="http://schemas.openxmlformats.org/officeDocument/2006/relationships/image" Target="../media/image54.jpeg"/><Relationship Id="rId9" Type="http://schemas.openxmlformats.org/officeDocument/2006/relationships/image" Target="../media/image92.png"/><Relationship Id="rId14" Type="http://schemas.openxmlformats.org/officeDocument/2006/relationships/image" Target="../media/image52.png"/><Relationship Id="rId22" Type="http://schemas.openxmlformats.org/officeDocument/2006/relationships/image" Target="../media/image99.svg"/></Relationships>
</file>

<file path=ppt/slides/_rels/slide24.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50.png"/><Relationship Id="rId18" Type="http://schemas.openxmlformats.org/officeDocument/2006/relationships/image" Target="../media/image95.svg"/><Relationship Id="rId3" Type="http://schemas.openxmlformats.org/officeDocument/2006/relationships/image" Target="../media/image51.jpeg"/><Relationship Id="rId21" Type="http://schemas.openxmlformats.org/officeDocument/2006/relationships/image" Target="../media/image100.png"/><Relationship Id="rId7" Type="http://schemas.openxmlformats.org/officeDocument/2006/relationships/image" Target="../media/image88.png"/><Relationship Id="rId12" Type="http://schemas.openxmlformats.org/officeDocument/2006/relationships/image" Target="../media/image49.png"/><Relationship Id="rId17" Type="http://schemas.openxmlformats.org/officeDocument/2006/relationships/image" Target="../media/image94.png"/><Relationship Id="rId2" Type="http://schemas.openxmlformats.org/officeDocument/2006/relationships/notesSlide" Target="../notesSlides/notesSlide17.xml"/><Relationship Id="rId16" Type="http://schemas.openxmlformats.org/officeDocument/2006/relationships/image" Target="../media/image91.svg"/><Relationship Id="rId20" Type="http://schemas.openxmlformats.org/officeDocument/2006/relationships/image" Target="../media/image97.svg"/><Relationship Id="rId1" Type="http://schemas.openxmlformats.org/officeDocument/2006/relationships/slideLayout" Target="../slideLayouts/slideLayout16.xml"/><Relationship Id="rId6" Type="http://schemas.openxmlformats.org/officeDocument/2006/relationships/image" Target="../media/image87.png"/><Relationship Id="rId11" Type="http://schemas.openxmlformats.org/officeDocument/2006/relationships/image" Target="../media/image47.jpeg"/><Relationship Id="rId5" Type="http://schemas.openxmlformats.org/officeDocument/2006/relationships/image" Target="../media/image86.png"/><Relationship Id="rId15" Type="http://schemas.openxmlformats.org/officeDocument/2006/relationships/image" Target="../media/image90.png"/><Relationship Id="rId10" Type="http://schemas.openxmlformats.org/officeDocument/2006/relationships/image" Target="../media/image93.svg"/><Relationship Id="rId19" Type="http://schemas.openxmlformats.org/officeDocument/2006/relationships/image" Target="../media/image96.png"/><Relationship Id="rId4" Type="http://schemas.openxmlformats.org/officeDocument/2006/relationships/image" Target="../media/image54.jpeg"/><Relationship Id="rId9" Type="http://schemas.openxmlformats.org/officeDocument/2006/relationships/image" Target="../media/image92.png"/><Relationship Id="rId14" Type="http://schemas.openxmlformats.org/officeDocument/2006/relationships/image" Target="../media/image52.png"/><Relationship Id="rId22" Type="http://schemas.openxmlformats.org/officeDocument/2006/relationships/image" Target="../media/image101.svg"/></Relationships>
</file>

<file path=ppt/slides/_rels/slide25.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16.xml"/><Relationship Id="rId4" Type="http://schemas.openxmlformats.org/officeDocument/2006/relationships/image" Target="../media/image105.png"/></Relationships>
</file>

<file path=ppt/slides/_rels/slide2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18.xml"/><Relationship Id="rId1" Type="http://schemas.openxmlformats.org/officeDocument/2006/relationships/slideLayout" Target="../slideLayouts/slideLayout16.xml"/><Relationship Id="rId4" Type="http://schemas.openxmlformats.org/officeDocument/2006/relationships/image" Target="../media/image107.jpeg"/></Relationships>
</file>

<file path=ppt/slides/_rels/slide2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8" Type="http://schemas.openxmlformats.org/officeDocument/2006/relationships/image" Target="../media/image13.jpeg"/><Relationship Id="rId13" Type="http://schemas.openxmlformats.org/officeDocument/2006/relationships/image" Target="../media/image18.jpeg"/><Relationship Id="rId18" Type="http://schemas.openxmlformats.org/officeDocument/2006/relationships/image" Target="../media/image23.png"/><Relationship Id="rId3" Type="http://schemas.openxmlformats.org/officeDocument/2006/relationships/image" Target="../media/image8.png"/><Relationship Id="rId21" Type="http://schemas.openxmlformats.org/officeDocument/2006/relationships/image" Target="../media/image26.svg"/><Relationship Id="rId7" Type="http://schemas.openxmlformats.org/officeDocument/2006/relationships/image" Target="../media/image12.png"/><Relationship Id="rId12" Type="http://schemas.openxmlformats.org/officeDocument/2006/relationships/image" Target="../media/image17.jpeg"/><Relationship Id="rId17" Type="http://schemas.openxmlformats.org/officeDocument/2006/relationships/image" Target="../media/image22.jpeg"/><Relationship Id="rId2" Type="http://schemas.openxmlformats.org/officeDocument/2006/relationships/notesSlide" Target="../notesSlides/notesSlide2.xml"/><Relationship Id="rId16" Type="http://schemas.openxmlformats.org/officeDocument/2006/relationships/image" Target="../media/image21.jpeg"/><Relationship Id="rId20" Type="http://schemas.openxmlformats.org/officeDocument/2006/relationships/image" Target="../media/image25.png"/><Relationship Id="rId1" Type="http://schemas.openxmlformats.org/officeDocument/2006/relationships/slideLayout" Target="../slideLayouts/slideLayout19.xml"/><Relationship Id="rId6" Type="http://schemas.openxmlformats.org/officeDocument/2006/relationships/image" Target="../media/image11.jpeg"/><Relationship Id="rId11" Type="http://schemas.openxmlformats.org/officeDocument/2006/relationships/image" Target="../media/image16.png"/><Relationship Id="rId5" Type="http://schemas.openxmlformats.org/officeDocument/2006/relationships/image" Target="../media/image10.jpeg"/><Relationship Id="rId15" Type="http://schemas.openxmlformats.org/officeDocument/2006/relationships/image" Target="../media/image20.jpeg"/><Relationship Id="rId10" Type="http://schemas.openxmlformats.org/officeDocument/2006/relationships/image" Target="../media/image15.jpeg"/><Relationship Id="rId19" Type="http://schemas.openxmlformats.org/officeDocument/2006/relationships/image" Target="../media/image24.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 Id="rId22" Type="http://schemas.openxmlformats.org/officeDocument/2006/relationships/image" Target="../media/image27.png"/></Relationships>
</file>

<file path=ppt/slides/_rels/slide30.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image" Target="../media/image111.png"/><Relationship Id="rId7" Type="http://schemas.microsoft.com/office/2007/relationships/hdphoto" Target="../media/hdphoto1.wdp"/><Relationship Id="rId2" Type="http://schemas.openxmlformats.org/officeDocument/2006/relationships/notesSlide" Target="../notesSlides/notesSlide19.xml"/><Relationship Id="rId1" Type="http://schemas.openxmlformats.org/officeDocument/2006/relationships/slideLayout" Target="../slideLayouts/slideLayout14.xml"/><Relationship Id="rId6" Type="http://schemas.openxmlformats.org/officeDocument/2006/relationships/image" Target="../media/image113.png"/><Relationship Id="rId5" Type="http://schemas.openxmlformats.org/officeDocument/2006/relationships/image" Target="../media/image112.png"/><Relationship Id="rId10" Type="http://schemas.openxmlformats.org/officeDocument/2006/relationships/image" Target="../media/image116.png"/><Relationship Id="rId4" Type="http://schemas.openxmlformats.org/officeDocument/2006/relationships/image" Target="../media/image110.png"/><Relationship Id="rId9" Type="http://schemas.openxmlformats.org/officeDocument/2006/relationships/image" Target="../media/image115.png"/></Relationships>
</file>

<file path=ppt/slides/_rels/slide32.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20.xml"/><Relationship Id="rId1" Type="http://schemas.openxmlformats.org/officeDocument/2006/relationships/slideLayout" Target="../slideLayouts/slideLayout14.xml"/><Relationship Id="rId5" Type="http://schemas.openxmlformats.org/officeDocument/2006/relationships/image" Target="../media/image118.jpeg"/><Relationship Id="rId4" Type="http://schemas.openxmlformats.org/officeDocument/2006/relationships/image" Target="../media/image116.png"/></Relationships>
</file>

<file path=ppt/slides/_rels/slide33.xml.rels><?xml version="1.0" encoding="UTF-8" standalone="yes"?>
<Relationships xmlns="http://schemas.openxmlformats.org/package/2006/relationships"><Relationship Id="rId8" Type="http://schemas.openxmlformats.org/officeDocument/2006/relationships/image" Target="../media/image124.png"/><Relationship Id="rId13" Type="http://schemas.openxmlformats.org/officeDocument/2006/relationships/image" Target="../media/image129.png"/><Relationship Id="rId3" Type="http://schemas.openxmlformats.org/officeDocument/2006/relationships/image" Target="../media/image120.png"/><Relationship Id="rId7" Type="http://schemas.openxmlformats.org/officeDocument/2006/relationships/image" Target="../media/image123.svg"/><Relationship Id="rId12" Type="http://schemas.openxmlformats.org/officeDocument/2006/relationships/image" Target="../media/image128.png"/><Relationship Id="rId2" Type="http://schemas.openxmlformats.org/officeDocument/2006/relationships/image" Target="../media/image119.png"/><Relationship Id="rId1" Type="http://schemas.openxmlformats.org/officeDocument/2006/relationships/slideLayout" Target="../slideLayouts/slideLayout16.xml"/><Relationship Id="rId6" Type="http://schemas.openxmlformats.org/officeDocument/2006/relationships/image" Target="../media/image122.png"/><Relationship Id="rId11" Type="http://schemas.openxmlformats.org/officeDocument/2006/relationships/image" Target="../media/image127.svg"/><Relationship Id="rId5" Type="http://schemas.openxmlformats.org/officeDocument/2006/relationships/image" Target="../media/image121.png"/><Relationship Id="rId10" Type="http://schemas.openxmlformats.org/officeDocument/2006/relationships/image" Target="../media/image126.png"/><Relationship Id="rId4" Type="http://schemas.microsoft.com/office/2007/relationships/hdphoto" Target="../media/hdphoto2.wdp"/><Relationship Id="rId9" Type="http://schemas.openxmlformats.org/officeDocument/2006/relationships/image" Target="../media/image125.svg"/><Relationship Id="rId14" Type="http://schemas.openxmlformats.org/officeDocument/2006/relationships/image" Target="../media/image130.svg"/></Relationships>
</file>

<file path=ppt/slides/_rels/slide3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31.png"/><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notesSlide" Target="../notesSlides/notesSlide21.xml"/><Relationship Id="rId7" Type="http://schemas.openxmlformats.org/officeDocument/2006/relationships/image" Target="../media/image135.svg"/><Relationship Id="rId2" Type="http://schemas.openxmlformats.org/officeDocument/2006/relationships/slideLayout" Target="../slideLayouts/slideLayout19.xml"/><Relationship Id="rId1" Type="http://schemas.openxmlformats.org/officeDocument/2006/relationships/tags" Target="../tags/tag382.xml"/><Relationship Id="rId6" Type="http://schemas.openxmlformats.org/officeDocument/2006/relationships/image" Target="../media/image134.png"/><Relationship Id="rId5" Type="http://schemas.openxmlformats.org/officeDocument/2006/relationships/image" Target="../media/image133.svg"/><Relationship Id="rId10" Type="http://schemas.openxmlformats.org/officeDocument/2006/relationships/image" Target="../media/image138.png"/><Relationship Id="rId4" Type="http://schemas.openxmlformats.org/officeDocument/2006/relationships/image" Target="../media/image132.png"/><Relationship Id="rId9" Type="http://schemas.openxmlformats.org/officeDocument/2006/relationships/image" Target="../media/image137.svg"/></Relationships>
</file>

<file path=ppt/slides/_rels/slide36.xml.rels><?xml version="1.0" encoding="UTF-8" standalone="yes"?>
<Relationships xmlns="http://schemas.openxmlformats.org/package/2006/relationships"><Relationship Id="rId3" Type="http://schemas.openxmlformats.org/officeDocument/2006/relationships/hyperlink" Target="mailto:info@6g-takeoff.de" TargetMode="External"/><Relationship Id="rId2" Type="http://schemas.openxmlformats.org/officeDocument/2006/relationships/image" Target="../media/image3.png"/><Relationship Id="rId1" Type="http://schemas.openxmlformats.org/officeDocument/2006/relationships/slideLayout" Target="../slideLayouts/slideLayout20.xml"/><Relationship Id="rId6" Type="http://schemas.openxmlformats.org/officeDocument/2006/relationships/image" Target="../media/image139.png"/><Relationship Id="rId5" Type="http://schemas.openxmlformats.org/officeDocument/2006/relationships/image" Target="../media/image6.png"/><Relationship Id="rId4" Type="http://schemas.openxmlformats.org/officeDocument/2006/relationships/hyperlink" Target="https://www.6g-takeoff.de" TargetMode="External"/></Relationships>
</file>

<file path=ppt/slides/_rels/slide4.xml.rels><?xml version="1.0" encoding="UTF-8" standalone="yes"?>
<Relationships xmlns="http://schemas.openxmlformats.org/package/2006/relationships"><Relationship Id="rId8" Type="http://schemas.openxmlformats.org/officeDocument/2006/relationships/slide" Target="slide10.xml"/><Relationship Id="rId3" Type="http://schemas.openxmlformats.org/officeDocument/2006/relationships/image" Target="../media/image29.png"/><Relationship Id="rId7" Type="http://schemas.openxmlformats.org/officeDocument/2006/relationships/slide" Target="slide5.xml"/><Relationship Id="rId2" Type="http://schemas.openxmlformats.org/officeDocument/2006/relationships/image" Target="../media/image28.png"/><Relationship Id="rId1" Type="http://schemas.openxmlformats.org/officeDocument/2006/relationships/slideLayout" Target="../slideLayouts/slideLayout2.xml"/><Relationship Id="rId6" Type="http://schemas.openxmlformats.org/officeDocument/2006/relationships/image" Target="../media/image32.png"/><Relationship Id="rId11" Type="http://schemas.openxmlformats.org/officeDocument/2006/relationships/slide" Target="slide30.xml"/><Relationship Id="rId5" Type="http://schemas.openxmlformats.org/officeDocument/2006/relationships/image" Target="../media/image31.png"/><Relationship Id="rId10" Type="http://schemas.openxmlformats.org/officeDocument/2006/relationships/slide" Target="slide25.xml"/><Relationship Id="rId4" Type="http://schemas.openxmlformats.org/officeDocument/2006/relationships/image" Target="../media/image30.png"/><Relationship Id="rId9" Type="http://schemas.openxmlformats.org/officeDocument/2006/relationships/slide" Target="slide14.xml"/></Relationships>
</file>

<file path=ppt/slides/_rels/slide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image" Target="../media/image37.jpeg"/><Relationship Id="rId5" Type="http://schemas.openxmlformats.org/officeDocument/2006/relationships/image" Target="../media/image36.png"/><Relationship Id="rId4" Type="http://schemas.openxmlformats.org/officeDocument/2006/relationships/image" Target="../media/image35.jpeg"/></Relationships>
</file>

<file path=ppt/slides/_rels/slide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s/_rels/slide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s/_rels/slide9.xml.rels><?xml version="1.0" encoding="UTF-8" standalone="yes"?>
<Relationships xmlns="http://schemas.openxmlformats.org/package/2006/relationships"><Relationship Id="rId8" Type="http://schemas.openxmlformats.org/officeDocument/2006/relationships/image" Target="../media/image46.jpeg"/><Relationship Id="rId13" Type="http://schemas.openxmlformats.org/officeDocument/2006/relationships/image" Target="../media/image51.jpeg"/><Relationship Id="rId18" Type="http://schemas.openxmlformats.org/officeDocument/2006/relationships/image" Target="../media/image56.png"/><Relationship Id="rId26" Type="http://schemas.openxmlformats.org/officeDocument/2006/relationships/image" Target="../media/image64.jpeg"/><Relationship Id="rId3" Type="http://schemas.openxmlformats.org/officeDocument/2006/relationships/diagramLayout" Target="../diagrams/layout1.xml"/><Relationship Id="rId21" Type="http://schemas.openxmlformats.org/officeDocument/2006/relationships/image" Target="../media/image59.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5.png"/><Relationship Id="rId25" Type="http://schemas.openxmlformats.org/officeDocument/2006/relationships/image" Target="../media/image63.jpeg"/><Relationship Id="rId2" Type="http://schemas.openxmlformats.org/officeDocument/2006/relationships/diagramData" Target="../diagrams/data1.xml"/><Relationship Id="rId16" Type="http://schemas.openxmlformats.org/officeDocument/2006/relationships/image" Target="../media/image54.jpeg"/><Relationship Id="rId20" Type="http://schemas.openxmlformats.org/officeDocument/2006/relationships/image" Target="../media/image58.png"/><Relationship Id="rId29" Type="http://schemas.openxmlformats.org/officeDocument/2006/relationships/image" Target="../media/image67.png"/><Relationship Id="rId1" Type="http://schemas.openxmlformats.org/officeDocument/2006/relationships/slideLayout" Target="../slideLayouts/slideLayout14.xml"/><Relationship Id="rId6" Type="http://schemas.microsoft.com/office/2007/relationships/diagramDrawing" Target="../diagrams/drawing1.xml"/><Relationship Id="rId11" Type="http://schemas.openxmlformats.org/officeDocument/2006/relationships/image" Target="../media/image49.png"/><Relationship Id="rId24" Type="http://schemas.openxmlformats.org/officeDocument/2006/relationships/image" Target="../media/image62.jpeg"/><Relationship Id="rId5" Type="http://schemas.openxmlformats.org/officeDocument/2006/relationships/diagramColors" Target="../diagrams/colors1.xml"/><Relationship Id="rId15" Type="http://schemas.openxmlformats.org/officeDocument/2006/relationships/image" Target="../media/image53.png"/><Relationship Id="rId23" Type="http://schemas.openxmlformats.org/officeDocument/2006/relationships/image" Target="../media/image61.jpeg"/><Relationship Id="rId28" Type="http://schemas.openxmlformats.org/officeDocument/2006/relationships/image" Target="../media/image66.jpeg"/><Relationship Id="rId10" Type="http://schemas.openxmlformats.org/officeDocument/2006/relationships/image" Target="../media/image48.jpeg"/><Relationship Id="rId19" Type="http://schemas.openxmlformats.org/officeDocument/2006/relationships/image" Target="../media/image57.png"/><Relationship Id="rId31" Type="http://schemas.openxmlformats.org/officeDocument/2006/relationships/image" Target="../media/image69.png"/><Relationship Id="rId4" Type="http://schemas.openxmlformats.org/officeDocument/2006/relationships/diagramQuickStyle" Target="../diagrams/quickStyle1.xml"/><Relationship Id="rId9" Type="http://schemas.openxmlformats.org/officeDocument/2006/relationships/image" Target="../media/image47.jpeg"/><Relationship Id="rId14" Type="http://schemas.openxmlformats.org/officeDocument/2006/relationships/image" Target="../media/image52.png"/><Relationship Id="rId22" Type="http://schemas.openxmlformats.org/officeDocument/2006/relationships/image" Target="../media/image60.jpeg"/><Relationship Id="rId27" Type="http://schemas.openxmlformats.org/officeDocument/2006/relationships/image" Target="../media/image65.jpeg"/><Relationship Id="rId30" Type="http://schemas.openxmlformats.org/officeDocument/2006/relationships/image" Target="../media/image6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platzhalter 1">
            <a:extLst>
              <a:ext uri="{FF2B5EF4-FFF2-40B4-BE49-F238E27FC236}">
                <a16:creationId xmlns:a16="http://schemas.microsoft.com/office/drawing/2014/main" id="{97AD54E2-6C12-4188-8485-DEEFBD1276E1}"/>
              </a:ext>
            </a:extLst>
          </p:cNvPr>
          <p:cNvPicPr>
            <a:picLocks noGrp="1" noMove="1" noResize="1"/>
          </p:cNvPicPr>
          <p:nvPr>
            <p:ph type="pic" idx="4294967295"/>
          </p:nvPr>
        </p:nvPicPr>
        <p:blipFill>
          <a:blip r:embed="rId3">
            <a:lum/>
            <a:alphaModFix/>
          </a:blip>
          <a:srcRect/>
          <a:stretch>
            <a:fillRect/>
          </a:stretch>
        </p:blipFill>
        <p:spPr>
          <a:xfrm>
            <a:off x="0" y="-571500"/>
            <a:ext cx="11755438" cy="6907213"/>
          </a:xfrm>
        </p:spPr>
      </p:pic>
      <p:sp>
        <p:nvSpPr>
          <p:cNvPr id="3" name="Titel 2">
            <a:extLst>
              <a:ext uri="{FF2B5EF4-FFF2-40B4-BE49-F238E27FC236}">
                <a16:creationId xmlns:a16="http://schemas.microsoft.com/office/drawing/2014/main" id="{28753A55-01EC-441E-8C31-7C63FCFC1479}"/>
              </a:ext>
            </a:extLst>
          </p:cNvPr>
          <p:cNvSpPr txBox="1">
            <a:spLocks noGrp="1"/>
          </p:cNvSpPr>
          <p:nvPr>
            <p:ph type="title" idx="4294967295"/>
          </p:nvPr>
        </p:nvSpPr>
        <p:spPr>
          <a:xfrm>
            <a:off x="408554" y="403776"/>
            <a:ext cx="9956800" cy="471488"/>
          </a:xfrm>
        </p:spPr>
        <p:txBody>
          <a:bodyPr>
            <a:normAutofit fontScale="90000"/>
          </a:bodyPr>
          <a:lstStyle/>
          <a:p>
            <a:pPr algn="l"/>
            <a:r>
              <a:rPr lang="en-GB" sz="3200">
                <a:solidFill>
                  <a:srgbClr val="FFFFFF"/>
                </a:solidFill>
                <a:latin typeface="Rubik"/>
                <a:ea typeface="Microsoft YaHei"/>
                <a:cs typeface="Arial"/>
              </a:rPr>
              <a:t>6G-TakeOff</a:t>
            </a:r>
            <a:endParaRPr lang="en-GB" sz="2950">
              <a:latin typeface="Rubik"/>
              <a:ea typeface="Microsoft YaHei"/>
              <a:cs typeface="Arial"/>
            </a:endParaRPr>
          </a:p>
        </p:txBody>
      </p:sp>
      <p:sp>
        <p:nvSpPr>
          <p:cNvPr id="4" name="Titel 3">
            <a:extLst>
              <a:ext uri="{FF2B5EF4-FFF2-40B4-BE49-F238E27FC236}">
                <a16:creationId xmlns:a16="http://schemas.microsoft.com/office/drawing/2014/main" id="{599E9B08-3637-474D-A8F8-DF7D172E164E}"/>
              </a:ext>
            </a:extLst>
          </p:cNvPr>
          <p:cNvSpPr txBox="1">
            <a:spLocks noGrp="1"/>
          </p:cNvSpPr>
          <p:nvPr>
            <p:ph type="title" idx="4294967295"/>
          </p:nvPr>
        </p:nvSpPr>
        <p:spPr>
          <a:xfrm>
            <a:off x="2" y="1727200"/>
            <a:ext cx="9955213" cy="446088"/>
          </a:xfrm>
        </p:spPr>
        <p:txBody>
          <a:bodyPr>
            <a:normAutofit fontScale="90000"/>
          </a:bodyPr>
          <a:lstStyle/>
          <a:p>
            <a:pPr lvl="0" algn="l"/>
            <a:r>
              <a:rPr lang="en-GB" sz="2400">
                <a:solidFill>
                  <a:schemeClr val="bg1">
                    <a:lumMod val="75000"/>
                  </a:schemeClr>
                </a:solidFill>
              </a:rPr>
              <a:t>Consortium meeting </a:t>
            </a:r>
            <a:br>
              <a:rPr lang="en-GB" sz="2400">
                <a:solidFill>
                  <a:schemeClr val="bg1">
                    <a:lumMod val="75000"/>
                  </a:schemeClr>
                </a:solidFill>
              </a:rPr>
            </a:br>
            <a:r>
              <a:rPr lang="en-GB" sz="2400">
                <a:solidFill>
                  <a:schemeClr val="bg1">
                    <a:lumMod val="75000"/>
                  </a:schemeClr>
                </a:solidFill>
              </a:rPr>
              <a:t>26 – 28 April 2023</a:t>
            </a:r>
          </a:p>
        </p:txBody>
      </p:sp>
      <p:pic>
        <p:nvPicPr>
          <p:cNvPr id="5" name="Grafik 4">
            <a:extLst>
              <a:ext uri="{FF2B5EF4-FFF2-40B4-BE49-F238E27FC236}">
                <a16:creationId xmlns:a16="http://schemas.microsoft.com/office/drawing/2014/main" id="{71144960-0F16-44B4-929F-1B87756E61AA}"/>
              </a:ext>
            </a:extLst>
          </p:cNvPr>
          <p:cNvPicPr>
            <a:picLocks noChangeAspect="1"/>
          </p:cNvPicPr>
          <p:nvPr/>
        </p:nvPicPr>
        <p:blipFill>
          <a:blip r:embed="rId4">
            <a:lum/>
            <a:alphaModFix/>
          </a:blip>
          <a:srcRect/>
          <a:stretch>
            <a:fillRect/>
          </a:stretch>
        </p:blipFill>
        <p:spPr>
          <a:xfrm>
            <a:off x="8127362" y="5256000"/>
            <a:ext cx="2672640" cy="715680"/>
          </a:xfrm>
          <a:prstGeom prst="rect">
            <a:avLst/>
          </a:prstGeom>
          <a:noFill/>
          <a:ln>
            <a:noFill/>
          </a:ln>
        </p:spPr>
      </p:pic>
      <p:pic>
        <p:nvPicPr>
          <p:cNvPr id="6" name="Grafik 5">
            <a:extLst>
              <a:ext uri="{FF2B5EF4-FFF2-40B4-BE49-F238E27FC236}">
                <a16:creationId xmlns:a16="http://schemas.microsoft.com/office/drawing/2014/main" id="{BF3C1A77-D7B2-4C02-A36C-8E444F74EFD0}"/>
              </a:ext>
            </a:extLst>
          </p:cNvPr>
          <p:cNvPicPr>
            <a:picLocks noChangeAspect="1"/>
          </p:cNvPicPr>
          <p:nvPr/>
        </p:nvPicPr>
        <p:blipFill>
          <a:blip r:embed="rId5">
            <a:lum/>
            <a:alphaModFix/>
          </a:blip>
          <a:srcRect/>
          <a:stretch>
            <a:fillRect/>
          </a:stretch>
        </p:blipFill>
        <p:spPr>
          <a:xfrm>
            <a:off x="9421200" y="4176004"/>
            <a:ext cx="1234800" cy="1007999"/>
          </a:xfrm>
          <a:prstGeom prst="rect">
            <a:avLst/>
          </a:prstGeom>
          <a:noFill/>
          <a:ln>
            <a:noFill/>
          </a:ln>
        </p:spPr>
      </p:pic>
      <p:sp>
        <p:nvSpPr>
          <p:cNvPr id="8" name="TextBox 7">
            <a:extLst>
              <a:ext uri="{FF2B5EF4-FFF2-40B4-BE49-F238E27FC236}">
                <a16:creationId xmlns:a16="http://schemas.microsoft.com/office/drawing/2014/main" id="{B920F805-83F7-4D3B-B498-15EC0814BC4C}"/>
              </a:ext>
            </a:extLst>
          </p:cNvPr>
          <p:cNvSpPr txBox="1"/>
          <p:nvPr/>
        </p:nvSpPr>
        <p:spPr>
          <a:xfrm>
            <a:off x="364436" y="1003141"/>
            <a:ext cx="5975684" cy="584775"/>
          </a:xfrm>
          <a:prstGeom prst="rect">
            <a:avLst/>
          </a:prstGeom>
          <a:noFill/>
        </p:spPr>
        <p:txBody>
          <a:bodyPr wrap="square">
            <a:spAutoFit/>
          </a:bodyPr>
          <a:lstStyle/>
          <a:p>
            <a:pPr lvl="0" algn="l"/>
            <a:r>
              <a:rPr lang="en-GB" sz="1600" b="1">
                <a:solidFill>
                  <a:srgbClr val="7ECCEE"/>
                </a:solidFill>
                <a:latin typeface="Rubik" pitchFamily="2"/>
                <a:ea typeface="Microsoft YaHei" pitchFamily="2"/>
                <a:cs typeface="Arial" pitchFamily="2"/>
              </a:rPr>
              <a:t>HANNOVER MESSE</a:t>
            </a:r>
            <a:br>
              <a:rPr lang="en-GB" sz="1600" b="1">
                <a:solidFill>
                  <a:srgbClr val="7ECCEE"/>
                </a:solidFill>
                <a:latin typeface="Rubik" pitchFamily="2"/>
                <a:ea typeface="Microsoft YaHei" pitchFamily="2"/>
                <a:cs typeface="Arial" pitchFamily="2"/>
              </a:rPr>
            </a:br>
            <a:r>
              <a:rPr lang="en-GB" sz="1600" b="1">
                <a:solidFill>
                  <a:srgbClr val="7ECCEE"/>
                </a:solidFill>
                <a:latin typeface="Rubik" pitchFamily="2"/>
                <a:ea typeface="Microsoft YaHei" pitchFamily="2"/>
                <a:cs typeface="Arial" pitchFamily="2"/>
              </a:rPr>
              <a:t>30 March – 04 April, 2025</a:t>
            </a:r>
          </a:p>
        </p:txBody>
      </p:sp>
      <p:pic>
        <p:nvPicPr>
          <p:cNvPr id="1026" name="Picture 2" descr="Hannover-Messe – Wikipedia">
            <a:extLst>
              <a:ext uri="{FF2B5EF4-FFF2-40B4-BE49-F238E27FC236}">
                <a16:creationId xmlns:a16="http://schemas.microsoft.com/office/drawing/2014/main" id="{97FAAEB7-D6BF-4BF1-BD47-037BAA48281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98476" y="436979"/>
            <a:ext cx="1150057" cy="115093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08630B-7750-494A-A89A-15725FBAC659}"/>
              </a:ext>
            </a:extLst>
          </p:cNvPr>
          <p:cNvSpPr>
            <a:spLocks noGrp="1"/>
          </p:cNvSpPr>
          <p:nvPr>
            <p:ph type="title"/>
          </p:nvPr>
        </p:nvSpPr>
        <p:spPr/>
        <p:txBody>
          <a:bodyPr/>
          <a:lstStyle/>
          <a:p>
            <a:r>
              <a:rPr lang="en-US"/>
              <a:t>Vision &amp; Approach</a:t>
            </a:r>
          </a:p>
        </p:txBody>
      </p:sp>
      <p:sp>
        <p:nvSpPr>
          <p:cNvPr id="5" name="Textplatzhalter 4">
            <a:extLst>
              <a:ext uri="{FF2B5EF4-FFF2-40B4-BE49-F238E27FC236}">
                <a16:creationId xmlns:a16="http://schemas.microsoft.com/office/drawing/2014/main" id="{927D1B7D-5620-4BFC-8291-17585BBB42D4}"/>
              </a:ext>
            </a:extLst>
          </p:cNvPr>
          <p:cNvSpPr>
            <a:spLocks noGrp="1"/>
          </p:cNvSpPr>
          <p:nvPr>
            <p:ph type="body" idx="1"/>
          </p:nvPr>
        </p:nvSpPr>
        <p:spPr/>
        <p:txBody>
          <a:bodyPr/>
          <a:lstStyle/>
          <a:p>
            <a:endParaRPr lang="en-US"/>
          </a:p>
        </p:txBody>
      </p:sp>
      <p:pic>
        <p:nvPicPr>
          <p:cNvPr id="3" name="Grafik 2">
            <a:extLst>
              <a:ext uri="{FF2B5EF4-FFF2-40B4-BE49-F238E27FC236}">
                <a16:creationId xmlns:a16="http://schemas.microsoft.com/office/drawing/2014/main" id="{4C7E8A94-3741-44EF-865B-AFBD43A90E66}"/>
              </a:ext>
            </a:extLst>
          </p:cNvPr>
          <p:cNvPicPr>
            <a:picLocks noChangeAspect="1"/>
          </p:cNvPicPr>
          <p:nvPr/>
        </p:nvPicPr>
        <p:blipFill>
          <a:blip r:embed="rId2"/>
          <a:stretch>
            <a:fillRect/>
          </a:stretch>
        </p:blipFill>
        <p:spPr>
          <a:xfrm>
            <a:off x="6701975" y="3509974"/>
            <a:ext cx="3870775" cy="2017707"/>
          </a:xfrm>
          <a:prstGeom prst="rect">
            <a:avLst/>
          </a:prstGeom>
        </p:spPr>
      </p:pic>
    </p:spTree>
    <p:extLst>
      <p:ext uri="{BB962C8B-B14F-4D97-AF65-F5344CB8AC3E}">
        <p14:creationId xmlns:p14="http://schemas.microsoft.com/office/powerpoint/2010/main" val="2986845758"/>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4649E7-105C-44EF-961D-645A0A0F5E0D}"/>
              </a:ext>
            </a:extLst>
          </p:cNvPr>
          <p:cNvSpPr>
            <a:spLocks noGrp="1"/>
          </p:cNvSpPr>
          <p:nvPr>
            <p:ph type="title"/>
          </p:nvPr>
        </p:nvSpPr>
        <p:spPr/>
        <p:txBody>
          <a:bodyPr>
            <a:normAutofit/>
          </a:bodyPr>
          <a:lstStyle/>
          <a:p>
            <a:r>
              <a:rPr lang="de-DE"/>
              <a:t>3D Networks</a:t>
            </a:r>
            <a:endParaRPr lang="en-US"/>
          </a:p>
        </p:txBody>
      </p:sp>
      <p:sp>
        <p:nvSpPr>
          <p:cNvPr id="20" name="Rechteck: abgerundete Ecken 19">
            <a:extLst>
              <a:ext uri="{FF2B5EF4-FFF2-40B4-BE49-F238E27FC236}">
                <a16:creationId xmlns:a16="http://schemas.microsoft.com/office/drawing/2014/main" id="{F8C1D0D8-87A0-4E2B-9499-DB7D07575A68}"/>
              </a:ext>
            </a:extLst>
          </p:cNvPr>
          <p:cNvSpPr/>
          <p:nvPr/>
        </p:nvSpPr>
        <p:spPr>
          <a:xfrm>
            <a:off x="1249446" y="5043256"/>
            <a:ext cx="2156034" cy="784013"/>
          </a:xfrm>
          <a:prstGeom prst="roundRect">
            <a:avLst/>
          </a:prstGeom>
        </p:spPr>
        <p:style>
          <a:lnRef idx="3">
            <a:schemeClr val="lt1"/>
          </a:lnRef>
          <a:fillRef idx="1">
            <a:schemeClr val="accent1"/>
          </a:fillRef>
          <a:effectRef idx="1">
            <a:schemeClr val="accent1"/>
          </a:effectRef>
          <a:fontRef idx="minor">
            <a:schemeClr val="lt1"/>
          </a:fontRef>
        </p:style>
        <p:txBody>
          <a:bodyPr lIns="0" tIns="45720" rIns="0" bIns="45720" rtlCol="0" anchor="ctr"/>
          <a:lstStyle/>
          <a:p>
            <a:pPr algn="ctr"/>
            <a:r>
              <a:rPr lang="en-US" sz="1450">
                <a:latin typeface="Roboto"/>
                <a:ea typeface="Roboto"/>
                <a:cs typeface="Roboto"/>
              </a:rPr>
              <a:t>Combine ground-based and non-terrestrial execution platforms</a:t>
            </a:r>
          </a:p>
        </p:txBody>
      </p:sp>
      <p:sp>
        <p:nvSpPr>
          <p:cNvPr id="21" name="Rechteck: abgerundete Ecken 20">
            <a:extLst>
              <a:ext uri="{FF2B5EF4-FFF2-40B4-BE49-F238E27FC236}">
                <a16:creationId xmlns:a16="http://schemas.microsoft.com/office/drawing/2014/main" id="{00FE761A-AF39-42DC-8A26-C2ED007B4B18}"/>
              </a:ext>
            </a:extLst>
          </p:cNvPr>
          <p:cNvSpPr/>
          <p:nvPr/>
        </p:nvSpPr>
        <p:spPr>
          <a:xfrm>
            <a:off x="3616721" y="5043256"/>
            <a:ext cx="2156034" cy="784013"/>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452">
                <a:latin typeface="Roboto" panose="02000000000000000000" pitchFamily="2" charset="0"/>
                <a:ea typeface="Roboto" panose="02000000000000000000" pitchFamily="2" charset="0"/>
              </a:rPr>
              <a:t>Seamless connectivity everywhere and anytime</a:t>
            </a:r>
          </a:p>
        </p:txBody>
      </p:sp>
      <p:sp>
        <p:nvSpPr>
          <p:cNvPr id="22" name="Rechteck: abgerundete Ecken 21">
            <a:extLst>
              <a:ext uri="{FF2B5EF4-FFF2-40B4-BE49-F238E27FC236}">
                <a16:creationId xmlns:a16="http://schemas.microsoft.com/office/drawing/2014/main" id="{7658D3AE-77D1-448B-B522-61E2E4F8D20C}"/>
              </a:ext>
            </a:extLst>
          </p:cNvPr>
          <p:cNvSpPr/>
          <p:nvPr/>
        </p:nvSpPr>
        <p:spPr>
          <a:xfrm>
            <a:off x="5984000" y="5049047"/>
            <a:ext cx="2156034" cy="784013"/>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452">
                <a:latin typeface="Roboto" panose="02000000000000000000" pitchFamily="2" charset="0"/>
                <a:ea typeface="Roboto" panose="02000000000000000000" pitchFamily="2" charset="0"/>
              </a:rPr>
              <a:t>Flexible and demand-oriented provisioning of network capacity</a:t>
            </a:r>
          </a:p>
        </p:txBody>
      </p:sp>
      <p:sp>
        <p:nvSpPr>
          <p:cNvPr id="23" name="Rechteck: abgerundete Ecken 22">
            <a:extLst>
              <a:ext uri="{FF2B5EF4-FFF2-40B4-BE49-F238E27FC236}">
                <a16:creationId xmlns:a16="http://schemas.microsoft.com/office/drawing/2014/main" id="{55EC4C28-F11C-4885-A994-9905A6EAF3AD}"/>
              </a:ext>
            </a:extLst>
          </p:cNvPr>
          <p:cNvSpPr/>
          <p:nvPr/>
        </p:nvSpPr>
        <p:spPr>
          <a:xfrm>
            <a:off x="8351274" y="5043256"/>
            <a:ext cx="2156034" cy="784013"/>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452">
                <a:latin typeface="Roboto" panose="02000000000000000000" pitchFamily="2" charset="0"/>
                <a:ea typeface="Roboto" panose="02000000000000000000" pitchFamily="2" charset="0"/>
              </a:rPr>
              <a:t>Fully exploit potential of network sites on different altitudes</a:t>
            </a:r>
          </a:p>
        </p:txBody>
      </p:sp>
      <p:sp>
        <p:nvSpPr>
          <p:cNvPr id="8" name="Freihandform: Form 7">
            <a:extLst>
              <a:ext uri="{FF2B5EF4-FFF2-40B4-BE49-F238E27FC236}">
                <a16:creationId xmlns:a16="http://schemas.microsoft.com/office/drawing/2014/main" id="{E460BBEA-33E9-47B0-A2C9-66D3CADA7775}"/>
              </a:ext>
            </a:extLst>
          </p:cNvPr>
          <p:cNvSpPr/>
          <p:nvPr/>
        </p:nvSpPr>
        <p:spPr>
          <a:xfrm>
            <a:off x="2204738" y="1965371"/>
            <a:ext cx="5899737" cy="2894619"/>
          </a:xfrm>
          <a:custGeom>
            <a:avLst/>
            <a:gdLst>
              <a:gd name="connsiteX0" fmla="*/ 717969 w 6501647"/>
              <a:gd name="connsiteY0" fmla="*/ 60173 h 3189937"/>
              <a:gd name="connsiteX1" fmla="*/ 787772 w 6501647"/>
              <a:gd name="connsiteY1" fmla="*/ -15 h 3189937"/>
              <a:gd name="connsiteX2" fmla="*/ 6501644 w 6501647"/>
              <a:gd name="connsiteY2" fmla="*/ 3169861 h 3189937"/>
              <a:gd name="connsiteX3" fmla="*/ -4 w 6501647"/>
              <a:gd name="connsiteY3" fmla="*/ 3189923 h 3189937"/>
            </a:gdLst>
            <a:ahLst/>
            <a:cxnLst>
              <a:cxn ang="0">
                <a:pos x="connsiteX0" y="connsiteY0"/>
              </a:cxn>
              <a:cxn ang="0">
                <a:pos x="connsiteX1" y="connsiteY1"/>
              </a:cxn>
              <a:cxn ang="0">
                <a:pos x="connsiteX2" y="connsiteY2"/>
              </a:cxn>
              <a:cxn ang="0">
                <a:pos x="connsiteX3" y="connsiteY3"/>
              </a:cxn>
            </a:cxnLst>
            <a:rect l="l" t="t" r="r" b="b"/>
            <a:pathLst>
              <a:path w="6501647" h="3189937">
                <a:moveTo>
                  <a:pt x="717969" y="60173"/>
                </a:moveTo>
                <a:lnTo>
                  <a:pt x="787772" y="-15"/>
                </a:lnTo>
                <a:lnTo>
                  <a:pt x="6501644" y="3169861"/>
                </a:lnTo>
                <a:lnTo>
                  <a:pt x="-4" y="3189923"/>
                </a:lnTo>
                <a:close/>
              </a:path>
            </a:pathLst>
          </a:custGeom>
          <a:solidFill>
            <a:srgbClr val="7ECCEE">
              <a:alpha val="40000"/>
            </a:srgbClr>
          </a:solidFill>
          <a:ln w="7968" cap="rnd">
            <a:noFill/>
            <a:prstDash val="solid"/>
            <a:miter/>
          </a:ln>
        </p:spPr>
        <p:txBody>
          <a:bodyPr rtlCol="0" anchor="ctr"/>
          <a:lstStyle/>
          <a:p>
            <a:endParaRPr lang="en-US" sz="1633"/>
          </a:p>
        </p:txBody>
      </p:sp>
      <p:sp>
        <p:nvSpPr>
          <p:cNvPr id="9" name="Freihandform: Form 8">
            <a:extLst>
              <a:ext uri="{FF2B5EF4-FFF2-40B4-BE49-F238E27FC236}">
                <a16:creationId xmlns:a16="http://schemas.microsoft.com/office/drawing/2014/main" id="{92C3DC65-DA58-48F0-860B-A8D5992038FA}"/>
              </a:ext>
            </a:extLst>
          </p:cNvPr>
          <p:cNvSpPr/>
          <p:nvPr/>
        </p:nvSpPr>
        <p:spPr>
          <a:xfrm>
            <a:off x="2820046" y="2838622"/>
            <a:ext cx="4415754" cy="2021369"/>
          </a:xfrm>
          <a:custGeom>
            <a:avLst/>
            <a:gdLst>
              <a:gd name="connsiteX0" fmla="*/ 2313466 w 4866264"/>
              <a:gd name="connsiteY0" fmla="*/ -15 h 2227596"/>
              <a:gd name="connsiteX1" fmla="*/ 2512903 w 4866264"/>
              <a:gd name="connsiteY1" fmla="*/ -15 h 2227596"/>
              <a:gd name="connsiteX2" fmla="*/ 4866260 w 4866264"/>
              <a:gd name="connsiteY2" fmla="*/ 2227583 h 2227596"/>
              <a:gd name="connsiteX3" fmla="*/ -4 w 4866264"/>
              <a:gd name="connsiteY3" fmla="*/ 2206861 h 2227596"/>
            </a:gdLst>
            <a:ahLst/>
            <a:cxnLst>
              <a:cxn ang="0">
                <a:pos x="connsiteX0" y="connsiteY0"/>
              </a:cxn>
              <a:cxn ang="0">
                <a:pos x="connsiteX1" y="connsiteY1"/>
              </a:cxn>
              <a:cxn ang="0">
                <a:pos x="connsiteX2" y="connsiteY2"/>
              </a:cxn>
              <a:cxn ang="0">
                <a:pos x="connsiteX3" y="connsiteY3"/>
              </a:cxn>
            </a:cxnLst>
            <a:rect l="l" t="t" r="r" b="b"/>
            <a:pathLst>
              <a:path w="4866264" h="2227596">
                <a:moveTo>
                  <a:pt x="2313466" y="-15"/>
                </a:moveTo>
                <a:lnTo>
                  <a:pt x="2512903" y="-15"/>
                </a:lnTo>
                <a:lnTo>
                  <a:pt x="4866260" y="2227583"/>
                </a:lnTo>
                <a:lnTo>
                  <a:pt x="-4" y="2206861"/>
                </a:lnTo>
                <a:close/>
              </a:path>
            </a:pathLst>
          </a:custGeom>
          <a:solidFill>
            <a:srgbClr val="7ECCEE">
              <a:alpha val="40000"/>
            </a:srgbClr>
          </a:solidFill>
          <a:ln w="7968" cap="rnd">
            <a:noFill/>
            <a:prstDash val="solid"/>
            <a:miter/>
          </a:ln>
        </p:spPr>
        <p:txBody>
          <a:bodyPr rtlCol="0" anchor="ctr"/>
          <a:lstStyle/>
          <a:p>
            <a:endParaRPr lang="en-US" sz="1633"/>
          </a:p>
        </p:txBody>
      </p:sp>
      <p:sp>
        <p:nvSpPr>
          <p:cNvPr id="10" name="Freihandform: Form 9">
            <a:extLst>
              <a:ext uri="{FF2B5EF4-FFF2-40B4-BE49-F238E27FC236}">
                <a16:creationId xmlns:a16="http://schemas.microsoft.com/office/drawing/2014/main" id="{A78042EB-8996-443E-9647-6A3E17B4A72A}"/>
              </a:ext>
            </a:extLst>
          </p:cNvPr>
          <p:cNvSpPr/>
          <p:nvPr/>
        </p:nvSpPr>
        <p:spPr>
          <a:xfrm>
            <a:off x="4485005" y="4058965"/>
            <a:ext cx="1122035" cy="782223"/>
          </a:xfrm>
          <a:custGeom>
            <a:avLst/>
            <a:gdLst>
              <a:gd name="connsiteX0" fmla="*/ -4 w 1236509"/>
              <a:gd name="connsiteY0" fmla="*/ 240735 h 862028"/>
              <a:gd name="connsiteX1" fmla="*/ -4 w 1236509"/>
              <a:gd name="connsiteY1" fmla="*/ -15 h 862028"/>
              <a:gd name="connsiteX2" fmla="*/ 1236506 w 1236509"/>
              <a:gd name="connsiteY2" fmla="*/ 862014 h 862028"/>
              <a:gd name="connsiteX3" fmla="*/ 358983 w 1236509"/>
              <a:gd name="connsiteY3" fmla="*/ 862014 h 862028"/>
            </a:gdLst>
            <a:ahLst/>
            <a:cxnLst>
              <a:cxn ang="0">
                <a:pos x="connsiteX0" y="connsiteY0"/>
              </a:cxn>
              <a:cxn ang="0">
                <a:pos x="connsiteX1" y="connsiteY1"/>
              </a:cxn>
              <a:cxn ang="0">
                <a:pos x="connsiteX2" y="connsiteY2"/>
              </a:cxn>
              <a:cxn ang="0">
                <a:pos x="connsiteX3" y="connsiteY3"/>
              </a:cxn>
            </a:cxnLst>
            <a:rect l="l" t="t" r="r" b="b"/>
            <a:pathLst>
              <a:path w="1236509" h="862028">
                <a:moveTo>
                  <a:pt x="-4" y="240735"/>
                </a:moveTo>
                <a:lnTo>
                  <a:pt x="-4" y="-15"/>
                </a:lnTo>
                <a:lnTo>
                  <a:pt x="1236506" y="862014"/>
                </a:lnTo>
                <a:lnTo>
                  <a:pt x="358983" y="862014"/>
                </a:lnTo>
                <a:close/>
              </a:path>
            </a:pathLst>
          </a:custGeom>
          <a:solidFill>
            <a:srgbClr val="7ECCEE">
              <a:alpha val="40000"/>
            </a:srgbClr>
          </a:solidFill>
          <a:ln w="7968" cap="rnd">
            <a:noFill/>
            <a:prstDash val="solid"/>
            <a:miter/>
          </a:ln>
        </p:spPr>
        <p:txBody>
          <a:bodyPr rtlCol="0" anchor="ctr"/>
          <a:lstStyle/>
          <a:p>
            <a:endParaRPr lang="en-US" sz="1633"/>
          </a:p>
        </p:txBody>
      </p:sp>
      <p:sp>
        <p:nvSpPr>
          <p:cNvPr id="11" name="Freihandform: Form 10">
            <a:extLst>
              <a:ext uri="{FF2B5EF4-FFF2-40B4-BE49-F238E27FC236}">
                <a16:creationId xmlns:a16="http://schemas.microsoft.com/office/drawing/2014/main" id="{3FBE2FC4-BD21-490C-A301-3CDDE92C888B}"/>
              </a:ext>
            </a:extLst>
          </p:cNvPr>
          <p:cNvSpPr/>
          <p:nvPr/>
        </p:nvSpPr>
        <p:spPr>
          <a:xfrm>
            <a:off x="3181996" y="4058965"/>
            <a:ext cx="1122035" cy="782223"/>
          </a:xfrm>
          <a:custGeom>
            <a:avLst/>
            <a:gdLst>
              <a:gd name="connsiteX0" fmla="*/ 1236506 w 1236509"/>
              <a:gd name="connsiteY0" fmla="*/ 240735 h 862028"/>
              <a:gd name="connsiteX1" fmla="*/ 1236506 w 1236509"/>
              <a:gd name="connsiteY1" fmla="*/ -15 h 862028"/>
              <a:gd name="connsiteX2" fmla="*/ -4 w 1236509"/>
              <a:gd name="connsiteY2" fmla="*/ 862014 h 862028"/>
              <a:gd name="connsiteX3" fmla="*/ 877519 w 1236509"/>
              <a:gd name="connsiteY3" fmla="*/ 862014 h 862028"/>
            </a:gdLst>
            <a:ahLst/>
            <a:cxnLst>
              <a:cxn ang="0">
                <a:pos x="connsiteX0" y="connsiteY0"/>
              </a:cxn>
              <a:cxn ang="0">
                <a:pos x="connsiteX1" y="connsiteY1"/>
              </a:cxn>
              <a:cxn ang="0">
                <a:pos x="connsiteX2" y="connsiteY2"/>
              </a:cxn>
              <a:cxn ang="0">
                <a:pos x="connsiteX3" y="connsiteY3"/>
              </a:cxn>
            </a:cxnLst>
            <a:rect l="l" t="t" r="r" b="b"/>
            <a:pathLst>
              <a:path w="1236509" h="862028">
                <a:moveTo>
                  <a:pt x="1236506" y="240735"/>
                </a:moveTo>
                <a:lnTo>
                  <a:pt x="1236506" y="-15"/>
                </a:lnTo>
                <a:lnTo>
                  <a:pt x="-4" y="862014"/>
                </a:lnTo>
                <a:lnTo>
                  <a:pt x="877519" y="862014"/>
                </a:lnTo>
                <a:close/>
              </a:path>
            </a:pathLst>
          </a:custGeom>
          <a:solidFill>
            <a:srgbClr val="7ECCEE">
              <a:alpha val="40000"/>
            </a:srgbClr>
          </a:solidFill>
          <a:ln w="7968" cap="rnd">
            <a:noFill/>
            <a:prstDash val="solid"/>
            <a:miter/>
          </a:ln>
        </p:spPr>
        <p:txBody>
          <a:bodyPr rtlCol="0" anchor="ctr"/>
          <a:lstStyle/>
          <a:p>
            <a:endParaRPr lang="en-US" sz="1633"/>
          </a:p>
        </p:txBody>
      </p:sp>
      <p:sp>
        <p:nvSpPr>
          <p:cNvPr id="12" name="Freihandform: Form 11">
            <a:extLst>
              <a:ext uri="{FF2B5EF4-FFF2-40B4-BE49-F238E27FC236}">
                <a16:creationId xmlns:a16="http://schemas.microsoft.com/office/drawing/2014/main" id="{6CC3DF1C-CAE2-4D63-815E-5FBC3F6FD90C}"/>
              </a:ext>
            </a:extLst>
          </p:cNvPr>
          <p:cNvSpPr/>
          <p:nvPr/>
        </p:nvSpPr>
        <p:spPr>
          <a:xfrm rot="5400000" flipV="1">
            <a:off x="4803517" y="1920392"/>
            <a:ext cx="521190" cy="1253886"/>
          </a:xfrm>
          <a:custGeom>
            <a:avLst/>
            <a:gdLst>
              <a:gd name="connsiteX0" fmla="*/ 12 w 574364"/>
              <a:gd name="connsiteY0" fmla="*/ 636959 h 1381812"/>
              <a:gd name="connsiteX1" fmla="*/ 255276 w 574364"/>
              <a:gd name="connsiteY1" fmla="*/ -87 h 1381812"/>
              <a:gd name="connsiteX2" fmla="*/ 492359 w 574364"/>
              <a:gd name="connsiteY2" fmla="*/ 417498 h 1381812"/>
              <a:gd name="connsiteX3" fmla="*/ 574376 w 574364"/>
              <a:gd name="connsiteY3" fmla="*/ 449596 h 1381812"/>
              <a:gd name="connsiteX4" fmla="*/ 574376 w 574364"/>
              <a:gd name="connsiteY4" fmla="*/ 824322 h 1381812"/>
              <a:gd name="connsiteX5" fmla="*/ 491556 w 574364"/>
              <a:gd name="connsiteY5" fmla="*/ 856732 h 1381812"/>
              <a:gd name="connsiteX6" fmla="*/ 295305 w 574364"/>
              <a:gd name="connsiteY6" fmla="*/ 1228036 h 1381812"/>
              <a:gd name="connsiteX7" fmla="*/ 443302 w 574364"/>
              <a:gd name="connsiteY7" fmla="*/ 1381725 h 1381812"/>
              <a:gd name="connsiteX8" fmla="*/ 67270 w 574364"/>
              <a:gd name="connsiteY8" fmla="*/ 1381725 h 1381812"/>
              <a:gd name="connsiteX9" fmla="*/ 215267 w 574364"/>
              <a:gd name="connsiteY9" fmla="*/ 1228036 h 1381812"/>
              <a:gd name="connsiteX10" fmla="*/ 12 w 574364"/>
              <a:gd name="connsiteY10" fmla="*/ 636959 h 1381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4364" h="1381812">
                <a:moveTo>
                  <a:pt x="12" y="636959"/>
                </a:moveTo>
                <a:cubicBezTo>
                  <a:pt x="12" y="301723"/>
                  <a:pt x="127636" y="-87"/>
                  <a:pt x="255276" y="-87"/>
                </a:cubicBezTo>
                <a:cubicBezTo>
                  <a:pt x="354007" y="-87"/>
                  <a:pt x="452702" y="180550"/>
                  <a:pt x="492359" y="417498"/>
                </a:cubicBezTo>
                <a:lnTo>
                  <a:pt x="574376" y="449596"/>
                </a:lnTo>
                <a:lnTo>
                  <a:pt x="574376" y="824322"/>
                </a:lnTo>
                <a:lnTo>
                  <a:pt x="491556" y="856732"/>
                </a:lnTo>
                <a:cubicBezTo>
                  <a:pt x="456878" y="1050835"/>
                  <a:pt x="379071" y="1192882"/>
                  <a:pt x="295305" y="1228036"/>
                </a:cubicBezTo>
                <a:cubicBezTo>
                  <a:pt x="357556" y="1245145"/>
                  <a:pt x="411611" y="1301279"/>
                  <a:pt x="443302" y="1381725"/>
                </a:cubicBezTo>
                <a:lnTo>
                  <a:pt x="67270" y="1381725"/>
                </a:lnTo>
                <a:cubicBezTo>
                  <a:pt x="98962" y="1301279"/>
                  <a:pt x="153017" y="1245145"/>
                  <a:pt x="215267" y="1228036"/>
                </a:cubicBezTo>
                <a:cubicBezTo>
                  <a:pt x="102276" y="1180617"/>
                  <a:pt x="12" y="938831"/>
                  <a:pt x="12" y="636959"/>
                </a:cubicBezTo>
                <a:close/>
              </a:path>
            </a:pathLst>
          </a:custGeom>
          <a:solidFill>
            <a:srgbClr val="183859"/>
          </a:solidFill>
          <a:ln w="5202" cap="rnd">
            <a:noFill/>
            <a:prstDash val="solid"/>
            <a:miter/>
          </a:ln>
        </p:spPr>
        <p:txBody>
          <a:bodyPr rtlCol="0" anchor="ctr"/>
          <a:lstStyle/>
          <a:p>
            <a:endParaRPr lang="en-US" sz="1633"/>
          </a:p>
        </p:txBody>
      </p:sp>
      <p:sp>
        <p:nvSpPr>
          <p:cNvPr id="14" name="Freihandform: Form 13">
            <a:extLst>
              <a:ext uri="{FF2B5EF4-FFF2-40B4-BE49-F238E27FC236}">
                <a16:creationId xmlns:a16="http://schemas.microsoft.com/office/drawing/2014/main" id="{1934DDB6-8FF0-4048-9030-E190FE34E4D1}"/>
              </a:ext>
            </a:extLst>
          </p:cNvPr>
          <p:cNvSpPr/>
          <p:nvPr/>
        </p:nvSpPr>
        <p:spPr>
          <a:xfrm>
            <a:off x="7345635" y="2183226"/>
            <a:ext cx="1013445" cy="364118"/>
          </a:xfrm>
          <a:custGeom>
            <a:avLst/>
            <a:gdLst>
              <a:gd name="connsiteX0" fmla="*/ 55 w 1116840"/>
              <a:gd name="connsiteY0" fmla="*/ -60 h 401267"/>
              <a:gd name="connsiteX1" fmla="*/ 38558 w 1116840"/>
              <a:gd name="connsiteY1" fmla="*/ 187199 h 401267"/>
              <a:gd name="connsiteX2" fmla="*/ 154091 w 1116840"/>
              <a:gd name="connsiteY2" fmla="*/ 267444 h 401267"/>
              <a:gd name="connsiteX3" fmla="*/ 455794 w 1116840"/>
              <a:gd name="connsiteY3" fmla="*/ 267444 h 401267"/>
              <a:gd name="connsiteX4" fmla="*/ 423680 w 1116840"/>
              <a:gd name="connsiteY4" fmla="*/ 401207 h 401267"/>
              <a:gd name="connsiteX5" fmla="*/ 577737 w 1116840"/>
              <a:gd name="connsiteY5" fmla="*/ 401207 h 401267"/>
              <a:gd name="connsiteX6" fmla="*/ 738205 w 1116840"/>
              <a:gd name="connsiteY6" fmla="*/ 267444 h 401267"/>
              <a:gd name="connsiteX7" fmla="*/ 1001363 w 1116840"/>
              <a:gd name="connsiteY7" fmla="*/ 267444 h 401267"/>
              <a:gd name="connsiteX8" fmla="*/ 1116896 w 1116840"/>
              <a:gd name="connsiteY8" fmla="*/ 187199 h 401267"/>
              <a:gd name="connsiteX9" fmla="*/ 1001363 w 1116840"/>
              <a:gd name="connsiteY9" fmla="*/ 106954 h 401267"/>
              <a:gd name="connsiteX10" fmla="*/ 209126 w 1116840"/>
              <a:gd name="connsiteY10" fmla="*/ 106954 h 401267"/>
              <a:gd name="connsiteX11" fmla="*/ 77083 w 1116840"/>
              <a:gd name="connsiteY11" fmla="*/ -60 h 401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16840" h="401267">
                <a:moveTo>
                  <a:pt x="55" y="-60"/>
                </a:moveTo>
                <a:lnTo>
                  <a:pt x="38558" y="187199"/>
                </a:lnTo>
                <a:cubicBezTo>
                  <a:pt x="38558" y="224829"/>
                  <a:pt x="96323" y="267444"/>
                  <a:pt x="154091" y="267444"/>
                </a:cubicBezTo>
                <a:lnTo>
                  <a:pt x="455794" y="267444"/>
                </a:lnTo>
                <a:lnTo>
                  <a:pt x="423680" y="401207"/>
                </a:lnTo>
                <a:lnTo>
                  <a:pt x="577737" y="401207"/>
                </a:lnTo>
                <a:lnTo>
                  <a:pt x="738205" y="267444"/>
                </a:lnTo>
                <a:lnTo>
                  <a:pt x="1001363" y="267444"/>
                </a:lnTo>
                <a:cubicBezTo>
                  <a:pt x="1059131" y="267444"/>
                  <a:pt x="1116896" y="224829"/>
                  <a:pt x="1116896" y="187199"/>
                </a:cubicBezTo>
                <a:cubicBezTo>
                  <a:pt x="1116896" y="149569"/>
                  <a:pt x="1059131" y="106954"/>
                  <a:pt x="1001363" y="106954"/>
                </a:cubicBezTo>
                <a:lnTo>
                  <a:pt x="209126" y="106954"/>
                </a:lnTo>
                <a:lnTo>
                  <a:pt x="77083" y="-60"/>
                </a:lnTo>
                <a:close/>
              </a:path>
            </a:pathLst>
          </a:custGeom>
          <a:solidFill>
            <a:srgbClr val="183859"/>
          </a:solidFill>
          <a:ln w="9754" cap="rnd">
            <a:noFill/>
            <a:prstDash val="solid"/>
            <a:miter/>
          </a:ln>
        </p:spPr>
        <p:txBody>
          <a:bodyPr rtlCol="0" anchor="ctr"/>
          <a:lstStyle/>
          <a:p>
            <a:endParaRPr lang="en-US" sz="1633"/>
          </a:p>
        </p:txBody>
      </p:sp>
      <p:grpSp>
        <p:nvGrpSpPr>
          <p:cNvPr id="15" name="Grafik 3">
            <a:extLst>
              <a:ext uri="{FF2B5EF4-FFF2-40B4-BE49-F238E27FC236}">
                <a16:creationId xmlns:a16="http://schemas.microsoft.com/office/drawing/2014/main" id="{FDD22C5A-1457-42E1-9419-33F79A8A2BC9}"/>
              </a:ext>
            </a:extLst>
          </p:cNvPr>
          <p:cNvGrpSpPr/>
          <p:nvPr/>
        </p:nvGrpSpPr>
        <p:grpSpPr>
          <a:xfrm>
            <a:off x="4688437" y="4604521"/>
            <a:ext cx="2714605" cy="236667"/>
            <a:chOff x="5166762" y="5073465"/>
            <a:chExt cx="2991558" cy="260812"/>
          </a:xfrm>
          <a:solidFill>
            <a:srgbClr val="183859"/>
          </a:solidFill>
        </p:grpSpPr>
        <p:sp>
          <p:nvSpPr>
            <p:cNvPr id="17" name="Freihandform: Form 16">
              <a:extLst>
                <a:ext uri="{FF2B5EF4-FFF2-40B4-BE49-F238E27FC236}">
                  <a16:creationId xmlns:a16="http://schemas.microsoft.com/office/drawing/2014/main" id="{80A238A6-5045-457E-92DD-134723D2CDAD}"/>
                </a:ext>
              </a:extLst>
            </p:cNvPr>
            <p:cNvSpPr/>
            <p:nvPr/>
          </p:nvSpPr>
          <p:spPr>
            <a:xfrm>
              <a:off x="5166762" y="5073471"/>
              <a:ext cx="797740" cy="240735"/>
            </a:xfrm>
            <a:custGeom>
              <a:avLst/>
              <a:gdLst>
                <a:gd name="connsiteX0" fmla="*/ 279224 w 797740"/>
                <a:gd name="connsiteY0" fmla="*/ -14 h 240735"/>
                <a:gd name="connsiteX1" fmla="*/ 9 w 797740"/>
                <a:gd name="connsiteY1" fmla="*/ 120354 h 240735"/>
                <a:gd name="connsiteX2" fmla="*/ 9 w 797740"/>
                <a:gd name="connsiteY2" fmla="*/ 200599 h 240735"/>
                <a:gd name="connsiteX3" fmla="*/ 159549 w 797740"/>
                <a:gd name="connsiteY3" fmla="*/ 240722 h 240735"/>
                <a:gd name="connsiteX4" fmla="*/ 797750 w 797740"/>
                <a:gd name="connsiteY4" fmla="*/ 240722 h 240735"/>
                <a:gd name="connsiteX5" fmla="*/ 797750 w 797740"/>
                <a:gd name="connsiteY5" fmla="*/ -14 h 240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7740" h="240735">
                  <a:moveTo>
                    <a:pt x="279224" y="-14"/>
                  </a:moveTo>
                  <a:lnTo>
                    <a:pt x="9" y="120354"/>
                  </a:lnTo>
                  <a:lnTo>
                    <a:pt x="9" y="200599"/>
                  </a:lnTo>
                  <a:lnTo>
                    <a:pt x="159549" y="240722"/>
                  </a:lnTo>
                  <a:lnTo>
                    <a:pt x="797750" y="240722"/>
                  </a:lnTo>
                  <a:lnTo>
                    <a:pt x="797750" y="-14"/>
                  </a:lnTo>
                  <a:close/>
                </a:path>
              </a:pathLst>
            </a:custGeom>
            <a:solidFill>
              <a:srgbClr val="183859"/>
            </a:solidFill>
            <a:ln w="7968" cap="rnd">
              <a:noFill/>
              <a:prstDash val="solid"/>
              <a:miter/>
            </a:ln>
          </p:spPr>
          <p:txBody>
            <a:bodyPr rtlCol="0" anchor="ctr"/>
            <a:lstStyle/>
            <a:p>
              <a:endParaRPr lang="en-US" sz="1633"/>
            </a:p>
          </p:txBody>
        </p:sp>
        <p:sp>
          <p:nvSpPr>
            <p:cNvPr id="18" name="Freihandform: Form 17">
              <a:extLst>
                <a:ext uri="{FF2B5EF4-FFF2-40B4-BE49-F238E27FC236}">
                  <a16:creationId xmlns:a16="http://schemas.microsoft.com/office/drawing/2014/main" id="{FBE665C8-B7B2-40FF-9A03-9D4AED93FBC8}"/>
                </a:ext>
              </a:extLst>
            </p:cNvPr>
            <p:cNvSpPr/>
            <p:nvPr/>
          </p:nvSpPr>
          <p:spPr>
            <a:xfrm>
              <a:off x="6004395" y="5073465"/>
              <a:ext cx="638198" cy="240750"/>
            </a:xfrm>
            <a:custGeom>
              <a:avLst/>
              <a:gdLst>
                <a:gd name="connsiteX0" fmla="*/ 9 w 638198"/>
                <a:gd name="connsiteY0" fmla="*/ -14 h 240750"/>
                <a:gd name="connsiteX1" fmla="*/ 638207 w 638198"/>
                <a:gd name="connsiteY1" fmla="*/ -14 h 240750"/>
                <a:gd name="connsiteX2" fmla="*/ 638207 w 638198"/>
                <a:gd name="connsiteY2" fmla="*/ 240736 h 240750"/>
                <a:gd name="connsiteX3" fmla="*/ 9 w 638198"/>
                <a:gd name="connsiteY3" fmla="*/ 240736 h 240750"/>
              </a:gdLst>
              <a:ahLst/>
              <a:cxnLst>
                <a:cxn ang="0">
                  <a:pos x="connsiteX0" y="connsiteY0"/>
                </a:cxn>
                <a:cxn ang="0">
                  <a:pos x="connsiteX1" y="connsiteY1"/>
                </a:cxn>
                <a:cxn ang="0">
                  <a:pos x="connsiteX2" y="connsiteY2"/>
                </a:cxn>
                <a:cxn ang="0">
                  <a:pos x="connsiteX3" y="connsiteY3"/>
                </a:cxn>
              </a:cxnLst>
              <a:rect l="l" t="t" r="r" b="b"/>
              <a:pathLst>
                <a:path w="638198" h="240750">
                  <a:moveTo>
                    <a:pt x="9" y="-14"/>
                  </a:moveTo>
                  <a:lnTo>
                    <a:pt x="638207" y="-14"/>
                  </a:lnTo>
                  <a:lnTo>
                    <a:pt x="638207" y="240736"/>
                  </a:lnTo>
                  <a:lnTo>
                    <a:pt x="9" y="240736"/>
                  </a:lnTo>
                  <a:close/>
                </a:path>
              </a:pathLst>
            </a:custGeom>
            <a:solidFill>
              <a:srgbClr val="183859"/>
            </a:solidFill>
            <a:ln w="7968" cap="rnd">
              <a:noFill/>
              <a:prstDash val="solid"/>
              <a:miter/>
            </a:ln>
          </p:spPr>
          <p:txBody>
            <a:bodyPr rtlCol="0" anchor="ctr"/>
            <a:lstStyle/>
            <a:p>
              <a:endParaRPr lang="en-US" sz="1633"/>
            </a:p>
          </p:txBody>
        </p:sp>
        <p:sp>
          <p:nvSpPr>
            <p:cNvPr id="19" name="Freihandform: Form 18">
              <a:extLst>
                <a:ext uri="{FF2B5EF4-FFF2-40B4-BE49-F238E27FC236}">
                  <a16:creationId xmlns:a16="http://schemas.microsoft.com/office/drawing/2014/main" id="{5610A2C9-4EC9-4C8D-8A74-97AD6657DB3F}"/>
                </a:ext>
              </a:extLst>
            </p:cNvPr>
            <p:cNvSpPr/>
            <p:nvPr/>
          </p:nvSpPr>
          <p:spPr>
            <a:xfrm>
              <a:off x="5366196" y="5294153"/>
              <a:ext cx="39887" cy="40125"/>
            </a:xfrm>
            <a:custGeom>
              <a:avLst/>
              <a:gdLst>
                <a:gd name="connsiteX0" fmla="*/ 39896 w 39887"/>
                <a:gd name="connsiteY0" fmla="*/ 20048 h 40125"/>
                <a:gd name="connsiteX1" fmla="*/ 19952 w 39887"/>
                <a:gd name="connsiteY1" fmla="*/ 40111 h 40125"/>
                <a:gd name="connsiteX2" fmla="*/ 9 w 39887"/>
                <a:gd name="connsiteY2" fmla="*/ 20048 h 40125"/>
                <a:gd name="connsiteX3" fmla="*/ 19952 w 39887"/>
                <a:gd name="connsiteY3" fmla="*/ -14 h 40125"/>
                <a:gd name="connsiteX4" fmla="*/ 39896 w 39887"/>
                <a:gd name="connsiteY4" fmla="*/ 2004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39896" y="20048"/>
                  </a:moveTo>
                  <a:cubicBezTo>
                    <a:pt x="39896" y="31129"/>
                    <a:pt x="30967" y="40111"/>
                    <a:pt x="19952" y="40111"/>
                  </a:cubicBezTo>
                  <a:cubicBezTo>
                    <a:pt x="8938" y="40111"/>
                    <a:pt x="9" y="31129"/>
                    <a:pt x="9" y="20048"/>
                  </a:cubicBezTo>
                  <a:cubicBezTo>
                    <a:pt x="9" y="8968"/>
                    <a:pt x="8938" y="-14"/>
                    <a:pt x="19952" y="-14"/>
                  </a:cubicBezTo>
                  <a:cubicBezTo>
                    <a:pt x="30967" y="-14"/>
                    <a:pt x="39896" y="8968"/>
                    <a:pt x="39896" y="20048"/>
                  </a:cubicBezTo>
                  <a:close/>
                </a:path>
              </a:pathLst>
            </a:custGeom>
            <a:solidFill>
              <a:srgbClr val="183859"/>
            </a:solidFill>
            <a:ln w="7968" cap="rnd">
              <a:noFill/>
              <a:prstDash val="solid"/>
              <a:miter/>
            </a:ln>
          </p:spPr>
          <p:txBody>
            <a:bodyPr rtlCol="0" anchor="ctr"/>
            <a:lstStyle/>
            <a:p>
              <a:endParaRPr lang="en-US" sz="1633"/>
            </a:p>
          </p:txBody>
        </p:sp>
        <p:sp>
          <p:nvSpPr>
            <p:cNvPr id="24" name="Freihandform: Form 23">
              <a:extLst>
                <a:ext uri="{FF2B5EF4-FFF2-40B4-BE49-F238E27FC236}">
                  <a16:creationId xmlns:a16="http://schemas.microsoft.com/office/drawing/2014/main" id="{095719DD-96B6-47B9-AA6A-98AD53F1FDF1}"/>
                </a:ext>
              </a:extLst>
            </p:cNvPr>
            <p:cNvSpPr/>
            <p:nvPr/>
          </p:nvSpPr>
          <p:spPr>
            <a:xfrm>
              <a:off x="5435999" y="5294153"/>
              <a:ext cx="39887" cy="40125"/>
            </a:xfrm>
            <a:custGeom>
              <a:avLst/>
              <a:gdLst>
                <a:gd name="connsiteX0" fmla="*/ 39896 w 39887"/>
                <a:gd name="connsiteY0" fmla="*/ 20048 h 40125"/>
                <a:gd name="connsiteX1" fmla="*/ 19952 w 39887"/>
                <a:gd name="connsiteY1" fmla="*/ 40111 h 40125"/>
                <a:gd name="connsiteX2" fmla="*/ 9 w 39887"/>
                <a:gd name="connsiteY2" fmla="*/ 20048 h 40125"/>
                <a:gd name="connsiteX3" fmla="*/ 19952 w 39887"/>
                <a:gd name="connsiteY3" fmla="*/ -14 h 40125"/>
                <a:gd name="connsiteX4" fmla="*/ 39896 w 39887"/>
                <a:gd name="connsiteY4" fmla="*/ 2004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39896" y="20048"/>
                  </a:moveTo>
                  <a:cubicBezTo>
                    <a:pt x="39896" y="31129"/>
                    <a:pt x="30967" y="40111"/>
                    <a:pt x="19952" y="40111"/>
                  </a:cubicBezTo>
                  <a:cubicBezTo>
                    <a:pt x="8938" y="40111"/>
                    <a:pt x="9" y="31129"/>
                    <a:pt x="9" y="20048"/>
                  </a:cubicBezTo>
                  <a:cubicBezTo>
                    <a:pt x="9" y="8968"/>
                    <a:pt x="8938" y="-14"/>
                    <a:pt x="19952" y="-14"/>
                  </a:cubicBezTo>
                  <a:cubicBezTo>
                    <a:pt x="30967" y="-14"/>
                    <a:pt x="39896" y="8968"/>
                    <a:pt x="39896" y="20048"/>
                  </a:cubicBezTo>
                  <a:close/>
                </a:path>
              </a:pathLst>
            </a:custGeom>
            <a:solidFill>
              <a:srgbClr val="183859"/>
            </a:solidFill>
            <a:ln w="7968" cap="rnd">
              <a:noFill/>
              <a:prstDash val="solid"/>
              <a:miter/>
            </a:ln>
          </p:spPr>
          <p:txBody>
            <a:bodyPr rtlCol="0" anchor="ctr"/>
            <a:lstStyle/>
            <a:p>
              <a:endParaRPr lang="en-US" sz="1633"/>
            </a:p>
          </p:txBody>
        </p:sp>
        <p:sp>
          <p:nvSpPr>
            <p:cNvPr id="25" name="Freihandform: Form 24">
              <a:extLst>
                <a:ext uri="{FF2B5EF4-FFF2-40B4-BE49-F238E27FC236}">
                  <a16:creationId xmlns:a16="http://schemas.microsoft.com/office/drawing/2014/main" id="{6E4FEF01-E6D3-4F92-A0CE-283E5A5DE65C}"/>
                </a:ext>
              </a:extLst>
            </p:cNvPr>
            <p:cNvSpPr/>
            <p:nvPr/>
          </p:nvSpPr>
          <p:spPr>
            <a:xfrm>
              <a:off x="5814929" y="5294153"/>
              <a:ext cx="39887" cy="40125"/>
            </a:xfrm>
            <a:custGeom>
              <a:avLst/>
              <a:gdLst>
                <a:gd name="connsiteX0" fmla="*/ 39896 w 39887"/>
                <a:gd name="connsiteY0" fmla="*/ 20048 h 40125"/>
                <a:gd name="connsiteX1" fmla="*/ 19952 w 39887"/>
                <a:gd name="connsiteY1" fmla="*/ 40111 h 40125"/>
                <a:gd name="connsiteX2" fmla="*/ 9 w 39887"/>
                <a:gd name="connsiteY2" fmla="*/ 20048 h 40125"/>
                <a:gd name="connsiteX3" fmla="*/ 19952 w 39887"/>
                <a:gd name="connsiteY3" fmla="*/ -14 h 40125"/>
                <a:gd name="connsiteX4" fmla="*/ 39896 w 39887"/>
                <a:gd name="connsiteY4" fmla="*/ 2004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39896" y="20048"/>
                  </a:moveTo>
                  <a:cubicBezTo>
                    <a:pt x="39896" y="31129"/>
                    <a:pt x="30967" y="40111"/>
                    <a:pt x="19952" y="40111"/>
                  </a:cubicBezTo>
                  <a:cubicBezTo>
                    <a:pt x="8938" y="40111"/>
                    <a:pt x="9" y="31129"/>
                    <a:pt x="9" y="20048"/>
                  </a:cubicBezTo>
                  <a:cubicBezTo>
                    <a:pt x="9" y="8968"/>
                    <a:pt x="8938" y="-14"/>
                    <a:pt x="19952" y="-14"/>
                  </a:cubicBezTo>
                  <a:cubicBezTo>
                    <a:pt x="30967" y="-14"/>
                    <a:pt x="39896" y="8968"/>
                    <a:pt x="39896" y="20048"/>
                  </a:cubicBezTo>
                  <a:close/>
                </a:path>
              </a:pathLst>
            </a:custGeom>
            <a:solidFill>
              <a:srgbClr val="183859"/>
            </a:solidFill>
            <a:ln w="7968" cap="rnd">
              <a:noFill/>
              <a:prstDash val="solid"/>
              <a:miter/>
            </a:ln>
          </p:spPr>
          <p:txBody>
            <a:bodyPr rtlCol="0" anchor="ctr"/>
            <a:lstStyle/>
            <a:p>
              <a:endParaRPr lang="en-US" sz="1633"/>
            </a:p>
          </p:txBody>
        </p:sp>
        <p:sp>
          <p:nvSpPr>
            <p:cNvPr id="26" name="Freihandform: Form 25">
              <a:extLst>
                <a:ext uri="{FF2B5EF4-FFF2-40B4-BE49-F238E27FC236}">
                  <a16:creationId xmlns:a16="http://schemas.microsoft.com/office/drawing/2014/main" id="{CB3C6827-999B-4285-99B2-DA7A8131C2DE}"/>
                </a:ext>
              </a:extLst>
            </p:cNvPr>
            <p:cNvSpPr/>
            <p:nvPr/>
          </p:nvSpPr>
          <p:spPr>
            <a:xfrm>
              <a:off x="5884732" y="5294153"/>
              <a:ext cx="39887" cy="40125"/>
            </a:xfrm>
            <a:custGeom>
              <a:avLst/>
              <a:gdLst>
                <a:gd name="connsiteX0" fmla="*/ 39896 w 39887"/>
                <a:gd name="connsiteY0" fmla="*/ 20048 h 40125"/>
                <a:gd name="connsiteX1" fmla="*/ 19952 w 39887"/>
                <a:gd name="connsiteY1" fmla="*/ 40111 h 40125"/>
                <a:gd name="connsiteX2" fmla="*/ 9 w 39887"/>
                <a:gd name="connsiteY2" fmla="*/ 20048 h 40125"/>
                <a:gd name="connsiteX3" fmla="*/ 19952 w 39887"/>
                <a:gd name="connsiteY3" fmla="*/ -14 h 40125"/>
                <a:gd name="connsiteX4" fmla="*/ 39896 w 39887"/>
                <a:gd name="connsiteY4" fmla="*/ 2004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39896" y="20048"/>
                  </a:moveTo>
                  <a:cubicBezTo>
                    <a:pt x="39896" y="31129"/>
                    <a:pt x="30967" y="40111"/>
                    <a:pt x="19952" y="40111"/>
                  </a:cubicBezTo>
                  <a:cubicBezTo>
                    <a:pt x="8938" y="40111"/>
                    <a:pt x="9" y="31129"/>
                    <a:pt x="9" y="20048"/>
                  </a:cubicBezTo>
                  <a:cubicBezTo>
                    <a:pt x="9" y="8968"/>
                    <a:pt x="8938" y="-14"/>
                    <a:pt x="19952" y="-14"/>
                  </a:cubicBezTo>
                  <a:cubicBezTo>
                    <a:pt x="30967" y="-14"/>
                    <a:pt x="39896" y="8968"/>
                    <a:pt x="39896" y="20048"/>
                  </a:cubicBezTo>
                  <a:close/>
                </a:path>
              </a:pathLst>
            </a:custGeom>
            <a:solidFill>
              <a:srgbClr val="183859"/>
            </a:solidFill>
            <a:ln w="7968" cap="rnd">
              <a:noFill/>
              <a:prstDash val="solid"/>
              <a:miter/>
            </a:ln>
          </p:spPr>
          <p:txBody>
            <a:bodyPr rtlCol="0" anchor="ctr"/>
            <a:lstStyle/>
            <a:p>
              <a:endParaRPr lang="en-US" sz="1633"/>
            </a:p>
          </p:txBody>
        </p:sp>
        <p:sp>
          <p:nvSpPr>
            <p:cNvPr id="27" name="Freihandform: Form 26">
              <a:extLst>
                <a:ext uri="{FF2B5EF4-FFF2-40B4-BE49-F238E27FC236}">
                  <a16:creationId xmlns:a16="http://schemas.microsoft.com/office/drawing/2014/main" id="{B04E5073-261D-45FA-83E8-2EFA8FFC407D}"/>
                </a:ext>
              </a:extLst>
            </p:cNvPr>
            <p:cNvSpPr/>
            <p:nvPr/>
          </p:nvSpPr>
          <p:spPr>
            <a:xfrm>
              <a:off x="6044282" y="5294153"/>
              <a:ext cx="39887" cy="40125"/>
            </a:xfrm>
            <a:custGeom>
              <a:avLst/>
              <a:gdLst>
                <a:gd name="connsiteX0" fmla="*/ 39896 w 39887"/>
                <a:gd name="connsiteY0" fmla="*/ 20048 h 40125"/>
                <a:gd name="connsiteX1" fmla="*/ 19952 w 39887"/>
                <a:gd name="connsiteY1" fmla="*/ 40111 h 40125"/>
                <a:gd name="connsiteX2" fmla="*/ 9 w 39887"/>
                <a:gd name="connsiteY2" fmla="*/ 20048 h 40125"/>
                <a:gd name="connsiteX3" fmla="*/ 19952 w 39887"/>
                <a:gd name="connsiteY3" fmla="*/ -14 h 40125"/>
                <a:gd name="connsiteX4" fmla="*/ 39896 w 39887"/>
                <a:gd name="connsiteY4" fmla="*/ 2004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39896" y="20048"/>
                  </a:moveTo>
                  <a:cubicBezTo>
                    <a:pt x="39896" y="31129"/>
                    <a:pt x="30967" y="40111"/>
                    <a:pt x="19952" y="40111"/>
                  </a:cubicBezTo>
                  <a:cubicBezTo>
                    <a:pt x="8938" y="40111"/>
                    <a:pt x="9" y="31129"/>
                    <a:pt x="9" y="20048"/>
                  </a:cubicBezTo>
                  <a:cubicBezTo>
                    <a:pt x="9" y="8968"/>
                    <a:pt x="8938" y="-14"/>
                    <a:pt x="19952" y="-14"/>
                  </a:cubicBezTo>
                  <a:cubicBezTo>
                    <a:pt x="30967" y="-14"/>
                    <a:pt x="39896" y="8968"/>
                    <a:pt x="39896" y="20048"/>
                  </a:cubicBezTo>
                  <a:close/>
                </a:path>
              </a:pathLst>
            </a:custGeom>
            <a:solidFill>
              <a:srgbClr val="183859"/>
            </a:solidFill>
            <a:ln w="7968" cap="rnd">
              <a:noFill/>
              <a:prstDash val="solid"/>
              <a:miter/>
            </a:ln>
          </p:spPr>
          <p:txBody>
            <a:bodyPr rtlCol="0" anchor="ctr"/>
            <a:lstStyle/>
            <a:p>
              <a:endParaRPr lang="en-US" sz="1633"/>
            </a:p>
          </p:txBody>
        </p:sp>
        <p:sp>
          <p:nvSpPr>
            <p:cNvPr id="28" name="Freihandform: Form 27">
              <a:extLst>
                <a:ext uri="{FF2B5EF4-FFF2-40B4-BE49-F238E27FC236}">
                  <a16:creationId xmlns:a16="http://schemas.microsoft.com/office/drawing/2014/main" id="{19BE64CB-1AE2-43C1-8DEC-E796E0A773FB}"/>
                </a:ext>
              </a:extLst>
            </p:cNvPr>
            <p:cNvSpPr/>
            <p:nvPr/>
          </p:nvSpPr>
          <p:spPr>
            <a:xfrm>
              <a:off x="6114085" y="5294153"/>
              <a:ext cx="39887" cy="40125"/>
            </a:xfrm>
            <a:custGeom>
              <a:avLst/>
              <a:gdLst>
                <a:gd name="connsiteX0" fmla="*/ 39896 w 39887"/>
                <a:gd name="connsiteY0" fmla="*/ 20048 h 40125"/>
                <a:gd name="connsiteX1" fmla="*/ 19952 w 39887"/>
                <a:gd name="connsiteY1" fmla="*/ 40111 h 40125"/>
                <a:gd name="connsiteX2" fmla="*/ 9 w 39887"/>
                <a:gd name="connsiteY2" fmla="*/ 20048 h 40125"/>
                <a:gd name="connsiteX3" fmla="*/ 19952 w 39887"/>
                <a:gd name="connsiteY3" fmla="*/ -14 h 40125"/>
                <a:gd name="connsiteX4" fmla="*/ 39896 w 39887"/>
                <a:gd name="connsiteY4" fmla="*/ 2004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39896" y="20048"/>
                  </a:moveTo>
                  <a:cubicBezTo>
                    <a:pt x="39896" y="31129"/>
                    <a:pt x="30967" y="40111"/>
                    <a:pt x="19952" y="40111"/>
                  </a:cubicBezTo>
                  <a:cubicBezTo>
                    <a:pt x="8938" y="40111"/>
                    <a:pt x="9" y="31129"/>
                    <a:pt x="9" y="20048"/>
                  </a:cubicBezTo>
                  <a:cubicBezTo>
                    <a:pt x="9" y="8968"/>
                    <a:pt x="8938" y="-14"/>
                    <a:pt x="19952" y="-14"/>
                  </a:cubicBezTo>
                  <a:cubicBezTo>
                    <a:pt x="30967" y="-14"/>
                    <a:pt x="39896" y="8968"/>
                    <a:pt x="39896" y="20048"/>
                  </a:cubicBezTo>
                  <a:close/>
                </a:path>
              </a:pathLst>
            </a:custGeom>
            <a:solidFill>
              <a:srgbClr val="183859"/>
            </a:solidFill>
            <a:ln w="7968" cap="rnd">
              <a:noFill/>
              <a:prstDash val="solid"/>
              <a:miter/>
            </a:ln>
          </p:spPr>
          <p:txBody>
            <a:bodyPr rtlCol="0" anchor="ctr"/>
            <a:lstStyle/>
            <a:p>
              <a:endParaRPr lang="en-US" sz="1633"/>
            </a:p>
          </p:txBody>
        </p:sp>
        <p:sp>
          <p:nvSpPr>
            <p:cNvPr id="29" name="Freihandform: Form 28">
              <a:extLst>
                <a:ext uri="{FF2B5EF4-FFF2-40B4-BE49-F238E27FC236}">
                  <a16:creationId xmlns:a16="http://schemas.microsoft.com/office/drawing/2014/main" id="{8EE9A356-99CF-4349-8EB0-9F7668948CFF}"/>
                </a:ext>
              </a:extLst>
            </p:cNvPr>
            <p:cNvSpPr/>
            <p:nvPr/>
          </p:nvSpPr>
          <p:spPr>
            <a:xfrm>
              <a:off x="6493015" y="5294153"/>
              <a:ext cx="39887" cy="40125"/>
            </a:xfrm>
            <a:custGeom>
              <a:avLst/>
              <a:gdLst>
                <a:gd name="connsiteX0" fmla="*/ 39896 w 39887"/>
                <a:gd name="connsiteY0" fmla="*/ 20048 h 40125"/>
                <a:gd name="connsiteX1" fmla="*/ 19952 w 39887"/>
                <a:gd name="connsiteY1" fmla="*/ 40111 h 40125"/>
                <a:gd name="connsiteX2" fmla="*/ 9 w 39887"/>
                <a:gd name="connsiteY2" fmla="*/ 20048 h 40125"/>
                <a:gd name="connsiteX3" fmla="*/ 19952 w 39887"/>
                <a:gd name="connsiteY3" fmla="*/ -14 h 40125"/>
                <a:gd name="connsiteX4" fmla="*/ 39896 w 39887"/>
                <a:gd name="connsiteY4" fmla="*/ 2004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39896" y="20048"/>
                  </a:moveTo>
                  <a:cubicBezTo>
                    <a:pt x="39896" y="31129"/>
                    <a:pt x="30967" y="40111"/>
                    <a:pt x="19952" y="40111"/>
                  </a:cubicBezTo>
                  <a:cubicBezTo>
                    <a:pt x="8938" y="40111"/>
                    <a:pt x="9" y="31129"/>
                    <a:pt x="9" y="20048"/>
                  </a:cubicBezTo>
                  <a:cubicBezTo>
                    <a:pt x="9" y="8968"/>
                    <a:pt x="8938" y="-14"/>
                    <a:pt x="19952" y="-14"/>
                  </a:cubicBezTo>
                  <a:cubicBezTo>
                    <a:pt x="30967" y="-14"/>
                    <a:pt x="39896" y="8968"/>
                    <a:pt x="39896" y="20048"/>
                  </a:cubicBezTo>
                  <a:close/>
                </a:path>
              </a:pathLst>
            </a:custGeom>
            <a:solidFill>
              <a:srgbClr val="183859"/>
            </a:solidFill>
            <a:ln w="7968" cap="rnd">
              <a:noFill/>
              <a:prstDash val="solid"/>
              <a:miter/>
            </a:ln>
          </p:spPr>
          <p:txBody>
            <a:bodyPr rtlCol="0" anchor="ctr"/>
            <a:lstStyle/>
            <a:p>
              <a:endParaRPr lang="en-US" sz="1633"/>
            </a:p>
          </p:txBody>
        </p:sp>
        <p:sp>
          <p:nvSpPr>
            <p:cNvPr id="30" name="Freihandform: Form 29">
              <a:extLst>
                <a:ext uri="{FF2B5EF4-FFF2-40B4-BE49-F238E27FC236}">
                  <a16:creationId xmlns:a16="http://schemas.microsoft.com/office/drawing/2014/main" id="{A27CBDC5-C4D0-400E-864A-6A54AF929359}"/>
                </a:ext>
              </a:extLst>
            </p:cNvPr>
            <p:cNvSpPr/>
            <p:nvPr/>
          </p:nvSpPr>
          <p:spPr>
            <a:xfrm>
              <a:off x="6562818" y="5294153"/>
              <a:ext cx="39887" cy="40125"/>
            </a:xfrm>
            <a:custGeom>
              <a:avLst/>
              <a:gdLst>
                <a:gd name="connsiteX0" fmla="*/ 39896 w 39887"/>
                <a:gd name="connsiteY0" fmla="*/ 20048 h 40125"/>
                <a:gd name="connsiteX1" fmla="*/ 19952 w 39887"/>
                <a:gd name="connsiteY1" fmla="*/ 40111 h 40125"/>
                <a:gd name="connsiteX2" fmla="*/ 9 w 39887"/>
                <a:gd name="connsiteY2" fmla="*/ 20048 h 40125"/>
                <a:gd name="connsiteX3" fmla="*/ 19952 w 39887"/>
                <a:gd name="connsiteY3" fmla="*/ -14 h 40125"/>
                <a:gd name="connsiteX4" fmla="*/ 39896 w 39887"/>
                <a:gd name="connsiteY4" fmla="*/ 2004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39896" y="20048"/>
                  </a:moveTo>
                  <a:cubicBezTo>
                    <a:pt x="39896" y="31129"/>
                    <a:pt x="30967" y="40111"/>
                    <a:pt x="19952" y="40111"/>
                  </a:cubicBezTo>
                  <a:cubicBezTo>
                    <a:pt x="8938" y="40111"/>
                    <a:pt x="9" y="31129"/>
                    <a:pt x="9" y="20048"/>
                  </a:cubicBezTo>
                  <a:cubicBezTo>
                    <a:pt x="9" y="8968"/>
                    <a:pt x="8938" y="-14"/>
                    <a:pt x="19952" y="-14"/>
                  </a:cubicBezTo>
                  <a:cubicBezTo>
                    <a:pt x="30967" y="-14"/>
                    <a:pt x="39896" y="8968"/>
                    <a:pt x="39896" y="20048"/>
                  </a:cubicBezTo>
                  <a:close/>
                </a:path>
              </a:pathLst>
            </a:custGeom>
            <a:solidFill>
              <a:srgbClr val="183859"/>
            </a:solidFill>
            <a:ln w="7968" cap="rnd">
              <a:noFill/>
              <a:prstDash val="solid"/>
              <a:miter/>
            </a:ln>
          </p:spPr>
          <p:txBody>
            <a:bodyPr rtlCol="0" anchor="ctr"/>
            <a:lstStyle/>
            <a:p>
              <a:endParaRPr lang="en-US" sz="1633"/>
            </a:p>
          </p:txBody>
        </p:sp>
        <p:sp>
          <p:nvSpPr>
            <p:cNvPr id="31" name="Freihandform: Form 30">
              <a:extLst>
                <a:ext uri="{FF2B5EF4-FFF2-40B4-BE49-F238E27FC236}">
                  <a16:creationId xmlns:a16="http://schemas.microsoft.com/office/drawing/2014/main" id="{A1C9382F-B818-499A-A9F8-37874BA19BCF}"/>
                </a:ext>
              </a:extLst>
            </p:cNvPr>
            <p:cNvSpPr/>
            <p:nvPr/>
          </p:nvSpPr>
          <p:spPr>
            <a:xfrm>
              <a:off x="5964507" y="5294153"/>
              <a:ext cx="39887" cy="10031"/>
            </a:xfrm>
            <a:custGeom>
              <a:avLst/>
              <a:gdLst>
                <a:gd name="connsiteX0" fmla="*/ 9 w 39887"/>
                <a:gd name="connsiteY0" fmla="*/ -14 h 10031"/>
                <a:gd name="connsiteX1" fmla="*/ 39896 w 39887"/>
                <a:gd name="connsiteY1" fmla="*/ -14 h 10031"/>
                <a:gd name="connsiteX2" fmla="*/ 39896 w 39887"/>
                <a:gd name="connsiteY2" fmla="*/ 10017 h 10031"/>
                <a:gd name="connsiteX3" fmla="*/ 9 w 39887"/>
                <a:gd name="connsiteY3" fmla="*/ 10017 h 10031"/>
              </a:gdLst>
              <a:ahLst/>
              <a:cxnLst>
                <a:cxn ang="0">
                  <a:pos x="connsiteX0" y="connsiteY0"/>
                </a:cxn>
                <a:cxn ang="0">
                  <a:pos x="connsiteX1" y="connsiteY1"/>
                </a:cxn>
                <a:cxn ang="0">
                  <a:pos x="connsiteX2" y="connsiteY2"/>
                </a:cxn>
                <a:cxn ang="0">
                  <a:pos x="connsiteX3" y="connsiteY3"/>
                </a:cxn>
              </a:cxnLst>
              <a:rect l="l" t="t" r="r" b="b"/>
              <a:pathLst>
                <a:path w="39887" h="10031">
                  <a:moveTo>
                    <a:pt x="9" y="-14"/>
                  </a:moveTo>
                  <a:lnTo>
                    <a:pt x="39896" y="-14"/>
                  </a:lnTo>
                  <a:lnTo>
                    <a:pt x="39896" y="10017"/>
                  </a:lnTo>
                  <a:lnTo>
                    <a:pt x="9" y="10017"/>
                  </a:lnTo>
                  <a:close/>
                </a:path>
              </a:pathLst>
            </a:custGeom>
            <a:solidFill>
              <a:srgbClr val="183859"/>
            </a:solidFill>
            <a:ln w="7968" cap="rnd">
              <a:noFill/>
              <a:prstDash val="solid"/>
              <a:miter/>
            </a:ln>
          </p:spPr>
          <p:txBody>
            <a:bodyPr rtlCol="0" anchor="ctr"/>
            <a:lstStyle/>
            <a:p>
              <a:endParaRPr lang="en-US" sz="1633"/>
            </a:p>
          </p:txBody>
        </p:sp>
        <p:sp>
          <p:nvSpPr>
            <p:cNvPr id="32" name="Freihandform: Form 31">
              <a:extLst>
                <a:ext uri="{FF2B5EF4-FFF2-40B4-BE49-F238E27FC236}">
                  <a16:creationId xmlns:a16="http://schemas.microsoft.com/office/drawing/2014/main" id="{30CCF265-0C5C-400E-B87D-AFA9B07C5B84}"/>
                </a:ext>
              </a:extLst>
            </p:cNvPr>
            <p:cNvSpPr/>
            <p:nvPr/>
          </p:nvSpPr>
          <p:spPr>
            <a:xfrm>
              <a:off x="7360559" y="5073471"/>
              <a:ext cx="797761" cy="240735"/>
            </a:xfrm>
            <a:custGeom>
              <a:avLst/>
              <a:gdLst>
                <a:gd name="connsiteX0" fmla="*/ 9 w 797761"/>
                <a:gd name="connsiteY0" fmla="*/ -14 h 240735"/>
                <a:gd name="connsiteX1" fmla="*/ 9 w 797761"/>
                <a:gd name="connsiteY1" fmla="*/ 240722 h 240735"/>
                <a:gd name="connsiteX2" fmla="*/ 638210 w 797761"/>
                <a:gd name="connsiteY2" fmla="*/ 240722 h 240735"/>
                <a:gd name="connsiteX3" fmla="*/ 797770 w 797761"/>
                <a:gd name="connsiteY3" fmla="*/ 200599 h 240735"/>
                <a:gd name="connsiteX4" fmla="*/ 797770 w 797761"/>
                <a:gd name="connsiteY4" fmla="*/ 120354 h 240735"/>
                <a:gd name="connsiteX5" fmla="*/ 518555 w 797761"/>
                <a:gd name="connsiteY5" fmla="*/ -14 h 240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7761" h="240735">
                  <a:moveTo>
                    <a:pt x="9" y="-14"/>
                  </a:moveTo>
                  <a:lnTo>
                    <a:pt x="9" y="240722"/>
                  </a:lnTo>
                  <a:lnTo>
                    <a:pt x="638210" y="240722"/>
                  </a:lnTo>
                  <a:lnTo>
                    <a:pt x="797770" y="200599"/>
                  </a:lnTo>
                  <a:lnTo>
                    <a:pt x="797770" y="120354"/>
                  </a:lnTo>
                  <a:lnTo>
                    <a:pt x="518555" y="-14"/>
                  </a:lnTo>
                  <a:close/>
                </a:path>
              </a:pathLst>
            </a:custGeom>
            <a:solidFill>
              <a:srgbClr val="183859"/>
            </a:solidFill>
            <a:ln w="7968" cap="rnd">
              <a:noFill/>
              <a:prstDash val="solid"/>
              <a:miter/>
            </a:ln>
          </p:spPr>
          <p:txBody>
            <a:bodyPr rtlCol="0" anchor="ctr"/>
            <a:lstStyle/>
            <a:p>
              <a:endParaRPr lang="en-US" sz="1633"/>
            </a:p>
          </p:txBody>
        </p:sp>
        <p:sp>
          <p:nvSpPr>
            <p:cNvPr id="33" name="Freihandform: Form 32">
              <a:extLst>
                <a:ext uri="{FF2B5EF4-FFF2-40B4-BE49-F238E27FC236}">
                  <a16:creationId xmlns:a16="http://schemas.microsoft.com/office/drawing/2014/main" id="{2E0B9524-75EF-4187-9032-ACC28CF69815}"/>
                </a:ext>
              </a:extLst>
            </p:cNvPr>
            <p:cNvSpPr/>
            <p:nvPr/>
          </p:nvSpPr>
          <p:spPr>
            <a:xfrm rot="10800000" flipV="1">
              <a:off x="7918990" y="5294153"/>
              <a:ext cx="39887" cy="40125"/>
            </a:xfrm>
            <a:custGeom>
              <a:avLst/>
              <a:gdLst>
                <a:gd name="connsiteX0" fmla="*/ 40161 w 39887"/>
                <a:gd name="connsiteY0" fmla="*/ 20048 h 40125"/>
                <a:gd name="connsiteX1" fmla="*/ 20217 w 39887"/>
                <a:gd name="connsiteY1" fmla="*/ 40111 h 40125"/>
                <a:gd name="connsiteX2" fmla="*/ 274 w 39887"/>
                <a:gd name="connsiteY2" fmla="*/ 20048 h 40125"/>
                <a:gd name="connsiteX3" fmla="*/ 20217 w 39887"/>
                <a:gd name="connsiteY3" fmla="*/ -14 h 40125"/>
                <a:gd name="connsiteX4" fmla="*/ 40161 w 39887"/>
                <a:gd name="connsiteY4" fmla="*/ 2004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40161" y="20048"/>
                  </a:moveTo>
                  <a:cubicBezTo>
                    <a:pt x="40161" y="31129"/>
                    <a:pt x="31232" y="40111"/>
                    <a:pt x="20217" y="40111"/>
                  </a:cubicBezTo>
                  <a:cubicBezTo>
                    <a:pt x="9203" y="40111"/>
                    <a:pt x="274" y="31129"/>
                    <a:pt x="274" y="20048"/>
                  </a:cubicBezTo>
                  <a:cubicBezTo>
                    <a:pt x="274" y="8968"/>
                    <a:pt x="9203" y="-14"/>
                    <a:pt x="20217" y="-14"/>
                  </a:cubicBezTo>
                  <a:cubicBezTo>
                    <a:pt x="31232" y="-14"/>
                    <a:pt x="40161" y="8968"/>
                    <a:pt x="40161" y="20048"/>
                  </a:cubicBezTo>
                  <a:close/>
                </a:path>
              </a:pathLst>
            </a:custGeom>
            <a:solidFill>
              <a:srgbClr val="183859"/>
            </a:solidFill>
            <a:ln w="7968" cap="rnd">
              <a:noFill/>
              <a:prstDash val="solid"/>
              <a:miter/>
            </a:ln>
          </p:spPr>
          <p:txBody>
            <a:bodyPr rtlCol="0" anchor="ctr"/>
            <a:lstStyle/>
            <a:p>
              <a:endParaRPr lang="en-US" sz="1633"/>
            </a:p>
          </p:txBody>
        </p:sp>
        <p:sp>
          <p:nvSpPr>
            <p:cNvPr id="34" name="Freihandform: Form 33">
              <a:extLst>
                <a:ext uri="{FF2B5EF4-FFF2-40B4-BE49-F238E27FC236}">
                  <a16:creationId xmlns:a16="http://schemas.microsoft.com/office/drawing/2014/main" id="{CED23CDC-C006-45DE-8CD6-E0629D7E3029}"/>
                </a:ext>
              </a:extLst>
            </p:cNvPr>
            <p:cNvSpPr/>
            <p:nvPr/>
          </p:nvSpPr>
          <p:spPr>
            <a:xfrm rot="10800000" flipV="1">
              <a:off x="7849187" y="5294153"/>
              <a:ext cx="39887" cy="40125"/>
            </a:xfrm>
            <a:custGeom>
              <a:avLst/>
              <a:gdLst>
                <a:gd name="connsiteX0" fmla="*/ 40158 w 39887"/>
                <a:gd name="connsiteY0" fmla="*/ 20048 h 40125"/>
                <a:gd name="connsiteX1" fmla="*/ 20214 w 39887"/>
                <a:gd name="connsiteY1" fmla="*/ 40111 h 40125"/>
                <a:gd name="connsiteX2" fmla="*/ 270 w 39887"/>
                <a:gd name="connsiteY2" fmla="*/ 20048 h 40125"/>
                <a:gd name="connsiteX3" fmla="*/ 20214 w 39887"/>
                <a:gd name="connsiteY3" fmla="*/ -14 h 40125"/>
                <a:gd name="connsiteX4" fmla="*/ 40158 w 39887"/>
                <a:gd name="connsiteY4" fmla="*/ 2004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40158" y="20048"/>
                  </a:moveTo>
                  <a:cubicBezTo>
                    <a:pt x="40158" y="31129"/>
                    <a:pt x="31228" y="40111"/>
                    <a:pt x="20214" y="40111"/>
                  </a:cubicBezTo>
                  <a:cubicBezTo>
                    <a:pt x="9199" y="40111"/>
                    <a:pt x="270" y="31129"/>
                    <a:pt x="270" y="20048"/>
                  </a:cubicBezTo>
                  <a:cubicBezTo>
                    <a:pt x="270" y="8968"/>
                    <a:pt x="9199" y="-14"/>
                    <a:pt x="20214" y="-14"/>
                  </a:cubicBezTo>
                  <a:cubicBezTo>
                    <a:pt x="31228" y="-14"/>
                    <a:pt x="40158" y="8968"/>
                    <a:pt x="40158" y="20048"/>
                  </a:cubicBezTo>
                  <a:close/>
                </a:path>
              </a:pathLst>
            </a:custGeom>
            <a:solidFill>
              <a:srgbClr val="183859"/>
            </a:solidFill>
            <a:ln w="7968" cap="rnd">
              <a:noFill/>
              <a:prstDash val="solid"/>
              <a:miter/>
            </a:ln>
          </p:spPr>
          <p:txBody>
            <a:bodyPr rtlCol="0" anchor="ctr"/>
            <a:lstStyle/>
            <a:p>
              <a:endParaRPr lang="en-US" sz="1633"/>
            </a:p>
          </p:txBody>
        </p:sp>
        <p:sp>
          <p:nvSpPr>
            <p:cNvPr id="35" name="Freihandform: Form 34">
              <a:extLst>
                <a:ext uri="{FF2B5EF4-FFF2-40B4-BE49-F238E27FC236}">
                  <a16:creationId xmlns:a16="http://schemas.microsoft.com/office/drawing/2014/main" id="{AF232BDF-FA8D-4D25-AA2E-6AF02359C9E9}"/>
                </a:ext>
              </a:extLst>
            </p:cNvPr>
            <p:cNvSpPr/>
            <p:nvPr/>
          </p:nvSpPr>
          <p:spPr>
            <a:xfrm rot="10800000" flipV="1">
              <a:off x="7470257" y="5294153"/>
              <a:ext cx="39887" cy="40125"/>
            </a:xfrm>
            <a:custGeom>
              <a:avLst/>
              <a:gdLst>
                <a:gd name="connsiteX0" fmla="*/ 40139 w 39887"/>
                <a:gd name="connsiteY0" fmla="*/ 20048 h 40125"/>
                <a:gd name="connsiteX1" fmla="*/ 20195 w 39887"/>
                <a:gd name="connsiteY1" fmla="*/ 40111 h 40125"/>
                <a:gd name="connsiteX2" fmla="*/ 251 w 39887"/>
                <a:gd name="connsiteY2" fmla="*/ 20048 h 40125"/>
                <a:gd name="connsiteX3" fmla="*/ 20195 w 39887"/>
                <a:gd name="connsiteY3" fmla="*/ -14 h 40125"/>
                <a:gd name="connsiteX4" fmla="*/ 40139 w 39887"/>
                <a:gd name="connsiteY4" fmla="*/ 2004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40139" y="20048"/>
                  </a:moveTo>
                  <a:cubicBezTo>
                    <a:pt x="40139" y="31129"/>
                    <a:pt x="31210" y="40111"/>
                    <a:pt x="20195" y="40111"/>
                  </a:cubicBezTo>
                  <a:cubicBezTo>
                    <a:pt x="9180" y="40111"/>
                    <a:pt x="251" y="31129"/>
                    <a:pt x="251" y="20048"/>
                  </a:cubicBezTo>
                  <a:cubicBezTo>
                    <a:pt x="251" y="8968"/>
                    <a:pt x="9180" y="-14"/>
                    <a:pt x="20195" y="-14"/>
                  </a:cubicBezTo>
                  <a:cubicBezTo>
                    <a:pt x="31210" y="-14"/>
                    <a:pt x="40139" y="8968"/>
                    <a:pt x="40139" y="20048"/>
                  </a:cubicBezTo>
                  <a:close/>
                </a:path>
              </a:pathLst>
            </a:custGeom>
            <a:solidFill>
              <a:srgbClr val="183859"/>
            </a:solidFill>
            <a:ln w="7968" cap="rnd">
              <a:noFill/>
              <a:prstDash val="solid"/>
              <a:miter/>
            </a:ln>
          </p:spPr>
          <p:txBody>
            <a:bodyPr rtlCol="0" anchor="ctr"/>
            <a:lstStyle/>
            <a:p>
              <a:endParaRPr lang="en-US" sz="1633"/>
            </a:p>
          </p:txBody>
        </p:sp>
        <p:sp>
          <p:nvSpPr>
            <p:cNvPr id="36" name="Freihandform: Form 35">
              <a:extLst>
                <a:ext uri="{FF2B5EF4-FFF2-40B4-BE49-F238E27FC236}">
                  <a16:creationId xmlns:a16="http://schemas.microsoft.com/office/drawing/2014/main" id="{EABDD92F-CDC5-4E16-B351-8B5675BB2AD2}"/>
                </a:ext>
              </a:extLst>
            </p:cNvPr>
            <p:cNvSpPr/>
            <p:nvPr/>
          </p:nvSpPr>
          <p:spPr>
            <a:xfrm rot="10800000" flipV="1">
              <a:off x="7400454" y="5294153"/>
              <a:ext cx="39887" cy="40125"/>
            </a:xfrm>
            <a:custGeom>
              <a:avLst/>
              <a:gdLst>
                <a:gd name="connsiteX0" fmla="*/ 40135 w 39887"/>
                <a:gd name="connsiteY0" fmla="*/ 20048 h 40125"/>
                <a:gd name="connsiteX1" fmla="*/ 20191 w 39887"/>
                <a:gd name="connsiteY1" fmla="*/ 40111 h 40125"/>
                <a:gd name="connsiteX2" fmla="*/ 248 w 39887"/>
                <a:gd name="connsiteY2" fmla="*/ 20048 h 40125"/>
                <a:gd name="connsiteX3" fmla="*/ 20191 w 39887"/>
                <a:gd name="connsiteY3" fmla="*/ -14 h 40125"/>
                <a:gd name="connsiteX4" fmla="*/ 40135 w 39887"/>
                <a:gd name="connsiteY4" fmla="*/ 2004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40135" y="20048"/>
                  </a:moveTo>
                  <a:cubicBezTo>
                    <a:pt x="40135" y="31129"/>
                    <a:pt x="31206" y="40111"/>
                    <a:pt x="20191" y="40111"/>
                  </a:cubicBezTo>
                  <a:cubicBezTo>
                    <a:pt x="9177" y="40111"/>
                    <a:pt x="248" y="31129"/>
                    <a:pt x="248" y="20048"/>
                  </a:cubicBezTo>
                  <a:cubicBezTo>
                    <a:pt x="248" y="8968"/>
                    <a:pt x="9177" y="-14"/>
                    <a:pt x="20191" y="-14"/>
                  </a:cubicBezTo>
                  <a:cubicBezTo>
                    <a:pt x="31206" y="-14"/>
                    <a:pt x="40135" y="8968"/>
                    <a:pt x="40135" y="20048"/>
                  </a:cubicBezTo>
                  <a:close/>
                </a:path>
              </a:pathLst>
            </a:custGeom>
            <a:solidFill>
              <a:srgbClr val="183859"/>
            </a:solidFill>
            <a:ln w="7968" cap="rnd">
              <a:noFill/>
              <a:prstDash val="solid"/>
              <a:miter/>
            </a:ln>
          </p:spPr>
          <p:txBody>
            <a:bodyPr rtlCol="0" anchor="ctr"/>
            <a:lstStyle/>
            <a:p>
              <a:endParaRPr lang="en-US" sz="1633"/>
            </a:p>
          </p:txBody>
        </p:sp>
        <p:sp>
          <p:nvSpPr>
            <p:cNvPr id="37" name="Freihandform: Form 36">
              <a:extLst>
                <a:ext uri="{FF2B5EF4-FFF2-40B4-BE49-F238E27FC236}">
                  <a16:creationId xmlns:a16="http://schemas.microsoft.com/office/drawing/2014/main" id="{E8DAB83D-5F5C-46E4-997B-B9281FAC27CC}"/>
                </a:ext>
              </a:extLst>
            </p:cNvPr>
            <p:cNvSpPr/>
            <p:nvPr/>
          </p:nvSpPr>
          <p:spPr>
            <a:xfrm rot="10800000" flipV="1">
              <a:off x="7320679" y="5294153"/>
              <a:ext cx="39887" cy="10031"/>
            </a:xfrm>
            <a:custGeom>
              <a:avLst/>
              <a:gdLst>
                <a:gd name="connsiteX0" fmla="*/ 244 w 39887"/>
                <a:gd name="connsiteY0" fmla="*/ -14 h 10031"/>
                <a:gd name="connsiteX1" fmla="*/ 40131 w 39887"/>
                <a:gd name="connsiteY1" fmla="*/ -14 h 10031"/>
                <a:gd name="connsiteX2" fmla="*/ 40131 w 39887"/>
                <a:gd name="connsiteY2" fmla="*/ 10017 h 10031"/>
                <a:gd name="connsiteX3" fmla="*/ 244 w 39887"/>
                <a:gd name="connsiteY3" fmla="*/ 10017 h 10031"/>
              </a:gdLst>
              <a:ahLst/>
              <a:cxnLst>
                <a:cxn ang="0">
                  <a:pos x="connsiteX0" y="connsiteY0"/>
                </a:cxn>
                <a:cxn ang="0">
                  <a:pos x="connsiteX1" y="connsiteY1"/>
                </a:cxn>
                <a:cxn ang="0">
                  <a:pos x="connsiteX2" y="connsiteY2"/>
                </a:cxn>
                <a:cxn ang="0">
                  <a:pos x="connsiteX3" y="connsiteY3"/>
                </a:cxn>
              </a:cxnLst>
              <a:rect l="l" t="t" r="r" b="b"/>
              <a:pathLst>
                <a:path w="39887" h="10031">
                  <a:moveTo>
                    <a:pt x="244" y="-14"/>
                  </a:moveTo>
                  <a:lnTo>
                    <a:pt x="40131" y="-14"/>
                  </a:lnTo>
                  <a:lnTo>
                    <a:pt x="40131" y="10017"/>
                  </a:lnTo>
                  <a:lnTo>
                    <a:pt x="244" y="10017"/>
                  </a:lnTo>
                  <a:close/>
                </a:path>
              </a:pathLst>
            </a:custGeom>
            <a:solidFill>
              <a:srgbClr val="183859"/>
            </a:solidFill>
            <a:ln w="7968" cap="rnd">
              <a:noFill/>
              <a:prstDash val="solid"/>
              <a:miter/>
            </a:ln>
          </p:spPr>
          <p:txBody>
            <a:bodyPr rtlCol="0" anchor="ctr"/>
            <a:lstStyle/>
            <a:p>
              <a:endParaRPr lang="en-US" sz="1633"/>
            </a:p>
          </p:txBody>
        </p:sp>
        <p:sp>
          <p:nvSpPr>
            <p:cNvPr id="38" name="Freihandform: Form 37">
              <a:extLst>
                <a:ext uri="{FF2B5EF4-FFF2-40B4-BE49-F238E27FC236}">
                  <a16:creationId xmlns:a16="http://schemas.microsoft.com/office/drawing/2014/main" id="{9055CF05-EFC4-486D-9A4B-D898A904556B}"/>
                </a:ext>
              </a:extLst>
            </p:cNvPr>
            <p:cNvSpPr/>
            <p:nvPr/>
          </p:nvSpPr>
          <p:spPr>
            <a:xfrm>
              <a:off x="6682480" y="5073465"/>
              <a:ext cx="638198" cy="240750"/>
            </a:xfrm>
            <a:custGeom>
              <a:avLst/>
              <a:gdLst>
                <a:gd name="connsiteX0" fmla="*/ 9 w 638198"/>
                <a:gd name="connsiteY0" fmla="*/ -14 h 240750"/>
                <a:gd name="connsiteX1" fmla="*/ 638207 w 638198"/>
                <a:gd name="connsiteY1" fmla="*/ -14 h 240750"/>
                <a:gd name="connsiteX2" fmla="*/ 638207 w 638198"/>
                <a:gd name="connsiteY2" fmla="*/ 240736 h 240750"/>
                <a:gd name="connsiteX3" fmla="*/ 9 w 638198"/>
                <a:gd name="connsiteY3" fmla="*/ 240736 h 240750"/>
              </a:gdLst>
              <a:ahLst/>
              <a:cxnLst>
                <a:cxn ang="0">
                  <a:pos x="connsiteX0" y="connsiteY0"/>
                </a:cxn>
                <a:cxn ang="0">
                  <a:pos x="connsiteX1" y="connsiteY1"/>
                </a:cxn>
                <a:cxn ang="0">
                  <a:pos x="connsiteX2" y="connsiteY2"/>
                </a:cxn>
                <a:cxn ang="0">
                  <a:pos x="connsiteX3" y="connsiteY3"/>
                </a:cxn>
              </a:cxnLst>
              <a:rect l="l" t="t" r="r" b="b"/>
              <a:pathLst>
                <a:path w="638198" h="240750">
                  <a:moveTo>
                    <a:pt x="9" y="-14"/>
                  </a:moveTo>
                  <a:lnTo>
                    <a:pt x="638207" y="-14"/>
                  </a:lnTo>
                  <a:lnTo>
                    <a:pt x="638207" y="240736"/>
                  </a:lnTo>
                  <a:lnTo>
                    <a:pt x="9" y="240736"/>
                  </a:lnTo>
                  <a:close/>
                </a:path>
              </a:pathLst>
            </a:custGeom>
            <a:solidFill>
              <a:srgbClr val="183859"/>
            </a:solidFill>
            <a:ln w="7968" cap="rnd">
              <a:noFill/>
              <a:prstDash val="solid"/>
              <a:miter/>
            </a:ln>
          </p:spPr>
          <p:txBody>
            <a:bodyPr rtlCol="0" anchor="ctr"/>
            <a:lstStyle/>
            <a:p>
              <a:endParaRPr lang="en-US" sz="1633"/>
            </a:p>
          </p:txBody>
        </p:sp>
        <p:sp>
          <p:nvSpPr>
            <p:cNvPr id="39" name="Freihandform: Form 38">
              <a:extLst>
                <a:ext uri="{FF2B5EF4-FFF2-40B4-BE49-F238E27FC236}">
                  <a16:creationId xmlns:a16="http://schemas.microsoft.com/office/drawing/2014/main" id="{EF83A216-1EEB-4314-86C2-58263DB59C97}"/>
                </a:ext>
              </a:extLst>
            </p:cNvPr>
            <p:cNvSpPr/>
            <p:nvPr/>
          </p:nvSpPr>
          <p:spPr>
            <a:xfrm>
              <a:off x="6722368" y="5294153"/>
              <a:ext cx="39887" cy="40125"/>
            </a:xfrm>
            <a:custGeom>
              <a:avLst/>
              <a:gdLst>
                <a:gd name="connsiteX0" fmla="*/ 39896 w 39887"/>
                <a:gd name="connsiteY0" fmla="*/ 20048 h 40125"/>
                <a:gd name="connsiteX1" fmla="*/ 19952 w 39887"/>
                <a:gd name="connsiteY1" fmla="*/ 40111 h 40125"/>
                <a:gd name="connsiteX2" fmla="*/ 9 w 39887"/>
                <a:gd name="connsiteY2" fmla="*/ 20048 h 40125"/>
                <a:gd name="connsiteX3" fmla="*/ 19952 w 39887"/>
                <a:gd name="connsiteY3" fmla="*/ -14 h 40125"/>
                <a:gd name="connsiteX4" fmla="*/ 39896 w 39887"/>
                <a:gd name="connsiteY4" fmla="*/ 2004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39896" y="20048"/>
                  </a:moveTo>
                  <a:cubicBezTo>
                    <a:pt x="39896" y="31129"/>
                    <a:pt x="30967" y="40111"/>
                    <a:pt x="19952" y="40111"/>
                  </a:cubicBezTo>
                  <a:cubicBezTo>
                    <a:pt x="8938" y="40111"/>
                    <a:pt x="9" y="31129"/>
                    <a:pt x="9" y="20048"/>
                  </a:cubicBezTo>
                  <a:cubicBezTo>
                    <a:pt x="9" y="8968"/>
                    <a:pt x="8938" y="-14"/>
                    <a:pt x="19952" y="-14"/>
                  </a:cubicBezTo>
                  <a:cubicBezTo>
                    <a:pt x="30967" y="-14"/>
                    <a:pt x="39896" y="8968"/>
                    <a:pt x="39896" y="20048"/>
                  </a:cubicBezTo>
                  <a:close/>
                </a:path>
              </a:pathLst>
            </a:custGeom>
            <a:solidFill>
              <a:srgbClr val="183859"/>
            </a:solidFill>
            <a:ln w="7968" cap="rnd">
              <a:noFill/>
              <a:prstDash val="solid"/>
              <a:miter/>
            </a:ln>
          </p:spPr>
          <p:txBody>
            <a:bodyPr rtlCol="0" anchor="ctr"/>
            <a:lstStyle/>
            <a:p>
              <a:endParaRPr lang="en-US" sz="1633"/>
            </a:p>
          </p:txBody>
        </p:sp>
        <p:sp>
          <p:nvSpPr>
            <p:cNvPr id="40" name="Freihandform: Form 39">
              <a:extLst>
                <a:ext uri="{FF2B5EF4-FFF2-40B4-BE49-F238E27FC236}">
                  <a16:creationId xmlns:a16="http://schemas.microsoft.com/office/drawing/2014/main" id="{CF51DE5B-A15A-454F-AC0D-F77926C779A7}"/>
                </a:ext>
              </a:extLst>
            </p:cNvPr>
            <p:cNvSpPr/>
            <p:nvPr/>
          </p:nvSpPr>
          <p:spPr>
            <a:xfrm>
              <a:off x="6792171" y="5294153"/>
              <a:ext cx="39887" cy="40125"/>
            </a:xfrm>
            <a:custGeom>
              <a:avLst/>
              <a:gdLst>
                <a:gd name="connsiteX0" fmla="*/ 39896 w 39887"/>
                <a:gd name="connsiteY0" fmla="*/ 20048 h 40125"/>
                <a:gd name="connsiteX1" fmla="*/ 19952 w 39887"/>
                <a:gd name="connsiteY1" fmla="*/ 40111 h 40125"/>
                <a:gd name="connsiteX2" fmla="*/ 9 w 39887"/>
                <a:gd name="connsiteY2" fmla="*/ 20048 h 40125"/>
                <a:gd name="connsiteX3" fmla="*/ 19952 w 39887"/>
                <a:gd name="connsiteY3" fmla="*/ -14 h 40125"/>
                <a:gd name="connsiteX4" fmla="*/ 39896 w 39887"/>
                <a:gd name="connsiteY4" fmla="*/ 2004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39896" y="20048"/>
                  </a:moveTo>
                  <a:cubicBezTo>
                    <a:pt x="39896" y="31129"/>
                    <a:pt x="30967" y="40111"/>
                    <a:pt x="19952" y="40111"/>
                  </a:cubicBezTo>
                  <a:cubicBezTo>
                    <a:pt x="8938" y="40111"/>
                    <a:pt x="9" y="31129"/>
                    <a:pt x="9" y="20048"/>
                  </a:cubicBezTo>
                  <a:cubicBezTo>
                    <a:pt x="9" y="8968"/>
                    <a:pt x="8938" y="-14"/>
                    <a:pt x="19952" y="-14"/>
                  </a:cubicBezTo>
                  <a:cubicBezTo>
                    <a:pt x="30967" y="-14"/>
                    <a:pt x="39896" y="8968"/>
                    <a:pt x="39896" y="20048"/>
                  </a:cubicBezTo>
                  <a:close/>
                </a:path>
              </a:pathLst>
            </a:custGeom>
            <a:solidFill>
              <a:srgbClr val="183859"/>
            </a:solidFill>
            <a:ln w="7968" cap="rnd">
              <a:noFill/>
              <a:prstDash val="solid"/>
              <a:miter/>
            </a:ln>
          </p:spPr>
          <p:txBody>
            <a:bodyPr rtlCol="0" anchor="ctr"/>
            <a:lstStyle/>
            <a:p>
              <a:endParaRPr lang="en-US" sz="1633"/>
            </a:p>
          </p:txBody>
        </p:sp>
        <p:sp>
          <p:nvSpPr>
            <p:cNvPr id="41" name="Freihandform: Form 40">
              <a:extLst>
                <a:ext uri="{FF2B5EF4-FFF2-40B4-BE49-F238E27FC236}">
                  <a16:creationId xmlns:a16="http://schemas.microsoft.com/office/drawing/2014/main" id="{5F6D9BD4-1A16-434D-BB30-A4B150264127}"/>
                </a:ext>
              </a:extLst>
            </p:cNvPr>
            <p:cNvSpPr/>
            <p:nvPr/>
          </p:nvSpPr>
          <p:spPr>
            <a:xfrm>
              <a:off x="7171101" y="5294153"/>
              <a:ext cx="39887" cy="40125"/>
            </a:xfrm>
            <a:custGeom>
              <a:avLst/>
              <a:gdLst>
                <a:gd name="connsiteX0" fmla="*/ 39896 w 39887"/>
                <a:gd name="connsiteY0" fmla="*/ 20048 h 40125"/>
                <a:gd name="connsiteX1" fmla="*/ 19952 w 39887"/>
                <a:gd name="connsiteY1" fmla="*/ 40111 h 40125"/>
                <a:gd name="connsiteX2" fmla="*/ 9 w 39887"/>
                <a:gd name="connsiteY2" fmla="*/ 20048 h 40125"/>
                <a:gd name="connsiteX3" fmla="*/ 19952 w 39887"/>
                <a:gd name="connsiteY3" fmla="*/ -14 h 40125"/>
                <a:gd name="connsiteX4" fmla="*/ 39896 w 39887"/>
                <a:gd name="connsiteY4" fmla="*/ 2004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39896" y="20048"/>
                  </a:moveTo>
                  <a:cubicBezTo>
                    <a:pt x="39896" y="31129"/>
                    <a:pt x="30967" y="40111"/>
                    <a:pt x="19952" y="40111"/>
                  </a:cubicBezTo>
                  <a:cubicBezTo>
                    <a:pt x="8938" y="40111"/>
                    <a:pt x="9" y="31129"/>
                    <a:pt x="9" y="20048"/>
                  </a:cubicBezTo>
                  <a:cubicBezTo>
                    <a:pt x="9" y="8968"/>
                    <a:pt x="8938" y="-14"/>
                    <a:pt x="19952" y="-14"/>
                  </a:cubicBezTo>
                  <a:cubicBezTo>
                    <a:pt x="30967" y="-14"/>
                    <a:pt x="39896" y="8968"/>
                    <a:pt x="39896" y="20048"/>
                  </a:cubicBezTo>
                  <a:close/>
                </a:path>
              </a:pathLst>
            </a:custGeom>
            <a:solidFill>
              <a:srgbClr val="183859"/>
            </a:solidFill>
            <a:ln w="7968" cap="rnd">
              <a:noFill/>
              <a:prstDash val="solid"/>
              <a:miter/>
            </a:ln>
          </p:spPr>
          <p:txBody>
            <a:bodyPr rtlCol="0" anchor="ctr"/>
            <a:lstStyle/>
            <a:p>
              <a:endParaRPr lang="en-US" sz="1633"/>
            </a:p>
          </p:txBody>
        </p:sp>
        <p:sp>
          <p:nvSpPr>
            <p:cNvPr id="42" name="Freihandform: Form 41">
              <a:extLst>
                <a:ext uri="{FF2B5EF4-FFF2-40B4-BE49-F238E27FC236}">
                  <a16:creationId xmlns:a16="http://schemas.microsoft.com/office/drawing/2014/main" id="{B8901E22-DFE3-4FC1-AFFE-AC5963FE6384}"/>
                </a:ext>
              </a:extLst>
            </p:cNvPr>
            <p:cNvSpPr/>
            <p:nvPr/>
          </p:nvSpPr>
          <p:spPr>
            <a:xfrm>
              <a:off x="7240904" y="5294153"/>
              <a:ext cx="39887" cy="40125"/>
            </a:xfrm>
            <a:custGeom>
              <a:avLst/>
              <a:gdLst>
                <a:gd name="connsiteX0" fmla="*/ 39896 w 39887"/>
                <a:gd name="connsiteY0" fmla="*/ 20048 h 40125"/>
                <a:gd name="connsiteX1" fmla="*/ 19952 w 39887"/>
                <a:gd name="connsiteY1" fmla="*/ 40111 h 40125"/>
                <a:gd name="connsiteX2" fmla="*/ 9 w 39887"/>
                <a:gd name="connsiteY2" fmla="*/ 20048 h 40125"/>
                <a:gd name="connsiteX3" fmla="*/ 19952 w 39887"/>
                <a:gd name="connsiteY3" fmla="*/ -14 h 40125"/>
                <a:gd name="connsiteX4" fmla="*/ 39896 w 39887"/>
                <a:gd name="connsiteY4" fmla="*/ 2004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39896" y="20048"/>
                  </a:moveTo>
                  <a:cubicBezTo>
                    <a:pt x="39896" y="31129"/>
                    <a:pt x="30967" y="40111"/>
                    <a:pt x="19952" y="40111"/>
                  </a:cubicBezTo>
                  <a:cubicBezTo>
                    <a:pt x="8938" y="40111"/>
                    <a:pt x="9" y="31129"/>
                    <a:pt x="9" y="20048"/>
                  </a:cubicBezTo>
                  <a:cubicBezTo>
                    <a:pt x="9" y="8968"/>
                    <a:pt x="8938" y="-14"/>
                    <a:pt x="19952" y="-14"/>
                  </a:cubicBezTo>
                  <a:cubicBezTo>
                    <a:pt x="30967" y="-14"/>
                    <a:pt x="39896" y="8968"/>
                    <a:pt x="39896" y="20048"/>
                  </a:cubicBezTo>
                  <a:close/>
                </a:path>
              </a:pathLst>
            </a:custGeom>
            <a:solidFill>
              <a:srgbClr val="183859"/>
            </a:solidFill>
            <a:ln w="7968" cap="rnd">
              <a:noFill/>
              <a:prstDash val="solid"/>
              <a:miter/>
            </a:ln>
          </p:spPr>
          <p:txBody>
            <a:bodyPr rtlCol="0" anchor="ctr"/>
            <a:lstStyle/>
            <a:p>
              <a:endParaRPr lang="en-US" sz="1633"/>
            </a:p>
          </p:txBody>
        </p:sp>
        <p:sp>
          <p:nvSpPr>
            <p:cNvPr id="43" name="Freihandform: Form 42">
              <a:extLst>
                <a:ext uri="{FF2B5EF4-FFF2-40B4-BE49-F238E27FC236}">
                  <a16:creationId xmlns:a16="http://schemas.microsoft.com/office/drawing/2014/main" id="{4DBC968D-188C-4713-A26F-17FB84DCA355}"/>
                </a:ext>
              </a:extLst>
            </p:cNvPr>
            <p:cNvSpPr/>
            <p:nvPr/>
          </p:nvSpPr>
          <p:spPr>
            <a:xfrm>
              <a:off x="6642593" y="5294153"/>
              <a:ext cx="39887" cy="10031"/>
            </a:xfrm>
            <a:custGeom>
              <a:avLst/>
              <a:gdLst>
                <a:gd name="connsiteX0" fmla="*/ 9 w 39887"/>
                <a:gd name="connsiteY0" fmla="*/ -14 h 10031"/>
                <a:gd name="connsiteX1" fmla="*/ 39896 w 39887"/>
                <a:gd name="connsiteY1" fmla="*/ -14 h 10031"/>
                <a:gd name="connsiteX2" fmla="*/ 39896 w 39887"/>
                <a:gd name="connsiteY2" fmla="*/ 10017 h 10031"/>
                <a:gd name="connsiteX3" fmla="*/ 9 w 39887"/>
                <a:gd name="connsiteY3" fmla="*/ 10017 h 10031"/>
              </a:gdLst>
              <a:ahLst/>
              <a:cxnLst>
                <a:cxn ang="0">
                  <a:pos x="connsiteX0" y="connsiteY0"/>
                </a:cxn>
                <a:cxn ang="0">
                  <a:pos x="connsiteX1" y="connsiteY1"/>
                </a:cxn>
                <a:cxn ang="0">
                  <a:pos x="connsiteX2" y="connsiteY2"/>
                </a:cxn>
                <a:cxn ang="0">
                  <a:pos x="connsiteX3" y="connsiteY3"/>
                </a:cxn>
              </a:cxnLst>
              <a:rect l="l" t="t" r="r" b="b"/>
              <a:pathLst>
                <a:path w="39887" h="10031">
                  <a:moveTo>
                    <a:pt x="9" y="-14"/>
                  </a:moveTo>
                  <a:lnTo>
                    <a:pt x="39896" y="-14"/>
                  </a:lnTo>
                  <a:lnTo>
                    <a:pt x="39896" y="10017"/>
                  </a:lnTo>
                  <a:lnTo>
                    <a:pt x="9" y="10017"/>
                  </a:lnTo>
                  <a:close/>
                </a:path>
              </a:pathLst>
            </a:custGeom>
            <a:solidFill>
              <a:srgbClr val="183859"/>
            </a:solidFill>
            <a:ln w="7968" cap="rnd">
              <a:noFill/>
              <a:prstDash val="solid"/>
              <a:miter/>
            </a:ln>
          </p:spPr>
          <p:txBody>
            <a:bodyPr rtlCol="0" anchor="ctr"/>
            <a:lstStyle/>
            <a:p>
              <a:endParaRPr lang="en-US" sz="1633"/>
            </a:p>
          </p:txBody>
        </p:sp>
      </p:grpSp>
      <p:grpSp>
        <p:nvGrpSpPr>
          <p:cNvPr id="44" name="Grafik 3">
            <a:extLst>
              <a:ext uri="{FF2B5EF4-FFF2-40B4-BE49-F238E27FC236}">
                <a16:creationId xmlns:a16="http://schemas.microsoft.com/office/drawing/2014/main" id="{49F664DD-6EFF-45FF-BC20-EEE3A31B4612}"/>
              </a:ext>
            </a:extLst>
          </p:cNvPr>
          <p:cNvGrpSpPr/>
          <p:nvPr/>
        </p:nvGrpSpPr>
        <p:grpSpPr>
          <a:xfrm>
            <a:off x="8158766" y="3203314"/>
            <a:ext cx="253362" cy="1638475"/>
            <a:chOff x="8991147" y="3529302"/>
            <a:chExt cx="279211" cy="1805638"/>
          </a:xfrm>
          <a:solidFill>
            <a:srgbClr val="183859"/>
          </a:solidFill>
        </p:grpSpPr>
        <p:sp>
          <p:nvSpPr>
            <p:cNvPr id="45" name="Freihandform: Form 44">
              <a:extLst>
                <a:ext uri="{FF2B5EF4-FFF2-40B4-BE49-F238E27FC236}">
                  <a16:creationId xmlns:a16="http://schemas.microsoft.com/office/drawing/2014/main" id="{9E110494-9C03-46CF-9347-EC861AB5145C}"/>
                </a:ext>
              </a:extLst>
            </p:cNvPr>
            <p:cNvSpPr/>
            <p:nvPr/>
          </p:nvSpPr>
          <p:spPr>
            <a:xfrm>
              <a:off x="9031025" y="3529302"/>
              <a:ext cx="199445" cy="1805638"/>
            </a:xfrm>
            <a:custGeom>
              <a:avLst/>
              <a:gdLst>
                <a:gd name="connsiteX0" fmla="*/ 79802 w 199445"/>
                <a:gd name="connsiteY0" fmla="*/ -14 h 1805638"/>
                <a:gd name="connsiteX1" fmla="*/ 79802 w 199445"/>
                <a:gd name="connsiteY1" fmla="*/ 441376 h 1805638"/>
                <a:gd name="connsiteX2" fmla="*/ 12 w 199445"/>
                <a:gd name="connsiteY2" fmla="*/ 441376 h 1805638"/>
                <a:gd name="connsiteX3" fmla="*/ 12 w 199445"/>
                <a:gd name="connsiteY3" fmla="*/ 641989 h 1805638"/>
                <a:gd name="connsiteX4" fmla="*/ 39917 w 199445"/>
                <a:gd name="connsiteY4" fmla="*/ 641989 h 1805638"/>
                <a:gd name="connsiteX5" fmla="*/ 12 w 199445"/>
                <a:gd name="connsiteY5" fmla="*/ 1805625 h 1805638"/>
                <a:gd name="connsiteX6" fmla="*/ 199457 w 199445"/>
                <a:gd name="connsiteY6" fmla="*/ 1805625 h 1805638"/>
                <a:gd name="connsiteX7" fmla="*/ 159573 w 199445"/>
                <a:gd name="connsiteY7" fmla="*/ 641989 h 1805638"/>
                <a:gd name="connsiteX8" fmla="*/ 199457 w 199445"/>
                <a:gd name="connsiteY8" fmla="*/ 641989 h 1805638"/>
                <a:gd name="connsiteX9" fmla="*/ 199457 w 199445"/>
                <a:gd name="connsiteY9" fmla="*/ 441376 h 1805638"/>
                <a:gd name="connsiteX10" fmla="*/ 119688 w 199445"/>
                <a:gd name="connsiteY10" fmla="*/ 441376 h 1805638"/>
                <a:gd name="connsiteX11" fmla="*/ 119688 w 199445"/>
                <a:gd name="connsiteY11" fmla="*/ -14 h 180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445" h="1805638">
                  <a:moveTo>
                    <a:pt x="79802" y="-14"/>
                  </a:moveTo>
                  <a:lnTo>
                    <a:pt x="79802" y="441376"/>
                  </a:lnTo>
                  <a:lnTo>
                    <a:pt x="12" y="441376"/>
                  </a:lnTo>
                  <a:lnTo>
                    <a:pt x="12" y="641989"/>
                  </a:lnTo>
                  <a:lnTo>
                    <a:pt x="39917" y="641989"/>
                  </a:lnTo>
                  <a:lnTo>
                    <a:pt x="12" y="1805625"/>
                  </a:lnTo>
                  <a:lnTo>
                    <a:pt x="199457" y="1805625"/>
                  </a:lnTo>
                  <a:lnTo>
                    <a:pt x="159573" y="641989"/>
                  </a:lnTo>
                  <a:lnTo>
                    <a:pt x="199457" y="641989"/>
                  </a:lnTo>
                  <a:lnTo>
                    <a:pt x="199457" y="441376"/>
                  </a:lnTo>
                  <a:lnTo>
                    <a:pt x="119688" y="441376"/>
                  </a:lnTo>
                  <a:lnTo>
                    <a:pt x="119688" y="-14"/>
                  </a:lnTo>
                  <a:close/>
                </a:path>
              </a:pathLst>
            </a:custGeom>
            <a:solidFill>
              <a:srgbClr val="183859"/>
            </a:solidFill>
            <a:ln w="7968" cap="rnd">
              <a:noFill/>
              <a:prstDash val="solid"/>
              <a:miter/>
            </a:ln>
          </p:spPr>
          <p:txBody>
            <a:bodyPr rtlCol="0" anchor="ctr"/>
            <a:lstStyle/>
            <a:p>
              <a:endParaRPr lang="en-US" sz="1633"/>
            </a:p>
          </p:txBody>
        </p:sp>
        <p:sp>
          <p:nvSpPr>
            <p:cNvPr id="46" name="Freihandform: Form 45">
              <a:extLst>
                <a:ext uri="{FF2B5EF4-FFF2-40B4-BE49-F238E27FC236}">
                  <a16:creationId xmlns:a16="http://schemas.microsoft.com/office/drawing/2014/main" id="{DCC13F6E-CA25-4B42-9AC5-0509B8D69CC6}"/>
                </a:ext>
              </a:extLst>
            </p:cNvPr>
            <p:cNvSpPr/>
            <p:nvPr/>
          </p:nvSpPr>
          <p:spPr>
            <a:xfrm rot="5400000">
              <a:off x="9210527" y="4111124"/>
              <a:ext cx="79774" cy="40125"/>
            </a:xfrm>
            <a:custGeom>
              <a:avLst/>
              <a:gdLst>
                <a:gd name="connsiteX0" fmla="*/ 79870 w 79774"/>
                <a:gd name="connsiteY0" fmla="*/ 228 h 40125"/>
                <a:gd name="connsiteX1" fmla="*/ 59926 w 79774"/>
                <a:gd name="connsiteY1" fmla="*/ 34977 h 40125"/>
                <a:gd name="connsiteX2" fmla="*/ 20039 w 79774"/>
                <a:gd name="connsiteY2" fmla="*/ 34977 h 40125"/>
                <a:gd name="connsiteX3" fmla="*/ 95 w 79774"/>
                <a:gd name="connsiteY3" fmla="*/ 228 h 40125"/>
                <a:gd name="connsiteX4" fmla="*/ 39982 w 79774"/>
                <a:gd name="connsiteY4" fmla="*/ 22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74" h="40125">
                  <a:moveTo>
                    <a:pt x="79870" y="228"/>
                  </a:moveTo>
                  <a:cubicBezTo>
                    <a:pt x="79870" y="14563"/>
                    <a:pt x="72267" y="27810"/>
                    <a:pt x="59926" y="34977"/>
                  </a:cubicBezTo>
                  <a:cubicBezTo>
                    <a:pt x="47585" y="42145"/>
                    <a:pt x="32380" y="42145"/>
                    <a:pt x="20039" y="34977"/>
                  </a:cubicBezTo>
                  <a:cubicBezTo>
                    <a:pt x="7697" y="27810"/>
                    <a:pt x="95" y="14563"/>
                    <a:pt x="95" y="228"/>
                  </a:cubicBezTo>
                  <a:lnTo>
                    <a:pt x="39982" y="228"/>
                  </a:lnTo>
                  <a:close/>
                </a:path>
              </a:pathLst>
            </a:custGeom>
            <a:solidFill>
              <a:srgbClr val="183859"/>
            </a:solidFill>
            <a:ln w="7968" cap="rnd">
              <a:noFill/>
              <a:prstDash val="solid"/>
              <a:miter/>
            </a:ln>
          </p:spPr>
          <p:txBody>
            <a:bodyPr rtlCol="0" anchor="ctr"/>
            <a:lstStyle/>
            <a:p>
              <a:endParaRPr lang="en-US" sz="1633"/>
            </a:p>
          </p:txBody>
        </p:sp>
        <p:sp>
          <p:nvSpPr>
            <p:cNvPr id="47" name="Freihandform: Form 46">
              <a:extLst>
                <a:ext uri="{FF2B5EF4-FFF2-40B4-BE49-F238E27FC236}">
                  <a16:creationId xmlns:a16="http://schemas.microsoft.com/office/drawing/2014/main" id="{DC31422F-C8F4-4251-BECF-97A23006BE78}"/>
                </a:ext>
              </a:extLst>
            </p:cNvPr>
            <p:cNvSpPr/>
            <p:nvPr/>
          </p:nvSpPr>
          <p:spPr>
            <a:xfrm rot="5400000">
              <a:off x="9210527" y="3990749"/>
              <a:ext cx="79774" cy="40125"/>
            </a:xfrm>
            <a:custGeom>
              <a:avLst/>
              <a:gdLst>
                <a:gd name="connsiteX0" fmla="*/ 79873 w 79774"/>
                <a:gd name="connsiteY0" fmla="*/ 225 h 40125"/>
                <a:gd name="connsiteX1" fmla="*/ 59929 w 79774"/>
                <a:gd name="connsiteY1" fmla="*/ 34974 h 40125"/>
                <a:gd name="connsiteX2" fmla="*/ 20042 w 79774"/>
                <a:gd name="connsiteY2" fmla="*/ 34974 h 40125"/>
                <a:gd name="connsiteX3" fmla="*/ 98 w 79774"/>
                <a:gd name="connsiteY3" fmla="*/ 225 h 40125"/>
                <a:gd name="connsiteX4" fmla="*/ 39985 w 79774"/>
                <a:gd name="connsiteY4" fmla="*/ 225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74" h="40125">
                  <a:moveTo>
                    <a:pt x="79873" y="225"/>
                  </a:moveTo>
                  <a:cubicBezTo>
                    <a:pt x="79873" y="14560"/>
                    <a:pt x="72270" y="27807"/>
                    <a:pt x="59929" y="34974"/>
                  </a:cubicBezTo>
                  <a:cubicBezTo>
                    <a:pt x="47588" y="42142"/>
                    <a:pt x="32383" y="42142"/>
                    <a:pt x="20042" y="34974"/>
                  </a:cubicBezTo>
                  <a:cubicBezTo>
                    <a:pt x="7700" y="27807"/>
                    <a:pt x="98" y="14560"/>
                    <a:pt x="98" y="225"/>
                  </a:cubicBezTo>
                  <a:lnTo>
                    <a:pt x="39985" y="225"/>
                  </a:lnTo>
                  <a:close/>
                </a:path>
              </a:pathLst>
            </a:custGeom>
            <a:solidFill>
              <a:srgbClr val="183859"/>
            </a:solidFill>
            <a:ln w="7968" cap="rnd">
              <a:noFill/>
              <a:prstDash val="solid"/>
              <a:miter/>
            </a:ln>
          </p:spPr>
          <p:txBody>
            <a:bodyPr rtlCol="0" anchor="ctr"/>
            <a:lstStyle/>
            <a:p>
              <a:endParaRPr lang="en-US" sz="1633"/>
            </a:p>
          </p:txBody>
        </p:sp>
        <p:sp>
          <p:nvSpPr>
            <p:cNvPr id="48" name="Freihandform: Form 47">
              <a:extLst>
                <a:ext uri="{FF2B5EF4-FFF2-40B4-BE49-F238E27FC236}">
                  <a16:creationId xmlns:a16="http://schemas.microsoft.com/office/drawing/2014/main" id="{DBDBAD01-CD03-42B0-A133-E9EC832538BC}"/>
                </a:ext>
              </a:extLst>
            </p:cNvPr>
            <p:cNvSpPr/>
            <p:nvPr/>
          </p:nvSpPr>
          <p:spPr>
            <a:xfrm rot="5400000" flipV="1">
              <a:off x="8971203" y="3990749"/>
              <a:ext cx="79774" cy="40125"/>
            </a:xfrm>
            <a:custGeom>
              <a:avLst/>
              <a:gdLst>
                <a:gd name="connsiteX0" fmla="*/ 79867 w 79774"/>
                <a:gd name="connsiteY0" fmla="*/ -94 h 40125"/>
                <a:gd name="connsiteX1" fmla="*/ 59923 w 79774"/>
                <a:gd name="connsiteY1" fmla="*/ 34655 h 40125"/>
                <a:gd name="connsiteX2" fmla="*/ 20036 w 79774"/>
                <a:gd name="connsiteY2" fmla="*/ 34655 h 40125"/>
                <a:gd name="connsiteX3" fmla="*/ 92 w 79774"/>
                <a:gd name="connsiteY3" fmla="*/ -94 h 40125"/>
                <a:gd name="connsiteX4" fmla="*/ 39979 w 79774"/>
                <a:gd name="connsiteY4" fmla="*/ -94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74" h="40125">
                  <a:moveTo>
                    <a:pt x="79867" y="-94"/>
                  </a:moveTo>
                  <a:cubicBezTo>
                    <a:pt x="79867" y="14241"/>
                    <a:pt x="72264" y="27488"/>
                    <a:pt x="59923" y="34655"/>
                  </a:cubicBezTo>
                  <a:cubicBezTo>
                    <a:pt x="47582" y="41823"/>
                    <a:pt x="32377" y="41823"/>
                    <a:pt x="20036" y="34655"/>
                  </a:cubicBezTo>
                  <a:cubicBezTo>
                    <a:pt x="7694" y="27488"/>
                    <a:pt x="92" y="14241"/>
                    <a:pt x="92" y="-94"/>
                  </a:cubicBezTo>
                  <a:lnTo>
                    <a:pt x="39979" y="-94"/>
                  </a:lnTo>
                  <a:close/>
                </a:path>
              </a:pathLst>
            </a:custGeom>
            <a:solidFill>
              <a:srgbClr val="183859"/>
            </a:solidFill>
            <a:ln w="7968" cap="rnd">
              <a:noFill/>
              <a:prstDash val="solid"/>
              <a:miter/>
            </a:ln>
          </p:spPr>
          <p:txBody>
            <a:bodyPr rtlCol="0" anchor="ctr"/>
            <a:lstStyle/>
            <a:p>
              <a:endParaRPr lang="en-US" sz="1633"/>
            </a:p>
          </p:txBody>
        </p:sp>
        <p:sp>
          <p:nvSpPr>
            <p:cNvPr id="49" name="Freihandform: Form 48">
              <a:extLst>
                <a:ext uri="{FF2B5EF4-FFF2-40B4-BE49-F238E27FC236}">
                  <a16:creationId xmlns:a16="http://schemas.microsoft.com/office/drawing/2014/main" id="{A3FC261E-A395-47D3-9B3F-45E937D2462C}"/>
                </a:ext>
              </a:extLst>
            </p:cNvPr>
            <p:cNvSpPr/>
            <p:nvPr/>
          </p:nvSpPr>
          <p:spPr>
            <a:xfrm rot="5400000" flipV="1">
              <a:off x="8971203" y="4111124"/>
              <a:ext cx="79774" cy="40125"/>
            </a:xfrm>
            <a:custGeom>
              <a:avLst/>
              <a:gdLst>
                <a:gd name="connsiteX0" fmla="*/ 79864 w 79774"/>
                <a:gd name="connsiteY0" fmla="*/ -91 h 40125"/>
                <a:gd name="connsiteX1" fmla="*/ 59920 w 79774"/>
                <a:gd name="connsiteY1" fmla="*/ 34658 h 40125"/>
                <a:gd name="connsiteX2" fmla="*/ 20033 w 79774"/>
                <a:gd name="connsiteY2" fmla="*/ 34658 h 40125"/>
                <a:gd name="connsiteX3" fmla="*/ 89 w 79774"/>
                <a:gd name="connsiteY3" fmla="*/ -91 h 40125"/>
                <a:gd name="connsiteX4" fmla="*/ 39976 w 79774"/>
                <a:gd name="connsiteY4" fmla="*/ -91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74" h="40125">
                  <a:moveTo>
                    <a:pt x="79864" y="-91"/>
                  </a:moveTo>
                  <a:cubicBezTo>
                    <a:pt x="79864" y="14244"/>
                    <a:pt x="72261" y="27491"/>
                    <a:pt x="59920" y="34658"/>
                  </a:cubicBezTo>
                  <a:cubicBezTo>
                    <a:pt x="47579" y="41826"/>
                    <a:pt x="32374" y="41826"/>
                    <a:pt x="20033" y="34658"/>
                  </a:cubicBezTo>
                  <a:cubicBezTo>
                    <a:pt x="7691" y="27491"/>
                    <a:pt x="89" y="14244"/>
                    <a:pt x="89" y="-91"/>
                  </a:cubicBezTo>
                  <a:lnTo>
                    <a:pt x="39976" y="-91"/>
                  </a:lnTo>
                  <a:close/>
                </a:path>
              </a:pathLst>
            </a:custGeom>
            <a:solidFill>
              <a:srgbClr val="183859"/>
            </a:solidFill>
            <a:ln w="7968" cap="rnd">
              <a:noFill/>
              <a:prstDash val="solid"/>
              <a:miter/>
            </a:ln>
          </p:spPr>
          <p:txBody>
            <a:bodyPr rtlCol="0" anchor="ctr"/>
            <a:lstStyle/>
            <a:p>
              <a:endParaRPr lang="en-US" sz="1633"/>
            </a:p>
          </p:txBody>
        </p:sp>
      </p:grpSp>
      <p:grpSp>
        <p:nvGrpSpPr>
          <p:cNvPr id="50" name="Grafik 3">
            <a:extLst>
              <a:ext uri="{FF2B5EF4-FFF2-40B4-BE49-F238E27FC236}">
                <a16:creationId xmlns:a16="http://schemas.microsoft.com/office/drawing/2014/main" id="{C6F9BAEF-A730-4897-B173-206B0E698959}"/>
              </a:ext>
            </a:extLst>
          </p:cNvPr>
          <p:cNvGrpSpPr/>
          <p:nvPr/>
        </p:nvGrpSpPr>
        <p:grpSpPr>
          <a:xfrm>
            <a:off x="2462119" y="1520358"/>
            <a:ext cx="608742" cy="631402"/>
            <a:chOff x="2713310" y="1674649"/>
            <a:chExt cx="670848" cy="695820"/>
          </a:xfrm>
          <a:solidFill>
            <a:srgbClr val="183859"/>
          </a:solidFill>
        </p:grpSpPr>
        <p:sp>
          <p:nvSpPr>
            <p:cNvPr id="51" name="Freihandform: Form 50">
              <a:extLst>
                <a:ext uri="{FF2B5EF4-FFF2-40B4-BE49-F238E27FC236}">
                  <a16:creationId xmlns:a16="http://schemas.microsoft.com/office/drawing/2014/main" id="{60875CF1-4C45-48AA-91B2-17DEF1D8B7D2}"/>
                </a:ext>
              </a:extLst>
            </p:cNvPr>
            <p:cNvSpPr/>
            <p:nvPr/>
          </p:nvSpPr>
          <p:spPr>
            <a:xfrm>
              <a:off x="2889265" y="1825880"/>
              <a:ext cx="197184" cy="229091"/>
            </a:xfrm>
            <a:custGeom>
              <a:avLst/>
              <a:gdLst>
                <a:gd name="connsiteX0" fmla="*/ 75410 w 197184"/>
                <a:gd name="connsiteY0" fmla="*/ 8 h 229091"/>
                <a:gd name="connsiteX1" fmla="*/ 10 w 197184"/>
                <a:gd name="connsiteY1" fmla="*/ 64826 h 229091"/>
                <a:gd name="connsiteX2" fmla="*/ 20293 w 197184"/>
                <a:gd name="connsiteY2" fmla="*/ 92196 h 229091"/>
                <a:gd name="connsiteX3" fmla="*/ 32866 w 197184"/>
                <a:gd name="connsiteY3" fmla="*/ 81393 h 229091"/>
                <a:gd name="connsiteX4" fmla="*/ 43008 w 197184"/>
                <a:gd name="connsiteY4" fmla="*/ 95078 h 229091"/>
                <a:gd name="connsiteX5" fmla="*/ 30434 w 197184"/>
                <a:gd name="connsiteY5" fmla="*/ 105881 h 229091"/>
                <a:gd name="connsiteX6" fmla="*/ 121768 w 197184"/>
                <a:gd name="connsiteY6" fmla="*/ 229090 h 229091"/>
                <a:gd name="connsiteX7" fmla="*/ 197168 w 197184"/>
                <a:gd name="connsiteY7" fmla="*/ 164272 h 229091"/>
                <a:gd name="connsiteX8" fmla="*/ 105855 w 197184"/>
                <a:gd name="connsiteY8" fmla="*/ 41063 h 229091"/>
                <a:gd name="connsiteX9" fmla="*/ 93281 w 197184"/>
                <a:gd name="connsiteY9" fmla="*/ 51866 h 229091"/>
                <a:gd name="connsiteX10" fmla="*/ 83140 w 197184"/>
                <a:gd name="connsiteY10" fmla="*/ 38181 h 229091"/>
                <a:gd name="connsiteX11" fmla="*/ 95714 w 197184"/>
                <a:gd name="connsiteY11" fmla="*/ 27378 h 22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7184" h="229091">
                  <a:moveTo>
                    <a:pt x="75410" y="8"/>
                  </a:moveTo>
                  <a:lnTo>
                    <a:pt x="10" y="64826"/>
                  </a:lnTo>
                  <a:lnTo>
                    <a:pt x="20293" y="92196"/>
                  </a:lnTo>
                  <a:lnTo>
                    <a:pt x="32866" y="81393"/>
                  </a:lnTo>
                  <a:lnTo>
                    <a:pt x="43008" y="95078"/>
                  </a:lnTo>
                  <a:lnTo>
                    <a:pt x="30434" y="105881"/>
                  </a:lnTo>
                  <a:lnTo>
                    <a:pt x="121768" y="229090"/>
                  </a:lnTo>
                  <a:lnTo>
                    <a:pt x="197168" y="164272"/>
                  </a:lnTo>
                  <a:lnTo>
                    <a:pt x="105855" y="41063"/>
                  </a:lnTo>
                  <a:lnTo>
                    <a:pt x="93281" y="51866"/>
                  </a:lnTo>
                  <a:lnTo>
                    <a:pt x="83140" y="38181"/>
                  </a:lnTo>
                  <a:lnTo>
                    <a:pt x="95714" y="27378"/>
                  </a:lnTo>
                  <a:close/>
                </a:path>
              </a:pathLst>
            </a:custGeom>
            <a:solidFill>
              <a:srgbClr val="183859"/>
            </a:solidFill>
            <a:ln w="3345" cap="rnd">
              <a:noFill/>
              <a:prstDash val="solid"/>
              <a:miter/>
            </a:ln>
          </p:spPr>
          <p:txBody>
            <a:bodyPr rtlCol="0" anchor="ctr"/>
            <a:lstStyle/>
            <a:p>
              <a:endParaRPr lang="en-US" sz="1633"/>
            </a:p>
          </p:txBody>
        </p:sp>
        <p:sp>
          <p:nvSpPr>
            <p:cNvPr id="52" name="Freihandform: Form 51">
              <a:extLst>
                <a:ext uri="{FF2B5EF4-FFF2-40B4-BE49-F238E27FC236}">
                  <a16:creationId xmlns:a16="http://schemas.microsoft.com/office/drawing/2014/main" id="{CE16D4D7-48B7-45FC-BC1B-20456738977A}"/>
                </a:ext>
              </a:extLst>
            </p:cNvPr>
            <p:cNvSpPr/>
            <p:nvPr/>
          </p:nvSpPr>
          <p:spPr>
            <a:xfrm>
              <a:off x="3027979" y="1743092"/>
              <a:ext cx="214122" cy="208878"/>
            </a:xfrm>
            <a:custGeom>
              <a:avLst/>
              <a:gdLst>
                <a:gd name="connsiteX0" fmla="*/ 0 w 214122"/>
                <a:gd name="connsiteY0" fmla="*/ 140436 h 208878"/>
                <a:gd name="connsiteX1" fmla="*/ 163388 w 214122"/>
                <a:gd name="connsiteY1" fmla="*/ 0 h 208878"/>
                <a:gd name="connsiteX2" fmla="*/ 214123 w 214122"/>
                <a:gd name="connsiteY2" fmla="*/ 68443 h 208878"/>
                <a:gd name="connsiteX3" fmla="*/ 50734 w 214122"/>
                <a:gd name="connsiteY3" fmla="*/ 208879 h 208878"/>
              </a:gdLst>
              <a:ahLst/>
              <a:cxnLst>
                <a:cxn ang="0">
                  <a:pos x="connsiteX0" y="connsiteY0"/>
                </a:cxn>
                <a:cxn ang="0">
                  <a:pos x="connsiteX1" y="connsiteY1"/>
                </a:cxn>
                <a:cxn ang="0">
                  <a:pos x="connsiteX2" y="connsiteY2"/>
                </a:cxn>
                <a:cxn ang="0">
                  <a:pos x="connsiteX3" y="connsiteY3"/>
                </a:cxn>
              </a:cxnLst>
              <a:rect l="l" t="t" r="r" b="b"/>
              <a:pathLst>
                <a:path w="214122" h="208878">
                  <a:moveTo>
                    <a:pt x="0" y="140436"/>
                  </a:moveTo>
                  <a:lnTo>
                    <a:pt x="163388" y="0"/>
                  </a:lnTo>
                  <a:lnTo>
                    <a:pt x="214123" y="68443"/>
                  </a:lnTo>
                  <a:lnTo>
                    <a:pt x="50734" y="208879"/>
                  </a:lnTo>
                  <a:close/>
                </a:path>
              </a:pathLst>
            </a:custGeom>
            <a:solidFill>
              <a:srgbClr val="183859"/>
            </a:solidFill>
            <a:ln w="3345" cap="rnd">
              <a:noFill/>
              <a:prstDash val="solid"/>
              <a:miter/>
            </a:ln>
          </p:spPr>
          <p:txBody>
            <a:bodyPr rtlCol="0" anchor="ctr"/>
            <a:lstStyle/>
            <a:p>
              <a:endParaRPr lang="en-US" sz="1633"/>
            </a:p>
          </p:txBody>
        </p:sp>
        <p:sp>
          <p:nvSpPr>
            <p:cNvPr id="53" name="Freihandform: Form 52">
              <a:extLst>
                <a:ext uri="{FF2B5EF4-FFF2-40B4-BE49-F238E27FC236}">
                  <a16:creationId xmlns:a16="http://schemas.microsoft.com/office/drawing/2014/main" id="{48B1A475-F6F2-45F5-B8A4-2A8310E5BDBA}"/>
                </a:ext>
              </a:extLst>
            </p:cNvPr>
            <p:cNvSpPr/>
            <p:nvPr/>
          </p:nvSpPr>
          <p:spPr>
            <a:xfrm>
              <a:off x="2764044" y="1969950"/>
              <a:ext cx="214122" cy="208878"/>
            </a:xfrm>
            <a:custGeom>
              <a:avLst/>
              <a:gdLst>
                <a:gd name="connsiteX0" fmla="*/ 0 w 214122"/>
                <a:gd name="connsiteY0" fmla="*/ 140436 h 208878"/>
                <a:gd name="connsiteX1" fmla="*/ 163388 w 214122"/>
                <a:gd name="connsiteY1" fmla="*/ 0 h 208878"/>
                <a:gd name="connsiteX2" fmla="*/ 214123 w 214122"/>
                <a:gd name="connsiteY2" fmla="*/ 68443 h 208878"/>
                <a:gd name="connsiteX3" fmla="*/ 50734 w 214122"/>
                <a:gd name="connsiteY3" fmla="*/ 208879 h 208878"/>
              </a:gdLst>
              <a:ahLst/>
              <a:cxnLst>
                <a:cxn ang="0">
                  <a:pos x="connsiteX0" y="connsiteY0"/>
                </a:cxn>
                <a:cxn ang="0">
                  <a:pos x="connsiteX1" y="connsiteY1"/>
                </a:cxn>
                <a:cxn ang="0">
                  <a:pos x="connsiteX2" y="connsiteY2"/>
                </a:cxn>
                <a:cxn ang="0">
                  <a:pos x="connsiteX3" y="connsiteY3"/>
                </a:cxn>
              </a:cxnLst>
              <a:rect l="l" t="t" r="r" b="b"/>
              <a:pathLst>
                <a:path w="214122" h="208878">
                  <a:moveTo>
                    <a:pt x="0" y="140436"/>
                  </a:moveTo>
                  <a:lnTo>
                    <a:pt x="163388" y="0"/>
                  </a:lnTo>
                  <a:lnTo>
                    <a:pt x="214123" y="68443"/>
                  </a:lnTo>
                  <a:lnTo>
                    <a:pt x="50734" y="208879"/>
                  </a:lnTo>
                  <a:close/>
                </a:path>
              </a:pathLst>
            </a:custGeom>
            <a:solidFill>
              <a:srgbClr val="183859"/>
            </a:solidFill>
            <a:ln w="3345" cap="rnd">
              <a:noFill/>
              <a:prstDash val="solid"/>
              <a:miter/>
            </a:ln>
          </p:spPr>
          <p:txBody>
            <a:bodyPr rtlCol="0" anchor="ctr"/>
            <a:lstStyle/>
            <a:p>
              <a:endParaRPr lang="en-US" sz="1633"/>
            </a:p>
          </p:txBody>
        </p:sp>
        <p:sp>
          <p:nvSpPr>
            <p:cNvPr id="54" name="Freihandform: Form 53">
              <a:extLst>
                <a:ext uri="{FF2B5EF4-FFF2-40B4-BE49-F238E27FC236}">
                  <a16:creationId xmlns:a16="http://schemas.microsoft.com/office/drawing/2014/main" id="{CF66136B-825B-4A7B-9A4F-23418BD72C57}"/>
                </a:ext>
              </a:extLst>
            </p:cNvPr>
            <p:cNvSpPr/>
            <p:nvPr/>
          </p:nvSpPr>
          <p:spPr>
            <a:xfrm>
              <a:off x="2926999" y="1922272"/>
              <a:ext cx="304351" cy="282707"/>
            </a:xfrm>
            <a:custGeom>
              <a:avLst/>
              <a:gdLst>
                <a:gd name="connsiteX0" fmla="*/ 43124 w 304351"/>
                <a:gd name="connsiteY0" fmla="*/ 282707 h 282707"/>
                <a:gd name="connsiteX1" fmla="*/ 130614 w 304351"/>
                <a:gd name="connsiteY1" fmla="*/ 112265 h 282707"/>
                <a:gd name="connsiteX2" fmla="*/ 304352 w 304351"/>
                <a:gd name="connsiteY2" fmla="*/ 58177 h 282707"/>
              </a:gdLst>
              <a:ahLst/>
              <a:cxnLst>
                <a:cxn ang="0">
                  <a:pos x="connsiteX0" y="connsiteY0"/>
                </a:cxn>
                <a:cxn ang="0">
                  <a:pos x="connsiteX1" y="connsiteY1"/>
                </a:cxn>
                <a:cxn ang="0">
                  <a:pos x="connsiteX2" y="connsiteY2"/>
                </a:cxn>
              </a:cxnLst>
              <a:rect l="l" t="t" r="r" b="b"/>
              <a:pathLst>
                <a:path w="304351" h="282707">
                  <a:moveTo>
                    <a:pt x="43124" y="282707"/>
                  </a:moveTo>
                  <a:cubicBezTo>
                    <a:pt x="43380" y="223551"/>
                    <a:pt x="76731" y="158579"/>
                    <a:pt x="130614" y="112265"/>
                  </a:cubicBezTo>
                  <a:cubicBezTo>
                    <a:pt x="184497" y="65952"/>
                    <a:pt x="250725" y="45334"/>
                    <a:pt x="304352" y="58177"/>
                  </a:cubicBezTo>
                </a:path>
              </a:pathLst>
            </a:custGeom>
            <a:solidFill>
              <a:srgbClr val="183859"/>
            </a:solidFill>
            <a:ln w="3345" cap="rnd">
              <a:noFill/>
              <a:prstDash val="solid"/>
              <a:miter/>
            </a:ln>
          </p:spPr>
          <p:txBody>
            <a:bodyPr rtlCol="0" anchor="ctr"/>
            <a:lstStyle/>
            <a:p>
              <a:endParaRPr lang="en-US" sz="1633"/>
            </a:p>
          </p:txBody>
        </p:sp>
        <p:sp>
          <p:nvSpPr>
            <p:cNvPr id="55" name="Freihandform: Form 54">
              <a:extLst>
                <a:ext uri="{FF2B5EF4-FFF2-40B4-BE49-F238E27FC236}">
                  <a16:creationId xmlns:a16="http://schemas.microsoft.com/office/drawing/2014/main" id="{47F4F274-3638-4DD6-90F1-6CF44227F8AC}"/>
                </a:ext>
              </a:extLst>
            </p:cNvPr>
            <p:cNvSpPr/>
            <p:nvPr/>
          </p:nvSpPr>
          <p:spPr>
            <a:xfrm>
              <a:off x="3056459" y="2039134"/>
              <a:ext cx="126605" cy="158491"/>
            </a:xfrm>
            <a:custGeom>
              <a:avLst/>
              <a:gdLst>
                <a:gd name="connsiteX0" fmla="*/ 0 w 126605"/>
                <a:gd name="connsiteY0" fmla="*/ 21605 h 158491"/>
                <a:gd name="connsiteX1" fmla="*/ 25137 w 126605"/>
                <a:gd name="connsiteY1" fmla="*/ 0 h 158491"/>
                <a:gd name="connsiteX2" fmla="*/ 117179 w 126605"/>
                <a:gd name="connsiteY2" fmla="*/ 144989 h 158491"/>
                <a:gd name="connsiteX3" fmla="*/ 110895 w 126605"/>
                <a:gd name="connsiteY3" fmla="*/ 150390 h 158491"/>
              </a:gdLst>
              <a:ahLst/>
              <a:cxnLst>
                <a:cxn ang="0">
                  <a:pos x="connsiteX0" y="connsiteY0"/>
                </a:cxn>
                <a:cxn ang="0">
                  <a:pos x="connsiteX1" y="connsiteY1"/>
                </a:cxn>
                <a:cxn ang="0">
                  <a:pos x="connsiteX2" y="connsiteY2"/>
                </a:cxn>
                <a:cxn ang="0">
                  <a:pos x="connsiteX3" y="connsiteY3"/>
                </a:cxn>
              </a:cxnLst>
              <a:rect l="l" t="t" r="r" b="b"/>
              <a:pathLst>
                <a:path w="126605" h="158491">
                  <a:moveTo>
                    <a:pt x="0" y="21605"/>
                  </a:moveTo>
                  <a:lnTo>
                    <a:pt x="25137" y="0"/>
                  </a:lnTo>
                  <a:lnTo>
                    <a:pt x="117179" y="144989"/>
                  </a:lnTo>
                  <a:lnTo>
                    <a:pt x="110895" y="150390"/>
                  </a:lnTo>
                  <a:close/>
                </a:path>
              </a:pathLst>
            </a:custGeom>
            <a:solidFill>
              <a:srgbClr val="183859"/>
            </a:solidFill>
            <a:ln w="3345" cap="rnd">
              <a:noFill/>
              <a:prstDash val="solid"/>
              <a:miter/>
            </a:ln>
          </p:spPr>
          <p:txBody>
            <a:bodyPr rtlCol="0" anchor="ctr"/>
            <a:lstStyle/>
            <a:p>
              <a:endParaRPr lang="en-US" sz="1633"/>
            </a:p>
          </p:txBody>
        </p:sp>
      </p:grpSp>
      <p:grpSp>
        <p:nvGrpSpPr>
          <p:cNvPr id="56" name="Grafik 3">
            <a:extLst>
              <a:ext uri="{FF2B5EF4-FFF2-40B4-BE49-F238E27FC236}">
                <a16:creationId xmlns:a16="http://schemas.microsoft.com/office/drawing/2014/main" id="{322052C9-D77F-46B8-B873-CC5A8664F29E}"/>
              </a:ext>
            </a:extLst>
          </p:cNvPr>
          <p:cNvGrpSpPr/>
          <p:nvPr/>
        </p:nvGrpSpPr>
        <p:grpSpPr>
          <a:xfrm>
            <a:off x="5753943" y="1339321"/>
            <a:ext cx="574825" cy="426826"/>
            <a:chOff x="6340976" y="1475143"/>
            <a:chExt cx="633471" cy="470372"/>
          </a:xfrm>
          <a:solidFill>
            <a:srgbClr val="183859"/>
          </a:solidFill>
        </p:grpSpPr>
        <p:sp>
          <p:nvSpPr>
            <p:cNvPr id="57" name="Freihandform: Form 56">
              <a:extLst>
                <a:ext uri="{FF2B5EF4-FFF2-40B4-BE49-F238E27FC236}">
                  <a16:creationId xmlns:a16="http://schemas.microsoft.com/office/drawing/2014/main" id="{0267AF97-890F-4BF8-A444-66C8DF8A3133}"/>
                </a:ext>
              </a:extLst>
            </p:cNvPr>
            <p:cNvSpPr/>
            <p:nvPr/>
          </p:nvSpPr>
          <p:spPr>
            <a:xfrm>
              <a:off x="6608470" y="1503000"/>
              <a:ext cx="136211" cy="213302"/>
            </a:xfrm>
            <a:custGeom>
              <a:avLst/>
              <a:gdLst>
                <a:gd name="connsiteX0" fmla="*/ 37723 w 136211"/>
                <a:gd name="connsiteY0" fmla="*/ 0 h 213302"/>
                <a:gd name="connsiteX1" fmla="*/ 31436 w 136211"/>
                <a:gd name="connsiteY1" fmla="*/ 33570 h 213302"/>
                <a:gd name="connsiteX2" fmla="*/ 47844 w 136211"/>
                <a:gd name="connsiteY2" fmla="*/ 35561 h 213302"/>
                <a:gd name="connsiteX3" fmla="*/ 44711 w 136211"/>
                <a:gd name="connsiteY3" fmla="*/ 52336 h 213302"/>
                <a:gd name="connsiteX4" fmla="*/ 28303 w 136211"/>
                <a:gd name="connsiteY4" fmla="*/ 50345 h 213302"/>
                <a:gd name="connsiteX5" fmla="*/ 3 w 136211"/>
                <a:gd name="connsiteY5" fmla="*/ 201359 h 213302"/>
                <a:gd name="connsiteX6" fmla="*/ 98489 w 136211"/>
                <a:gd name="connsiteY6" fmla="*/ 213303 h 213302"/>
                <a:gd name="connsiteX7" fmla="*/ 126769 w 136211"/>
                <a:gd name="connsiteY7" fmla="*/ 62288 h 213302"/>
                <a:gd name="connsiteX8" fmla="*/ 110361 w 136211"/>
                <a:gd name="connsiteY8" fmla="*/ 60298 h 213302"/>
                <a:gd name="connsiteX9" fmla="*/ 113494 w 136211"/>
                <a:gd name="connsiteY9" fmla="*/ 43502 h 213302"/>
                <a:gd name="connsiteX10" fmla="*/ 129922 w 136211"/>
                <a:gd name="connsiteY10" fmla="*/ 45493 h 213302"/>
                <a:gd name="connsiteX11" fmla="*/ 136209 w 136211"/>
                <a:gd name="connsiteY11" fmla="*/ 11943 h 21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211" h="213302">
                  <a:moveTo>
                    <a:pt x="37723" y="0"/>
                  </a:moveTo>
                  <a:lnTo>
                    <a:pt x="31436" y="33570"/>
                  </a:lnTo>
                  <a:lnTo>
                    <a:pt x="47844" y="35561"/>
                  </a:lnTo>
                  <a:lnTo>
                    <a:pt x="44711" y="52336"/>
                  </a:lnTo>
                  <a:lnTo>
                    <a:pt x="28303" y="50345"/>
                  </a:lnTo>
                  <a:lnTo>
                    <a:pt x="3" y="201359"/>
                  </a:lnTo>
                  <a:lnTo>
                    <a:pt x="98489" y="213303"/>
                  </a:lnTo>
                  <a:lnTo>
                    <a:pt x="126769" y="62288"/>
                  </a:lnTo>
                  <a:lnTo>
                    <a:pt x="110361" y="60298"/>
                  </a:lnTo>
                  <a:lnTo>
                    <a:pt x="113494" y="43502"/>
                  </a:lnTo>
                  <a:lnTo>
                    <a:pt x="129922" y="45493"/>
                  </a:lnTo>
                  <a:lnTo>
                    <a:pt x="136209" y="11943"/>
                  </a:lnTo>
                  <a:close/>
                </a:path>
              </a:pathLst>
            </a:custGeom>
            <a:solidFill>
              <a:srgbClr val="183859"/>
            </a:solidFill>
            <a:ln w="3347" cap="rnd">
              <a:noFill/>
              <a:prstDash val="solid"/>
              <a:miter/>
            </a:ln>
          </p:spPr>
          <p:txBody>
            <a:bodyPr rtlCol="0" anchor="ctr"/>
            <a:lstStyle/>
            <a:p>
              <a:endParaRPr lang="en-US" sz="1633"/>
            </a:p>
          </p:txBody>
        </p:sp>
        <p:sp>
          <p:nvSpPr>
            <p:cNvPr id="58" name="Freihandform: Form 57">
              <a:extLst>
                <a:ext uri="{FF2B5EF4-FFF2-40B4-BE49-F238E27FC236}">
                  <a16:creationId xmlns:a16="http://schemas.microsoft.com/office/drawing/2014/main" id="{BFFA3CE8-9627-433F-9206-6793B397BDDA}"/>
                </a:ext>
              </a:extLst>
            </p:cNvPr>
            <p:cNvSpPr/>
            <p:nvPr/>
          </p:nvSpPr>
          <p:spPr>
            <a:xfrm>
              <a:off x="6729649" y="1600828"/>
              <a:ext cx="229080" cy="109767"/>
            </a:xfrm>
            <a:custGeom>
              <a:avLst/>
              <a:gdLst>
                <a:gd name="connsiteX0" fmla="*/ 15718 w 229080"/>
                <a:gd name="connsiteY0" fmla="*/ 0 h 109767"/>
                <a:gd name="connsiteX1" fmla="*/ 229081 w 229080"/>
                <a:gd name="connsiteY1" fmla="*/ 25867 h 109767"/>
                <a:gd name="connsiteX2" fmla="*/ 213363 w 229080"/>
                <a:gd name="connsiteY2" fmla="*/ 109767 h 109767"/>
                <a:gd name="connsiteX3" fmla="*/ 0 w 229080"/>
                <a:gd name="connsiteY3" fmla="*/ 83900 h 109767"/>
              </a:gdLst>
              <a:ahLst/>
              <a:cxnLst>
                <a:cxn ang="0">
                  <a:pos x="connsiteX0" y="connsiteY0"/>
                </a:cxn>
                <a:cxn ang="0">
                  <a:pos x="connsiteX1" y="connsiteY1"/>
                </a:cxn>
                <a:cxn ang="0">
                  <a:pos x="connsiteX2" y="connsiteY2"/>
                </a:cxn>
                <a:cxn ang="0">
                  <a:pos x="connsiteX3" y="connsiteY3"/>
                </a:cxn>
              </a:cxnLst>
              <a:rect l="l" t="t" r="r" b="b"/>
              <a:pathLst>
                <a:path w="229080" h="109767">
                  <a:moveTo>
                    <a:pt x="15718" y="0"/>
                  </a:moveTo>
                  <a:lnTo>
                    <a:pt x="229081" y="25867"/>
                  </a:lnTo>
                  <a:lnTo>
                    <a:pt x="213363" y="109767"/>
                  </a:lnTo>
                  <a:lnTo>
                    <a:pt x="0" y="83900"/>
                  </a:lnTo>
                  <a:close/>
                </a:path>
              </a:pathLst>
            </a:custGeom>
            <a:solidFill>
              <a:srgbClr val="183859"/>
            </a:solidFill>
            <a:ln w="3347" cap="rnd">
              <a:noFill/>
              <a:prstDash val="solid"/>
              <a:miter/>
            </a:ln>
          </p:spPr>
          <p:txBody>
            <a:bodyPr rtlCol="0" anchor="ctr"/>
            <a:lstStyle/>
            <a:p>
              <a:endParaRPr lang="en-US" sz="1633"/>
            </a:p>
          </p:txBody>
        </p:sp>
        <p:sp>
          <p:nvSpPr>
            <p:cNvPr id="59" name="Freihandform: Form 58">
              <a:extLst>
                <a:ext uri="{FF2B5EF4-FFF2-40B4-BE49-F238E27FC236}">
                  <a16:creationId xmlns:a16="http://schemas.microsoft.com/office/drawing/2014/main" id="{BE92E461-0B47-4ACF-9410-53080704B419}"/>
                </a:ext>
              </a:extLst>
            </p:cNvPr>
            <p:cNvSpPr/>
            <p:nvPr/>
          </p:nvSpPr>
          <p:spPr>
            <a:xfrm>
              <a:off x="6384986" y="1559043"/>
              <a:ext cx="229080" cy="109767"/>
            </a:xfrm>
            <a:custGeom>
              <a:avLst/>
              <a:gdLst>
                <a:gd name="connsiteX0" fmla="*/ 15718 w 229080"/>
                <a:gd name="connsiteY0" fmla="*/ 0 h 109767"/>
                <a:gd name="connsiteX1" fmla="*/ 229081 w 229080"/>
                <a:gd name="connsiteY1" fmla="*/ 25867 h 109767"/>
                <a:gd name="connsiteX2" fmla="*/ 213363 w 229080"/>
                <a:gd name="connsiteY2" fmla="*/ 109767 h 109767"/>
                <a:gd name="connsiteX3" fmla="*/ 0 w 229080"/>
                <a:gd name="connsiteY3" fmla="*/ 83900 h 109767"/>
              </a:gdLst>
              <a:ahLst/>
              <a:cxnLst>
                <a:cxn ang="0">
                  <a:pos x="connsiteX0" y="connsiteY0"/>
                </a:cxn>
                <a:cxn ang="0">
                  <a:pos x="connsiteX1" y="connsiteY1"/>
                </a:cxn>
                <a:cxn ang="0">
                  <a:pos x="connsiteX2" y="connsiteY2"/>
                </a:cxn>
                <a:cxn ang="0">
                  <a:pos x="connsiteX3" y="connsiteY3"/>
                </a:cxn>
              </a:cxnLst>
              <a:rect l="l" t="t" r="r" b="b"/>
              <a:pathLst>
                <a:path w="229080" h="109767">
                  <a:moveTo>
                    <a:pt x="15718" y="0"/>
                  </a:moveTo>
                  <a:lnTo>
                    <a:pt x="229081" y="25867"/>
                  </a:lnTo>
                  <a:lnTo>
                    <a:pt x="213363" y="109767"/>
                  </a:lnTo>
                  <a:lnTo>
                    <a:pt x="0" y="83900"/>
                  </a:lnTo>
                  <a:close/>
                </a:path>
              </a:pathLst>
            </a:custGeom>
            <a:solidFill>
              <a:srgbClr val="183859"/>
            </a:solidFill>
            <a:ln w="3347" cap="rnd">
              <a:noFill/>
              <a:prstDash val="solid"/>
              <a:miter/>
            </a:ln>
          </p:spPr>
          <p:txBody>
            <a:bodyPr rtlCol="0" anchor="ctr"/>
            <a:lstStyle/>
            <a:p>
              <a:endParaRPr lang="en-US" sz="1633"/>
            </a:p>
          </p:txBody>
        </p:sp>
        <p:sp>
          <p:nvSpPr>
            <p:cNvPr id="60" name="Freihandform: Form 59">
              <a:extLst>
                <a:ext uri="{FF2B5EF4-FFF2-40B4-BE49-F238E27FC236}">
                  <a16:creationId xmlns:a16="http://schemas.microsoft.com/office/drawing/2014/main" id="{7DBE370E-02E4-4DB1-ACD1-1325CFC51202}"/>
                </a:ext>
              </a:extLst>
            </p:cNvPr>
            <p:cNvSpPr/>
            <p:nvPr/>
          </p:nvSpPr>
          <p:spPr>
            <a:xfrm>
              <a:off x="6449417" y="1704333"/>
              <a:ext cx="376108" cy="228035"/>
            </a:xfrm>
            <a:custGeom>
              <a:avLst/>
              <a:gdLst>
                <a:gd name="connsiteX0" fmla="*/ 170928 w 376108"/>
                <a:gd name="connsiteY0" fmla="*/ 18709 h 228035"/>
                <a:gd name="connsiteX1" fmla="*/ 21612 w 376108"/>
                <a:gd name="connsiteY1" fmla="*/ 71314 h 228035"/>
                <a:gd name="connsiteX2" fmla="*/ 179627 w 376108"/>
                <a:gd name="connsiteY2" fmla="*/ 90473 h 228035"/>
                <a:gd name="connsiteX3" fmla="*/ 166476 w 376108"/>
                <a:gd name="connsiteY3" fmla="*/ 206860 h 228035"/>
                <a:gd name="connsiteX4" fmla="*/ 174680 w 376108"/>
                <a:gd name="connsiteY4" fmla="*/ 207855 h 228035"/>
                <a:gd name="connsiteX5" fmla="*/ 204753 w 376108"/>
                <a:gd name="connsiteY5" fmla="*/ 93521 h 228035"/>
                <a:gd name="connsiteX6" fmla="*/ 362747 w 376108"/>
                <a:gd name="connsiteY6" fmla="*/ 112680 h 228035"/>
                <a:gd name="connsiteX7" fmla="*/ 205537 w 376108"/>
                <a:gd name="connsiteY7" fmla="*/ 20678 h 228035"/>
                <a:gd name="connsiteX8" fmla="*/ 170928 w 376108"/>
                <a:gd name="connsiteY8" fmla="*/ 18709 h 228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6108" h="228035">
                  <a:moveTo>
                    <a:pt x="170928" y="18709"/>
                  </a:moveTo>
                  <a:cubicBezTo>
                    <a:pt x="112227" y="19077"/>
                    <a:pt x="57563" y="38335"/>
                    <a:pt x="21612" y="71314"/>
                  </a:cubicBezTo>
                  <a:lnTo>
                    <a:pt x="179627" y="90473"/>
                  </a:lnTo>
                  <a:lnTo>
                    <a:pt x="166476" y="206860"/>
                  </a:lnTo>
                  <a:lnTo>
                    <a:pt x="174680" y="207855"/>
                  </a:lnTo>
                  <a:lnTo>
                    <a:pt x="204753" y="93521"/>
                  </a:lnTo>
                  <a:lnTo>
                    <a:pt x="362747" y="112680"/>
                  </a:lnTo>
                  <a:cubicBezTo>
                    <a:pt x="335835" y="64281"/>
                    <a:pt x="275905" y="29209"/>
                    <a:pt x="205537" y="20678"/>
                  </a:cubicBezTo>
                  <a:cubicBezTo>
                    <a:pt x="194070" y="19292"/>
                    <a:pt x="182490" y="18632"/>
                    <a:pt x="170928" y="18709"/>
                  </a:cubicBezTo>
                  <a:close/>
                </a:path>
              </a:pathLst>
            </a:custGeom>
            <a:solidFill>
              <a:srgbClr val="183859"/>
            </a:solidFill>
            <a:ln w="3347" cap="rnd">
              <a:noFill/>
              <a:prstDash val="solid"/>
              <a:miter/>
            </a:ln>
          </p:spPr>
          <p:txBody>
            <a:bodyPr rtlCol="0" anchor="ctr"/>
            <a:lstStyle/>
            <a:p>
              <a:endParaRPr lang="en-US" sz="1633"/>
            </a:p>
          </p:txBody>
        </p:sp>
      </p:grpSp>
      <p:grpSp>
        <p:nvGrpSpPr>
          <p:cNvPr id="61" name="Grafik 3">
            <a:extLst>
              <a:ext uri="{FF2B5EF4-FFF2-40B4-BE49-F238E27FC236}">
                <a16:creationId xmlns:a16="http://schemas.microsoft.com/office/drawing/2014/main" id="{8558332E-981E-47F4-89FF-9A36AA210083}"/>
              </a:ext>
            </a:extLst>
          </p:cNvPr>
          <p:cNvGrpSpPr/>
          <p:nvPr/>
        </p:nvGrpSpPr>
        <p:grpSpPr>
          <a:xfrm>
            <a:off x="7127488" y="3593917"/>
            <a:ext cx="842012" cy="1247866"/>
            <a:chOff x="7854657" y="3959759"/>
            <a:chExt cx="927917" cy="1375177"/>
          </a:xfrm>
          <a:solidFill>
            <a:srgbClr val="183859"/>
          </a:solidFill>
        </p:grpSpPr>
        <p:sp>
          <p:nvSpPr>
            <p:cNvPr id="62" name="Freihandform: Form 61">
              <a:extLst>
                <a:ext uri="{FF2B5EF4-FFF2-40B4-BE49-F238E27FC236}">
                  <a16:creationId xmlns:a16="http://schemas.microsoft.com/office/drawing/2014/main" id="{9F6EB47A-DA85-4044-883E-8D4D0FEFCBC5}"/>
                </a:ext>
              </a:extLst>
            </p:cNvPr>
            <p:cNvSpPr/>
            <p:nvPr/>
          </p:nvSpPr>
          <p:spPr>
            <a:xfrm rot="7484121">
              <a:off x="7904095" y="4182489"/>
              <a:ext cx="829041" cy="557627"/>
            </a:xfrm>
            <a:custGeom>
              <a:avLst/>
              <a:gdLst>
                <a:gd name="connsiteX0" fmla="*/ 64 w 829041"/>
                <a:gd name="connsiteY0" fmla="*/ 281723 h 557627"/>
                <a:gd name="connsiteX1" fmla="*/ 384043 w 829041"/>
                <a:gd name="connsiteY1" fmla="*/ 281715 h 557627"/>
                <a:gd name="connsiteX2" fmla="*/ 404621 w 829041"/>
                <a:gd name="connsiteY2" fmla="*/ 557576 h 557627"/>
                <a:gd name="connsiteX3" fmla="*/ 424559 w 829041"/>
                <a:gd name="connsiteY3" fmla="*/ 557573 h 557627"/>
                <a:gd name="connsiteX4" fmla="*/ 445143 w 829041"/>
                <a:gd name="connsiteY4" fmla="*/ 281716 h 557627"/>
                <a:gd name="connsiteX5" fmla="*/ 829105 w 829041"/>
                <a:gd name="connsiteY5" fmla="*/ 281720 h 557627"/>
                <a:gd name="connsiteX6" fmla="*/ 452415 w 829041"/>
                <a:gd name="connsiteY6" fmla="*/ 112386 h 557627"/>
                <a:gd name="connsiteX7" fmla="*/ 456842 w 829041"/>
                <a:gd name="connsiteY7" fmla="*/ 109601 h 557627"/>
                <a:gd name="connsiteX8" fmla="*/ 471933 w 829041"/>
                <a:gd name="connsiteY8" fmla="*/ 25853 h 557627"/>
                <a:gd name="connsiteX9" fmla="*/ 388675 w 829041"/>
                <a:gd name="connsiteY9" fmla="*/ 10676 h 557627"/>
                <a:gd name="connsiteX10" fmla="*/ 388664 w 829041"/>
                <a:gd name="connsiteY10" fmla="*/ 10684 h 557627"/>
                <a:gd name="connsiteX11" fmla="*/ 373577 w 829041"/>
                <a:gd name="connsiteY11" fmla="*/ 94438 h 557627"/>
                <a:gd name="connsiteX12" fmla="*/ 373585 w 829041"/>
                <a:gd name="connsiteY12" fmla="*/ 94449 h 557627"/>
                <a:gd name="connsiteX13" fmla="*/ 391757 w 829041"/>
                <a:gd name="connsiteY13" fmla="*/ 111572 h 557627"/>
                <a:gd name="connsiteX14" fmla="*/ 64 w 829041"/>
                <a:gd name="connsiteY14" fmla="*/ 281723 h 55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9041" h="557627">
                  <a:moveTo>
                    <a:pt x="64" y="281723"/>
                  </a:moveTo>
                  <a:lnTo>
                    <a:pt x="384043" y="281715"/>
                  </a:lnTo>
                  <a:lnTo>
                    <a:pt x="404621" y="557576"/>
                  </a:lnTo>
                  <a:lnTo>
                    <a:pt x="424559" y="557573"/>
                  </a:lnTo>
                  <a:lnTo>
                    <a:pt x="445143" y="281716"/>
                  </a:lnTo>
                  <a:lnTo>
                    <a:pt x="829105" y="281720"/>
                  </a:lnTo>
                  <a:cubicBezTo>
                    <a:pt x="750289" y="184551"/>
                    <a:pt x="609431" y="121230"/>
                    <a:pt x="452415" y="112386"/>
                  </a:cubicBezTo>
                  <a:cubicBezTo>
                    <a:pt x="453931" y="111523"/>
                    <a:pt x="455407" y="110594"/>
                    <a:pt x="456842" y="109601"/>
                  </a:cubicBezTo>
                  <a:cubicBezTo>
                    <a:pt x="483997" y="90666"/>
                    <a:pt x="490753" y="53172"/>
                    <a:pt x="471933" y="25853"/>
                  </a:cubicBezTo>
                  <a:cubicBezTo>
                    <a:pt x="453108" y="-1466"/>
                    <a:pt x="415832" y="-8261"/>
                    <a:pt x="388675" y="10676"/>
                  </a:cubicBezTo>
                  <a:cubicBezTo>
                    <a:pt x="388671" y="10678"/>
                    <a:pt x="388668" y="10681"/>
                    <a:pt x="388664" y="10684"/>
                  </a:cubicBezTo>
                  <a:cubicBezTo>
                    <a:pt x="361507" y="29621"/>
                    <a:pt x="354752" y="67119"/>
                    <a:pt x="373577" y="94438"/>
                  </a:cubicBezTo>
                  <a:cubicBezTo>
                    <a:pt x="373579" y="94441"/>
                    <a:pt x="373582" y="94445"/>
                    <a:pt x="373585" y="94449"/>
                  </a:cubicBezTo>
                  <a:cubicBezTo>
                    <a:pt x="378381" y="101375"/>
                    <a:pt x="384573" y="107209"/>
                    <a:pt x="391757" y="111572"/>
                  </a:cubicBezTo>
                  <a:cubicBezTo>
                    <a:pt x="229069" y="117109"/>
                    <a:pt x="81497" y="181214"/>
                    <a:pt x="64" y="281723"/>
                  </a:cubicBezTo>
                  <a:close/>
                </a:path>
              </a:pathLst>
            </a:custGeom>
            <a:solidFill>
              <a:srgbClr val="183859"/>
            </a:solidFill>
            <a:ln w="7968" cap="rnd">
              <a:noFill/>
              <a:prstDash val="solid"/>
              <a:miter/>
            </a:ln>
          </p:spPr>
          <p:txBody>
            <a:bodyPr rtlCol="0" anchor="ctr"/>
            <a:lstStyle/>
            <a:p>
              <a:endParaRPr lang="en-US" sz="1633"/>
            </a:p>
          </p:txBody>
        </p:sp>
        <p:sp>
          <p:nvSpPr>
            <p:cNvPr id="63" name="Freihandform: Form 62">
              <a:extLst>
                <a:ext uri="{FF2B5EF4-FFF2-40B4-BE49-F238E27FC236}">
                  <a16:creationId xmlns:a16="http://schemas.microsoft.com/office/drawing/2014/main" id="{2B7E2171-F526-4115-967A-FD6081E0ECCE}"/>
                </a:ext>
              </a:extLst>
            </p:cNvPr>
            <p:cNvSpPr/>
            <p:nvPr/>
          </p:nvSpPr>
          <p:spPr>
            <a:xfrm>
              <a:off x="8432723" y="4652812"/>
              <a:ext cx="119662" cy="682125"/>
            </a:xfrm>
            <a:custGeom>
              <a:avLst/>
              <a:gdLst>
                <a:gd name="connsiteX0" fmla="*/ 63 w 119662"/>
                <a:gd name="connsiteY0" fmla="*/ -54 h 682125"/>
                <a:gd name="connsiteX1" fmla="*/ 119725 w 119662"/>
                <a:gd name="connsiteY1" fmla="*/ -54 h 682125"/>
                <a:gd name="connsiteX2" fmla="*/ 119725 w 119662"/>
                <a:gd name="connsiteY2" fmla="*/ 682072 h 682125"/>
                <a:gd name="connsiteX3" fmla="*/ 63 w 119662"/>
                <a:gd name="connsiteY3" fmla="*/ 682072 h 682125"/>
              </a:gdLst>
              <a:ahLst/>
              <a:cxnLst>
                <a:cxn ang="0">
                  <a:pos x="connsiteX0" y="connsiteY0"/>
                </a:cxn>
                <a:cxn ang="0">
                  <a:pos x="connsiteX1" y="connsiteY1"/>
                </a:cxn>
                <a:cxn ang="0">
                  <a:pos x="connsiteX2" y="connsiteY2"/>
                </a:cxn>
                <a:cxn ang="0">
                  <a:pos x="connsiteX3" y="connsiteY3"/>
                </a:cxn>
              </a:cxnLst>
              <a:rect l="l" t="t" r="r" b="b"/>
              <a:pathLst>
                <a:path w="119662" h="682125">
                  <a:moveTo>
                    <a:pt x="63" y="-54"/>
                  </a:moveTo>
                  <a:lnTo>
                    <a:pt x="119725" y="-54"/>
                  </a:lnTo>
                  <a:lnTo>
                    <a:pt x="119725" y="682072"/>
                  </a:lnTo>
                  <a:lnTo>
                    <a:pt x="63" y="682072"/>
                  </a:lnTo>
                  <a:close/>
                </a:path>
              </a:pathLst>
            </a:custGeom>
            <a:solidFill>
              <a:srgbClr val="183859"/>
            </a:solidFill>
            <a:ln w="7968" cap="rnd">
              <a:noFill/>
              <a:prstDash val="solid"/>
              <a:miter/>
            </a:ln>
          </p:spPr>
          <p:txBody>
            <a:bodyPr rtlCol="0" anchor="ctr"/>
            <a:lstStyle/>
            <a:p>
              <a:endParaRPr lang="en-US" sz="1633"/>
            </a:p>
          </p:txBody>
        </p:sp>
      </p:grpSp>
      <p:grpSp>
        <p:nvGrpSpPr>
          <p:cNvPr id="64" name="Grafik 3">
            <a:extLst>
              <a:ext uri="{FF2B5EF4-FFF2-40B4-BE49-F238E27FC236}">
                <a16:creationId xmlns:a16="http://schemas.microsoft.com/office/drawing/2014/main" id="{D6298CA3-950B-442E-8256-D69BF14452F5}"/>
              </a:ext>
            </a:extLst>
          </p:cNvPr>
          <p:cNvGrpSpPr/>
          <p:nvPr/>
        </p:nvGrpSpPr>
        <p:grpSpPr>
          <a:xfrm>
            <a:off x="3874184" y="4659732"/>
            <a:ext cx="452433" cy="182052"/>
            <a:chOff x="4269436" y="5134312"/>
            <a:chExt cx="498592" cy="200625"/>
          </a:xfrm>
          <a:solidFill>
            <a:srgbClr val="183859"/>
          </a:solidFill>
        </p:grpSpPr>
        <p:grpSp>
          <p:nvGrpSpPr>
            <p:cNvPr id="65" name="Grafik 3">
              <a:extLst>
                <a:ext uri="{FF2B5EF4-FFF2-40B4-BE49-F238E27FC236}">
                  <a16:creationId xmlns:a16="http://schemas.microsoft.com/office/drawing/2014/main" id="{D3A9BE4E-BA81-4C2A-BC93-56588E8285C2}"/>
                </a:ext>
              </a:extLst>
            </p:cNvPr>
            <p:cNvGrpSpPr/>
            <p:nvPr/>
          </p:nvGrpSpPr>
          <p:grpSpPr>
            <a:xfrm>
              <a:off x="4608479" y="5134312"/>
              <a:ext cx="159549" cy="200625"/>
              <a:chOff x="4608479" y="5134312"/>
              <a:chExt cx="159549" cy="200625"/>
            </a:xfrm>
            <a:solidFill>
              <a:srgbClr val="183859"/>
            </a:solidFill>
          </p:grpSpPr>
          <p:sp>
            <p:nvSpPr>
              <p:cNvPr id="66" name="Freihandform: Form 65">
                <a:extLst>
                  <a:ext uri="{FF2B5EF4-FFF2-40B4-BE49-F238E27FC236}">
                    <a16:creationId xmlns:a16="http://schemas.microsoft.com/office/drawing/2014/main" id="{F29E987D-B58E-4D11-858C-96B1DBBE8CFA}"/>
                  </a:ext>
                </a:extLst>
              </p:cNvPr>
              <p:cNvSpPr/>
              <p:nvPr/>
            </p:nvSpPr>
            <p:spPr>
              <a:xfrm>
                <a:off x="4608479" y="5174437"/>
                <a:ext cx="159549" cy="160500"/>
              </a:xfrm>
              <a:custGeom>
                <a:avLst/>
                <a:gdLst>
                  <a:gd name="connsiteX0" fmla="*/ 35 w 159549"/>
                  <a:gd name="connsiteY0" fmla="*/ 20048 h 160500"/>
                  <a:gd name="connsiteX1" fmla="*/ 35 w 159549"/>
                  <a:gd name="connsiteY1" fmla="*/ 40111 h 160500"/>
                  <a:gd name="connsiteX2" fmla="*/ 49894 w 159549"/>
                  <a:gd name="connsiteY2" fmla="*/ 30079 h 160500"/>
                  <a:gd name="connsiteX3" fmla="*/ 49894 w 159549"/>
                  <a:gd name="connsiteY3" fmla="*/ 80236 h 160500"/>
                  <a:gd name="connsiteX4" fmla="*/ 39925 w 159549"/>
                  <a:gd name="connsiteY4" fmla="*/ 160486 h 160500"/>
                  <a:gd name="connsiteX5" fmla="*/ 59858 w 159549"/>
                  <a:gd name="connsiteY5" fmla="*/ 160486 h 160500"/>
                  <a:gd name="connsiteX6" fmla="*/ 69838 w 159549"/>
                  <a:gd name="connsiteY6" fmla="*/ 100298 h 160500"/>
                  <a:gd name="connsiteX7" fmla="*/ 89781 w 159549"/>
                  <a:gd name="connsiteY7" fmla="*/ 100298 h 160500"/>
                  <a:gd name="connsiteX8" fmla="*/ 99763 w 159549"/>
                  <a:gd name="connsiteY8" fmla="*/ 160486 h 160500"/>
                  <a:gd name="connsiteX9" fmla="*/ 119695 w 159549"/>
                  <a:gd name="connsiteY9" fmla="*/ 160486 h 160500"/>
                  <a:gd name="connsiteX10" fmla="*/ 109725 w 159549"/>
                  <a:gd name="connsiteY10" fmla="*/ 80236 h 160500"/>
                  <a:gd name="connsiteX11" fmla="*/ 109725 w 159549"/>
                  <a:gd name="connsiteY11" fmla="*/ 30079 h 160500"/>
                  <a:gd name="connsiteX12" fmla="*/ 159584 w 159549"/>
                  <a:gd name="connsiteY12" fmla="*/ 40111 h 160500"/>
                  <a:gd name="connsiteX13" fmla="*/ 159584 w 159549"/>
                  <a:gd name="connsiteY13" fmla="*/ 20048 h 160500"/>
                  <a:gd name="connsiteX14" fmla="*/ 99753 w 159549"/>
                  <a:gd name="connsiteY14" fmla="*/ -15 h 160500"/>
                  <a:gd name="connsiteX15" fmla="*/ 59866 w 159549"/>
                  <a:gd name="connsiteY15" fmla="*/ -15 h 16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549" h="160500">
                    <a:moveTo>
                      <a:pt x="35" y="20048"/>
                    </a:moveTo>
                    <a:lnTo>
                      <a:pt x="35" y="40111"/>
                    </a:lnTo>
                    <a:lnTo>
                      <a:pt x="49894" y="30079"/>
                    </a:lnTo>
                    <a:lnTo>
                      <a:pt x="49894" y="80236"/>
                    </a:lnTo>
                    <a:lnTo>
                      <a:pt x="39925" y="160486"/>
                    </a:lnTo>
                    <a:lnTo>
                      <a:pt x="59858" y="160486"/>
                    </a:lnTo>
                    <a:lnTo>
                      <a:pt x="69838" y="100298"/>
                    </a:lnTo>
                    <a:lnTo>
                      <a:pt x="89781" y="100298"/>
                    </a:lnTo>
                    <a:lnTo>
                      <a:pt x="99763" y="160486"/>
                    </a:lnTo>
                    <a:lnTo>
                      <a:pt x="119695" y="160486"/>
                    </a:lnTo>
                    <a:lnTo>
                      <a:pt x="109725" y="80236"/>
                    </a:lnTo>
                    <a:lnTo>
                      <a:pt x="109725" y="30079"/>
                    </a:lnTo>
                    <a:lnTo>
                      <a:pt x="159584" y="40111"/>
                    </a:lnTo>
                    <a:lnTo>
                      <a:pt x="159584" y="20048"/>
                    </a:lnTo>
                    <a:lnTo>
                      <a:pt x="99753" y="-15"/>
                    </a:lnTo>
                    <a:lnTo>
                      <a:pt x="59866" y="-15"/>
                    </a:lnTo>
                    <a:close/>
                  </a:path>
                </a:pathLst>
              </a:custGeom>
              <a:solidFill>
                <a:srgbClr val="183859"/>
              </a:solidFill>
              <a:ln w="7968" cap="rnd">
                <a:noFill/>
                <a:prstDash val="solid"/>
                <a:miter/>
              </a:ln>
            </p:spPr>
            <p:txBody>
              <a:bodyPr rtlCol="0" anchor="ctr"/>
              <a:lstStyle/>
              <a:p>
                <a:endParaRPr lang="en-US" sz="1633"/>
              </a:p>
            </p:txBody>
          </p:sp>
          <p:sp>
            <p:nvSpPr>
              <p:cNvPr id="67" name="Freihandform: Form 66">
                <a:extLst>
                  <a:ext uri="{FF2B5EF4-FFF2-40B4-BE49-F238E27FC236}">
                    <a16:creationId xmlns:a16="http://schemas.microsoft.com/office/drawing/2014/main" id="{A63FB62C-464F-42CE-8363-72E27CE0523E}"/>
                  </a:ext>
                </a:extLst>
              </p:cNvPr>
              <p:cNvSpPr/>
              <p:nvPr/>
            </p:nvSpPr>
            <p:spPr>
              <a:xfrm>
                <a:off x="4668310" y="5134312"/>
                <a:ext cx="39887" cy="40125"/>
              </a:xfrm>
              <a:custGeom>
                <a:avLst/>
                <a:gdLst>
                  <a:gd name="connsiteX0" fmla="*/ 39922 w 39887"/>
                  <a:gd name="connsiteY0" fmla="*/ 20048 h 40125"/>
                  <a:gd name="connsiteX1" fmla="*/ 19978 w 39887"/>
                  <a:gd name="connsiteY1" fmla="*/ 40111 h 40125"/>
                  <a:gd name="connsiteX2" fmla="*/ 35 w 39887"/>
                  <a:gd name="connsiteY2" fmla="*/ 20048 h 40125"/>
                  <a:gd name="connsiteX3" fmla="*/ 19978 w 39887"/>
                  <a:gd name="connsiteY3" fmla="*/ -15 h 40125"/>
                  <a:gd name="connsiteX4" fmla="*/ 39922 w 39887"/>
                  <a:gd name="connsiteY4" fmla="*/ 2004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39922" y="20048"/>
                    </a:moveTo>
                    <a:cubicBezTo>
                      <a:pt x="39922" y="31128"/>
                      <a:pt x="30993" y="40111"/>
                      <a:pt x="19978" y="40111"/>
                    </a:cubicBezTo>
                    <a:cubicBezTo>
                      <a:pt x="8964" y="40111"/>
                      <a:pt x="35" y="31128"/>
                      <a:pt x="35" y="20048"/>
                    </a:cubicBezTo>
                    <a:cubicBezTo>
                      <a:pt x="35" y="8968"/>
                      <a:pt x="8964" y="-15"/>
                      <a:pt x="19978" y="-15"/>
                    </a:cubicBezTo>
                    <a:cubicBezTo>
                      <a:pt x="30993" y="-15"/>
                      <a:pt x="39922" y="8968"/>
                      <a:pt x="39922" y="20048"/>
                    </a:cubicBezTo>
                    <a:close/>
                  </a:path>
                </a:pathLst>
              </a:custGeom>
              <a:solidFill>
                <a:srgbClr val="183859"/>
              </a:solidFill>
              <a:ln w="7968" cap="rnd">
                <a:noFill/>
                <a:prstDash val="solid"/>
                <a:miter/>
              </a:ln>
            </p:spPr>
            <p:txBody>
              <a:bodyPr rtlCol="0" anchor="ctr"/>
              <a:lstStyle/>
              <a:p>
                <a:endParaRPr lang="en-US" sz="1633"/>
              </a:p>
            </p:txBody>
          </p:sp>
        </p:grpSp>
        <p:grpSp>
          <p:nvGrpSpPr>
            <p:cNvPr id="68" name="Grafik 3">
              <a:extLst>
                <a:ext uri="{FF2B5EF4-FFF2-40B4-BE49-F238E27FC236}">
                  <a16:creationId xmlns:a16="http://schemas.microsoft.com/office/drawing/2014/main" id="{AADCDD2D-1031-49B9-977A-5601830C11A5}"/>
                </a:ext>
              </a:extLst>
            </p:cNvPr>
            <p:cNvGrpSpPr/>
            <p:nvPr/>
          </p:nvGrpSpPr>
          <p:grpSpPr>
            <a:xfrm>
              <a:off x="4438958" y="5134312"/>
              <a:ext cx="159549" cy="200625"/>
              <a:chOff x="4438958" y="5134312"/>
              <a:chExt cx="159549" cy="200625"/>
            </a:xfrm>
            <a:solidFill>
              <a:srgbClr val="183859"/>
            </a:solidFill>
          </p:grpSpPr>
          <p:sp>
            <p:nvSpPr>
              <p:cNvPr id="69" name="Freihandform: Form 68">
                <a:extLst>
                  <a:ext uri="{FF2B5EF4-FFF2-40B4-BE49-F238E27FC236}">
                    <a16:creationId xmlns:a16="http://schemas.microsoft.com/office/drawing/2014/main" id="{CEA28D6E-1D57-4DC4-B971-D36A0328EB97}"/>
                  </a:ext>
                </a:extLst>
              </p:cNvPr>
              <p:cNvSpPr/>
              <p:nvPr/>
            </p:nvSpPr>
            <p:spPr>
              <a:xfrm>
                <a:off x="4438958" y="5174437"/>
                <a:ext cx="159549" cy="160500"/>
              </a:xfrm>
              <a:custGeom>
                <a:avLst/>
                <a:gdLst>
                  <a:gd name="connsiteX0" fmla="*/ 30 w 159549"/>
                  <a:gd name="connsiteY0" fmla="*/ 20048 h 160500"/>
                  <a:gd name="connsiteX1" fmla="*/ 30 w 159549"/>
                  <a:gd name="connsiteY1" fmla="*/ 40111 h 160500"/>
                  <a:gd name="connsiteX2" fmla="*/ 49890 w 159549"/>
                  <a:gd name="connsiteY2" fmla="*/ 30079 h 160500"/>
                  <a:gd name="connsiteX3" fmla="*/ 49890 w 159549"/>
                  <a:gd name="connsiteY3" fmla="*/ 80236 h 160500"/>
                  <a:gd name="connsiteX4" fmla="*/ 39921 w 159549"/>
                  <a:gd name="connsiteY4" fmla="*/ 160486 h 160500"/>
                  <a:gd name="connsiteX5" fmla="*/ 59853 w 159549"/>
                  <a:gd name="connsiteY5" fmla="*/ 160486 h 160500"/>
                  <a:gd name="connsiteX6" fmla="*/ 69833 w 159549"/>
                  <a:gd name="connsiteY6" fmla="*/ 100298 h 160500"/>
                  <a:gd name="connsiteX7" fmla="*/ 89777 w 159549"/>
                  <a:gd name="connsiteY7" fmla="*/ 100298 h 160500"/>
                  <a:gd name="connsiteX8" fmla="*/ 99759 w 159549"/>
                  <a:gd name="connsiteY8" fmla="*/ 160486 h 160500"/>
                  <a:gd name="connsiteX9" fmla="*/ 119691 w 159549"/>
                  <a:gd name="connsiteY9" fmla="*/ 160486 h 160500"/>
                  <a:gd name="connsiteX10" fmla="*/ 109721 w 159549"/>
                  <a:gd name="connsiteY10" fmla="*/ 80236 h 160500"/>
                  <a:gd name="connsiteX11" fmla="*/ 109721 w 159549"/>
                  <a:gd name="connsiteY11" fmla="*/ 30079 h 160500"/>
                  <a:gd name="connsiteX12" fmla="*/ 159580 w 159549"/>
                  <a:gd name="connsiteY12" fmla="*/ 40111 h 160500"/>
                  <a:gd name="connsiteX13" fmla="*/ 159580 w 159549"/>
                  <a:gd name="connsiteY13" fmla="*/ 20048 h 160500"/>
                  <a:gd name="connsiteX14" fmla="*/ 99749 w 159549"/>
                  <a:gd name="connsiteY14" fmla="*/ -15 h 160500"/>
                  <a:gd name="connsiteX15" fmla="*/ 59861 w 159549"/>
                  <a:gd name="connsiteY15" fmla="*/ -15 h 16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549" h="160500">
                    <a:moveTo>
                      <a:pt x="30" y="20048"/>
                    </a:moveTo>
                    <a:lnTo>
                      <a:pt x="30" y="40111"/>
                    </a:lnTo>
                    <a:lnTo>
                      <a:pt x="49890" y="30079"/>
                    </a:lnTo>
                    <a:lnTo>
                      <a:pt x="49890" y="80236"/>
                    </a:lnTo>
                    <a:lnTo>
                      <a:pt x="39921" y="160486"/>
                    </a:lnTo>
                    <a:lnTo>
                      <a:pt x="59853" y="160486"/>
                    </a:lnTo>
                    <a:lnTo>
                      <a:pt x="69833" y="100298"/>
                    </a:lnTo>
                    <a:lnTo>
                      <a:pt x="89777" y="100298"/>
                    </a:lnTo>
                    <a:lnTo>
                      <a:pt x="99759" y="160486"/>
                    </a:lnTo>
                    <a:lnTo>
                      <a:pt x="119691" y="160486"/>
                    </a:lnTo>
                    <a:lnTo>
                      <a:pt x="109721" y="80236"/>
                    </a:lnTo>
                    <a:lnTo>
                      <a:pt x="109721" y="30079"/>
                    </a:lnTo>
                    <a:lnTo>
                      <a:pt x="159580" y="40111"/>
                    </a:lnTo>
                    <a:lnTo>
                      <a:pt x="159580" y="20048"/>
                    </a:lnTo>
                    <a:lnTo>
                      <a:pt x="99749" y="-15"/>
                    </a:lnTo>
                    <a:lnTo>
                      <a:pt x="59861" y="-15"/>
                    </a:lnTo>
                    <a:close/>
                  </a:path>
                </a:pathLst>
              </a:custGeom>
              <a:solidFill>
                <a:srgbClr val="183859"/>
              </a:solidFill>
              <a:ln w="7968" cap="rnd">
                <a:noFill/>
                <a:prstDash val="solid"/>
                <a:miter/>
              </a:ln>
            </p:spPr>
            <p:txBody>
              <a:bodyPr rtlCol="0" anchor="ctr"/>
              <a:lstStyle/>
              <a:p>
                <a:endParaRPr lang="en-US" sz="1633"/>
              </a:p>
            </p:txBody>
          </p:sp>
          <p:sp>
            <p:nvSpPr>
              <p:cNvPr id="70" name="Freihandform: Form 69">
                <a:extLst>
                  <a:ext uri="{FF2B5EF4-FFF2-40B4-BE49-F238E27FC236}">
                    <a16:creationId xmlns:a16="http://schemas.microsoft.com/office/drawing/2014/main" id="{0763EE66-440F-45E2-8A4D-4D9FDB71A2C8}"/>
                  </a:ext>
                </a:extLst>
              </p:cNvPr>
              <p:cNvSpPr/>
              <p:nvPr/>
            </p:nvSpPr>
            <p:spPr>
              <a:xfrm>
                <a:off x="4498789" y="5134312"/>
                <a:ext cx="39887" cy="40125"/>
              </a:xfrm>
              <a:custGeom>
                <a:avLst/>
                <a:gdLst>
                  <a:gd name="connsiteX0" fmla="*/ 39918 w 39887"/>
                  <a:gd name="connsiteY0" fmla="*/ 20048 h 40125"/>
                  <a:gd name="connsiteX1" fmla="*/ 19974 w 39887"/>
                  <a:gd name="connsiteY1" fmla="*/ 40111 h 40125"/>
                  <a:gd name="connsiteX2" fmla="*/ 30 w 39887"/>
                  <a:gd name="connsiteY2" fmla="*/ 20048 h 40125"/>
                  <a:gd name="connsiteX3" fmla="*/ 19974 w 39887"/>
                  <a:gd name="connsiteY3" fmla="*/ -15 h 40125"/>
                  <a:gd name="connsiteX4" fmla="*/ 39918 w 39887"/>
                  <a:gd name="connsiteY4" fmla="*/ 2004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39918" y="20048"/>
                    </a:moveTo>
                    <a:cubicBezTo>
                      <a:pt x="39918" y="31128"/>
                      <a:pt x="30989" y="40111"/>
                      <a:pt x="19974" y="40111"/>
                    </a:cubicBezTo>
                    <a:cubicBezTo>
                      <a:pt x="8959" y="40111"/>
                      <a:pt x="30" y="31128"/>
                      <a:pt x="30" y="20048"/>
                    </a:cubicBezTo>
                    <a:cubicBezTo>
                      <a:pt x="30" y="8968"/>
                      <a:pt x="8959" y="-15"/>
                      <a:pt x="19974" y="-15"/>
                    </a:cubicBezTo>
                    <a:cubicBezTo>
                      <a:pt x="30989" y="-15"/>
                      <a:pt x="39918" y="8968"/>
                      <a:pt x="39918" y="20048"/>
                    </a:cubicBezTo>
                    <a:close/>
                  </a:path>
                </a:pathLst>
              </a:custGeom>
              <a:solidFill>
                <a:srgbClr val="183859"/>
              </a:solidFill>
              <a:ln w="7968" cap="rnd">
                <a:noFill/>
                <a:prstDash val="solid"/>
                <a:miter/>
              </a:ln>
            </p:spPr>
            <p:txBody>
              <a:bodyPr rtlCol="0" anchor="ctr"/>
              <a:lstStyle/>
              <a:p>
                <a:endParaRPr lang="en-US" sz="1633"/>
              </a:p>
            </p:txBody>
          </p:sp>
        </p:grpSp>
        <p:grpSp>
          <p:nvGrpSpPr>
            <p:cNvPr id="71" name="Grafik 3">
              <a:extLst>
                <a:ext uri="{FF2B5EF4-FFF2-40B4-BE49-F238E27FC236}">
                  <a16:creationId xmlns:a16="http://schemas.microsoft.com/office/drawing/2014/main" id="{FE025347-7CF9-4288-BD73-A93543CFF811}"/>
                </a:ext>
              </a:extLst>
            </p:cNvPr>
            <p:cNvGrpSpPr/>
            <p:nvPr/>
          </p:nvGrpSpPr>
          <p:grpSpPr>
            <a:xfrm>
              <a:off x="4269436" y="5134312"/>
              <a:ext cx="159549" cy="200625"/>
              <a:chOff x="4269436" y="5134312"/>
              <a:chExt cx="159549" cy="200625"/>
            </a:xfrm>
            <a:solidFill>
              <a:srgbClr val="183859"/>
            </a:solidFill>
          </p:grpSpPr>
          <p:sp>
            <p:nvSpPr>
              <p:cNvPr id="72" name="Freihandform: Form 71">
                <a:extLst>
                  <a:ext uri="{FF2B5EF4-FFF2-40B4-BE49-F238E27FC236}">
                    <a16:creationId xmlns:a16="http://schemas.microsoft.com/office/drawing/2014/main" id="{A9804BE9-F3DD-43AB-937C-5071A9A4DFA8}"/>
                  </a:ext>
                </a:extLst>
              </p:cNvPr>
              <p:cNvSpPr/>
              <p:nvPr/>
            </p:nvSpPr>
            <p:spPr>
              <a:xfrm>
                <a:off x="4269436" y="5174437"/>
                <a:ext cx="159549" cy="160500"/>
              </a:xfrm>
              <a:custGeom>
                <a:avLst/>
                <a:gdLst>
                  <a:gd name="connsiteX0" fmla="*/ 26 w 159549"/>
                  <a:gd name="connsiteY0" fmla="*/ 20048 h 160500"/>
                  <a:gd name="connsiteX1" fmla="*/ 26 w 159549"/>
                  <a:gd name="connsiteY1" fmla="*/ 40111 h 160500"/>
                  <a:gd name="connsiteX2" fmla="*/ 49885 w 159549"/>
                  <a:gd name="connsiteY2" fmla="*/ 30079 h 160500"/>
                  <a:gd name="connsiteX3" fmla="*/ 49885 w 159549"/>
                  <a:gd name="connsiteY3" fmla="*/ 80236 h 160500"/>
                  <a:gd name="connsiteX4" fmla="*/ 39917 w 159549"/>
                  <a:gd name="connsiteY4" fmla="*/ 160486 h 160500"/>
                  <a:gd name="connsiteX5" fmla="*/ 59849 w 159549"/>
                  <a:gd name="connsiteY5" fmla="*/ 160486 h 160500"/>
                  <a:gd name="connsiteX6" fmla="*/ 69829 w 159549"/>
                  <a:gd name="connsiteY6" fmla="*/ 100298 h 160500"/>
                  <a:gd name="connsiteX7" fmla="*/ 89773 w 159549"/>
                  <a:gd name="connsiteY7" fmla="*/ 100298 h 160500"/>
                  <a:gd name="connsiteX8" fmla="*/ 99755 w 159549"/>
                  <a:gd name="connsiteY8" fmla="*/ 160486 h 160500"/>
                  <a:gd name="connsiteX9" fmla="*/ 119687 w 159549"/>
                  <a:gd name="connsiteY9" fmla="*/ 160486 h 160500"/>
                  <a:gd name="connsiteX10" fmla="*/ 109717 w 159549"/>
                  <a:gd name="connsiteY10" fmla="*/ 80236 h 160500"/>
                  <a:gd name="connsiteX11" fmla="*/ 109717 w 159549"/>
                  <a:gd name="connsiteY11" fmla="*/ 30079 h 160500"/>
                  <a:gd name="connsiteX12" fmla="*/ 159576 w 159549"/>
                  <a:gd name="connsiteY12" fmla="*/ 40111 h 160500"/>
                  <a:gd name="connsiteX13" fmla="*/ 159576 w 159549"/>
                  <a:gd name="connsiteY13" fmla="*/ 20048 h 160500"/>
                  <a:gd name="connsiteX14" fmla="*/ 99745 w 159549"/>
                  <a:gd name="connsiteY14" fmla="*/ -15 h 160500"/>
                  <a:gd name="connsiteX15" fmla="*/ 59857 w 159549"/>
                  <a:gd name="connsiteY15" fmla="*/ -15 h 16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549" h="160500">
                    <a:moveTo>
                      <a:pt x="26" y="20048"/>
                    </a:moveTo>
                    <a:lnTo>
                      <a:pt x="26" y="40111"/>
                    </a:lnTo>
                    <a:lnTo>
                      <a:pt x="49885" y="30079"/>
                    </a:lnTo>
                    <a:lnTo>
                      <a:pt x="49885" y="80236"/>
                    </a:lnTo>
                    <a:lnTo>
                      <a:pt x="39917" y="160486"/>
                    </a:lnTo>
                    <a:lnTo>
                      <a:pt x="59849" y="160486"/>
                    </a:lnTo>
                    <a:lnTo>
                      <a:pt x="69829" y="100298"/>
                    </a:lnTo>
                    <a:lnTo>
                      <a:pt x="89773" y="100298"/>
                    </a:lnTo>
                    <a:lnTo>
                      <a:pt x="99755" y="160486"/>
                    </a:lnTo>
                    <a:lnTo>
                      <a:pt x="119687" y="160486"/>
                    </a:lnTo>
                    <a:lnTo>
                      <a:pt x="109717" y="80236"/>
                    </a:lnTo>
                    <a:lnTo>
                      <a:pt x="109717" y="30079"/>
                    </a:lnTo>
                    <a:lnTo>
                      <a:pt x="159576" y="40111"/>
                    </a:lnTo>
                    <a:lnTo>
                      <a:pt x="159576" y="20048"/>
                    </a:lnTo>
                    <a:lnTo>
                      <a:pt x="99745" y="-15"/>
                    </a:lnTo>
                    <a:lnTo>
                      <a:pt x="59857" y="-15"/>
                    </a:lnTo>
                    <a:close/>
                  </a:path>
                </a:pathLst>
              </a:custGeom>
              <a:solidFill>
                <a:srgbClr val="183859"/>
              </a:solidFill>
              <a:ln w="7968" cap="rnd">
                <a:noFill/>
                <a:prstDash val="solid"/>
                <a:miter/>
              </a:ln>
            </p:spPr>
            <p:txBody>
              <a:bodyPr rtlCol="0" anchor="ctr"/>
              <a:lstStyle/>
              <a:p>
                <a:endParaRPr lang="en-US" sz="1633"/>
              </a:p>
            </p:txBody>
          </p:sp>
          <p:sp>
            <p:nvSpPr>
              <p:cNvPr id="73" name="Freihandform: Form 72">
                <a:extLst>
                  <a:ext uri="{FF2B5EF4-FFF2-40B4-BE49-F238E27FC236}">
                    <a16:creationId xmlns:a16="http://schemas.microsoft.com/office/drawing/2014/main" id="{4609B647-7745-47E7-91B1-BDDBD36DD40E}"/>
                  </a:ext>
                </a:extLst>
              </p:cNvPr>
              <p:cNvSpPr/>
              <p:nvPr/>
            </p:nvSpPr>
            <p:spPr>
              <a:xfrm>
                <a:off x="4329267" y="5134312"/>
                <a:ext cx="39887" cy="40125"/>
              </a:xfrm>
              <a:custGeom>
                <a:avLst/>
                <a:gdLst>
                  <a:gd name="connsiteX0" fmla="*/ 39914 w 39887"/>
                  <a:gd name="connsiteY0" fmla="*/ 20048 h 40125"/>
                  <a:gd name="connsiteX1" fmla="*/ 19970 w 39887"/>
                  <a:gd name="connsiteY1" fmla="*/ 40111 h 40125"/>
                  <a:gd name="connsiteX2" fmla="*/ 26 w 39887"/>
                  <a:gd name="connsiteY2" fmla="*/ 20048 h 40125"/>
                  <a:gd name="connsiteX3" fmla="*/ 19970 w 39887"/>
                  <a:gd name="connsiteY3" fmla="*/ -15 h 40125"/>
                  <a:gd name="connsiteX4" fmla="*/ 39914 w 39887"/>
                  <a:gd name="connsiteY4" fmla="*/ 2004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39914" y="20048"/>
                    </a:moveTo>
                    <a:cubicBezTo>
                      <a:pt x="39914" y="31128"/>
                      <a:pt x="30984" y="40111"/>
                      <a:pt x="19970" y="40111"/>
                    </a:cubicBezTo>
                    <a:cubicBezTo>
                      <a:pt x="8955" y="40111"/>
                      <a:pt x="26" y="31128"/>
                      <a:pt x="26" y="20048"/>
                    </a:cubicBezTo>
                    <a:cubicBezTo>
                      <a:pt x="26" y="8968"/>
                      <a:pt x="8955" y="-15"/>
                      <a:pt x="19970" y="-15"/>
                    </a:cubicBezTo>
                    <a:cubicBezTo>
                      <a:pt x="30984" y="-15"/>
                      <a:pt x="39914" y="8968"/>
                      <a:pt x="39914" y="20048"/>
                    </a:cubicBezTo>
                    <a:close/>
                  </a:path>
                </a:pathLst>
              </a:custGeom>
              <a:solidFill>
                <a:srgbClr val="183859"/>
              </a:solidFill>
              <a:ln w="7968" cap="rnd">
                <a:noFill/>
                <a:prstDash val="solid"/>
                <a:miter/>
              </a:ln>
            </p:spPr>
            <p:txBody>
              <a:bodyPr rtlCol="0" anchor="ctr"/>
              <a:lstStyle/>
              <a:p>
                <a:endParaRPr lang="en-US" sz="1633"/>
              </a:p>
            </p:txBody>
          </p:sp>
        </p:grpSp>
      </p:grpSp>
      <p:sp>
        <p:nvSpPr>
          <p:cNvPr id="77" name="Freihandform: Form 76">
            <a:extLst>
              <a:ext uri="{FF2B5EF4-FFF2-40B4-BE49-F238E27FC236}">
                <a16:creationId xmlns:a16="http://schemas.microsoft.com/office/drawing/2014/main" id="{48FB0AF6-4FE0-4A61-888B-7175CBE252D8}"/>
              </a:ext>
            </a:extLst>
          </p:cNvPr>
          <p:cNvSpPr/>
          <p:nvPr/>
        </p:nvSpPr>
        <p:spPr>
          <a:xfrm>
            <a:off x="2096154" y="4841186"/>
            <a:ext cx="6732215" cy="36410"/>
          </a:xfrm>
          <a:custGeom>
            <a:avLst/>
            <a:gdLst>
              <a:gd name="connsiteX0" fmla="*/ 8 w 7419057"/>
              <a:gd name="connsiteY0" fmla="*/ -118 h 40125"/>
              <a:gd name="connsiteX1" fmla="*/ 7419066 w 7419057"/>
              <a:gd name="connsiteY1" fmla="*/ -118 h 40125"/>
              <a:gd name="connsiteX2" fmla="*/ 7419066 w 7419057"/>
              <a:gd name="connsiteY2" fmla="*/ 40007 h 40125"/>
              <a:gd name="connsiteX3" fmla="*/ 8 w 7419057"/>
              <a:gd name="connsiteY3" fmla="*/ 40007 h 40125"/>
            </a:gdLst>
            <a:ahLst/>
            <a:cxnLst>
              <a:cxn ang="0">
                <a:pos x="connsiteX0" y="connsiteY0"/>
              </a:cxn>
              <a:cxn ang="0">
                <a:pos x="connsiteX1" y="connsiteY1"/>
              </a:cxn>
              <a:cxn ang="0">
                <a:pos x="connsiteX2" y="connsiteY2"/>
              </a:cxn>
              <a:cxn ang="0">
                <a:pos x="connsiteX3" y="connsiteY3"/>
              </a:cxn>
            </a:cxnLst>
            <a:rect l="l" t="t" r="r" b="b"/>
            <a:pathLst>
              <a:path w="7419057" h="40125">
                <a:moveTo>
                  <a:pt x="8" y="-118"/>
                </a:moveTo>
                <a:lnTo>
                  <a:pt x="7419066" y="-118"/>
                </a:lnTo>
                <a:lnTo>
                  <a:pt x="7419066" y="40007"/>
                </a:lnTo>
                <a:lnTo>
                  <a:pt x="8" y="40007"/>
                </a:lnTo>
                <a:close/>
              </a:path>
            </a:pathLst>
          </a:custGeom>
          <a:solidFill>
            <a:srgbClr val="183859"/>
          </a:solidFill>
          <a:ln w="11857" cap="rnd">
            <a:noFill/>
            <a:prstDash val="solid"/>
            <a:miter/>
          </a:ln>
        </p:spPr>
        <p:txBody>
          <a:bodyPr rtlCol="0" anchor="ctr"/>
          <a:lstStyle/>
          <a:p>
            <a:endParaRPr lang="en-US" sz="1633"/>
          </a:p>
        </p:txBody>
      </p:sp>
      <p:sp>
        <p:nvSpPr>
          <p:cNvPr id="78" name="Freihandform: Form 77">
            <a:extLst>
              <a:ext uri="{FF2B5EF4-FFF2-40B4-BE49-F238E27FC236}">
                <a16:creationId xmlns:a16="http://schemas.microsoft.com/office/drawing/2014/main" id="{CE63C88A-2050-45AE-BBC6-5C4DD50B7A04}"/>
              </a:ext>
            </a:extLst>
          </p:cNvPr>
          <p:cNvSpPr/>
          <p:nvPr/>
        </p:nvSpPr>
        <p:spPr>
          <a:xfrm>
            <a:off x="3037216" y="1600668"/>
            <a:ext cx="2642213" cy="182052"/>
          </a:xfrm>
          <a:custGeom>
            <a:avLst/>
            <a:gdLst>
              <a:gd name="connsiteX0" fmla="*/ 8 w 2911780"/>
              <a:gd name="connsiteY0" fmla="*/ 200507 h 200625"/>
              <a:gd name="connsiteX1" fmla="*/ 2911789 w 2911780"/>
              <a:gd name="connsiteY1" fmla="*/ -118 h 200625"/>
            </a:gdLst>
            <a:ahLst/>
            <a:cxnLst>
              <a:cxn ang="0">
                <a:pos x="connsiteX0" y="connsiteY0"/>
              </a:cxn>
              <a:cxn ang="0">
                <a:pos x="connsiteX1" y="connsiteY1"/>
              </a:cxn>
            </a:cxnLst>
            <a:rect l="l" t="t" r="r" b="b"/>
            <a:pathLst>
              <a:path w="2911780" h="200625">
                <a:moveTo>
                  <a:pt x="8" y="200507"/>
                </a:moveTo>
                <a:lnTo>
                  <a:pt x="2911789" y="-118"/>
                </a:lnTo>
              </a:path>
            </a:pathLst>
          </a:custGeom>
          <a:solidFill>
            <a:srgbClr val="000000"/>
          </a:solidFill>
          <a:ln w="19921" cap="rnd">
            <a:solidFill>
              <a:srgbClr val="000000"/>
            </a:solidFill>
            <a:prstDash val="solid"/>
            <a:miter/>
          </a:ln>
        </p:spPr>
        <p:txBody>
          <a:bodyPr rtlCol="0" anchor="ctr"/>
          <a:lstStyle/>
          <a:p>
            <a:endParaRPr lang="en-US" sz="1633"/>
          </a:p>
        </p:txBody>
      </p:sp>
      <p:sp>
        <p:nvSpPr>
          <p:cNvPr id="79" name="Freihandform: Form 78">
            <a:extLst>
              <a:ext uri="{FF2B5EF4-FFF2-40B4-BE49-F238E27FC236}">
                <a16:creationId xmlns:a16="http://schemas.microsoft.com/office/drawing/2014/main" id="{BF645249-6DCF-469C-916D-B506A9D7E8D8}"/>
              </a:ext>
            </a:extLst>
          </p:cNvPr>
          <p:cNvSpPr/>
          <p:nvPr/>
        </p:nvSpPr>
        <p:spPr>
          <a:xfrm>
            <a:off x="6294739" y="1709901"/>
            <a:ext cx="1375398" cy="436924"/>
          </a:xfrm>
          <a:custGeom>
            <a:avLst/>
            <a:gdLst>
              <a:gd name="connsiteX0" fmla="*/ 8 w 1515721"/>
              <a:gd name="connsiteY0" fmla="*/ -118 h 481500"/>
              <a:gd name="connsiteX1" fmla="*/ 1515730 w 1515721"/>
              <a:gd name="connsiteY1" fmla="*/ 481382 h 481500"/>
            </a:gdLst>
            <a:ahLst/>
            <a:cxnLst>
              <a:cxn ang="0">
                <a:pos x="connsiteX0" y="connsiteY0"/>
              </a:cxn>
              <a:cxn ang="0">
                <a:pos x="connsiteX1" y="connsiteY1"/>
              </a:cxn>
            </a:cxnLst>
            <a:rect l="l" t="t" r="r" b="b"/>
            <a:pathLst>
              <a:path w="1515721" h="481500">
                <a:moveTo>
                  <a:pt x="8" y="-118"/>
                </a:moveTo>
                <a:lnTo>
                  <a:pt x="1515730" y="481382"/>
                </a:lnTo>
              </a:path>
            </a:pathLst>
          </a:custGeom>
          <a:solidFill>
            <a:srgbClr val="000000"/>
          </a:solidFill>
          <a:ln w="19921" cap="rnd">
            <a:solidFill>
              <a:srgbClr val="000000"/>
            </a:solidFill>
            <a:prstDash val="solid"/>
            <a:miter/>
          </a:ln>
        </p:spPr>
        <p:txBody>
          <a:bodyPr rtlCol="0" anchor="ctr"/>
          <a:lstStyle/>
          <a:p>
            <a:endParaRPr lang="en-US" sz="1633"/>
          </a:p>
        </p:txBody>
      </p:sp>
      <p:sp>
        <p:nvSpPr>
          <p:cNvPr id="80" name="Freihandform: Form 79">
            <a:extLst>
              <a:ext uri="{FF2B5EF4-FFF2-40B4-BE49-F238E27FC236}">
                <a16:creationId xmlns:a16="http://schemas.microsoft.com/office/drawing/2014/main" id="{7BA998AE-15A1-47C2-967C-133C0B3645BF}"/>
              </a:ext>
            </a:extLst>
          </p:cNvPr>
          <p:cNvSpPr/>
          <p:nvPr/>
        </p:nvSpPr>
        <p:spPr>
          <a:xfrm>
            <a:off x="6186154" y="1782724"/>
            <a:ext cx="1918319" cy="1766497"/>
          </a:xfrm>
          <a:custGeom>
            <a:avLst/>
            <a:gdLst>
              <a:gd name="connsiteX0" fmla="*/ 8 w 2114032"/>
              <a:gd name="connsiteY0" fmla="*/ -118 h 1946721"/>
              <a:gd name="connsiteX1" fmla="*/ 2114041 w 2114032"/>
              <a:gd name="connsiteY1" fmla="*/ 1946604 h 1946721"/>
            </a:gdLst>
            <a:ahLst/>
            <a:cxnLst>
              <a:cxn ang="0">
                <a:pos x="connsiteX0" y="connsiteY0"/>
              </a:cxn>
              <a:cxn ang="0">
                <a:pos x="connsiteX1" y="connsiteY1"/>
              </a:cxn>
            </a:cxnLst>
            <a:rect l="l" t="t" r="r" b="b"/>
            <a:pathLst>
              <a:path w="2114032" h="1946721">
                <a:moveTo>
                  <a:pt x="8" y="-118"/>
                </a:moveTo>
                <a:lnTo>
                  <a:pt x="2114041" y="1946604"/>
                </a:lnTo>
              </a:path>
            </a:pathLst>
          </a:custGeom>
          <a:solidFill>
            <a:srgbClr val="000000"/>
          </a:solidFill>
          <a:ln w="19921" cap="rnd">
            <a:solidFill>
              <a:srgbClr val="000000"/>
            </a:solidFill>
            <a:prstDash val="solid"/>
            <a:miter/>
          </a:ln>
        </p:spPr>
        <p:txBody>
          <a:bodyPr rtlCol="0" anchor="ctr"/>
          <a:lstStyle/>
          <a:p>
            <a:endParaRPr lang="en-US" sz="1633"/>
          </a:p>
        </p:txBody>
      </p:sp>
      <p:sp>
        <p:nvSpPr>
          <p:cNvPr id="81" name="Freihandform: Form 80">
            <a:extLst>
              <a:ext uri="{FF2B5EF4-FFF2-40B4-BE49-F238E27FC236}">
                <a16:creationId xmlns:a16="http://schemas.microsoft.com/office/drawing/2014/main" id="{4B8CEE8A-7636-4E87-A024-FAE885DDA7FE}"/>
              </a:ext>
            </a:extLst>
          </p:cNvPr>
          <p:cNvSpPr/>
          <p:nvPr/>
        </p:nvSpPr>
        <p:spPr>
          <a:xfrm>
            <a:off x="6041373" y="1819132"/>
            <a:ext cx="1375398" cy="1948549"/>
          </a:xfrm>
          <a:custGeom>
            <a:avLst/>
            <a:gdLst>
              <a:gd name="connsiteX0" fmla="*/ 8 w 1515721"/>
              <a:gd name="connsiteY0" fmla="*/ -118 h 2147346"/>
              <a:gd name="connsiteX1" fmla="*/ 1515730 w 1515721"/>
              <a:gd name="connsiteY1" fmla="*/ 2147229 h 2147346"/>
            </a:gdLst>
            <a:ahLst/>
            <a:cxnLst>
              <a:cxn ang="0">
                <a:pos x="connsiteX0" y="connsiteY0"/>
              </a:cxn>
              <a:cxn ang="0">
                <a:pos x="connsiteX1" y="connsiteY1"/>
              </a:cxn>
            </a:cxnLst>
            <a:rect l="l" t="t" r="r" b="b"/>
            <a:pathLst>
              <a:path w="1515721" h="2147346">
                <a:moveTo>
                  <a:pt x="8" y="-118"/>
                </a:moveTo>
                <a:lnTo>
                  <a:pt x="1515730" y="2147229"/>
                </a:lnTo>
              </a:path>
            </a:pathLst>
          </a:custGeom>
          <a:solidFill>
            <a:srgbClr val="000000"/>
          </a:solidFill>
          <a:ln w="19921" cap="rnd">
            <a:solidFill>
              <a:srgbClr val="000000"/>
            </a:solidFill>
            <a:prstDash val="solid"/>
            <a:miter/>
          </a:ln>
        </p:spPr>
        <p:txBody>
          <a:bodyPr rtlCol="0" anchor="ctr"/>
          <a:lstStyle/>
          <a:p>
            <a:endParaRPr lang="en-US" sz="1633"/>
          </a:p>
        </p:txBody>
      </p:sp>
      <p:sp>
        <p:nvSpPr>
          <p:cNvPr id="82" name="Freihandform: Form 81">
            <a:extLst>
              <a:ext uri="{FF2B5EF4-FFF2-40B4-BE49-F238E27FC236}">
                <a16:creationId xmlns:a16="http://schemas.microsoft.com/office/drawing/2014/main" id="{E056FBE4-42E3-42F2-BA03-D98415D1E818}"/>
              </a:ext>
            </a:extLst>
          </p:cNvPr>
          <p:cNvSpPr/>
          <p:nvPr/>
        </p:nvSpPr>
        <p:spPr>
          <a:xfrm>
            <a:off x="5281286" y="2802212"/>
            <a:ext cx="1918319" cy="1074701"/>
          </a:xfrm>
          <a:custGeom>
            <a:avLst/>
            <a:gdLst>
              <a:gd name="connsiteX0" fmla="*/ 8 w 2114032"/>
              <a:gd name="connsiteY0" fmla="*/ -118 h 1184346"/>
              <a:gd name="connsiteX1" fmla="*/ 2114041 w 2114032"/>
              <a:gd name="connsiteY1" fmla="*/ 1184229 h 1184346"/>
            </a:gdLst>
            <a:ahLst/>
            <a:cxnLst>
              <a:cxn ang="0">
                <a:pos x="connsiteX0" y="connsiteY0"/>
              </a:cxn>
              <a:cxn ang="0">
                <a:pos x="connsiteX1" y="connsiteY1"/>
              </a:cxn>
            </a:cxnLst>
            <a:rect l="l" t="t" r="r" b="b"/>
            <a:pathLst>
              <a:path w="2114032" h="1184346">
                <a:moveTo>
                  <a:pt x="8" y="-118"/>
                </a:moveTo>
                <a:lnTo>
                  <a:pt x="2114041" y="1184229"/>
                </a:lnTo>
              </a:path>
            </a:pathLst>
          </a:custGeom>
          <a:solidFill>
            <a:srgbClr val="000000"/>
          </a:solidFill>
          <a:ln w="19921" cap="rnd">
            <a:solidFill>
              <a:srgbClr val="000000"/>
            </a:solidFill>
            <a:prstDash val="solid"/>
            <a:miter/>
          </a:ln>
        </p:spPr>
        <p:txBody>
          <a:bodyPr rtlCol="0" anchor="ctr"/>
          <a:lstStyle/>
          <a:p>
            <a:endParaRPr lang="en-US" sz="1633"/>
          </a:p>
        </p:txBody>
      </p:sp>
      <p:sp>
        <p:nvSpPr>
          <p:cNvPr id="83" name="Freihandform: Form 82">
            <a:extLst>
              <a:ext uri="{FF2B5EF4-FFF2-40B4-BE49-F238E27FC236}">
                <a16:creationId xmlns:a16="http://schemas.microsoft.com/office/drawing/2014/main" id="{C1B07711-556B-46C5-9AA1-374823529980}"/>
              </a:ext>
            </a:extLst>
          </p:cNvPr>
          <p:cNvSpPr/>
          <p:nvPr/>
        </p:nvSpPr>
        <p:spPr>
          <a:xfrm>
            <a:off x="2932203" y="2097180"/>
            <a:ext cx="1335633" cy="1743323"/>
          </a:xfrm>
          <a:custGeom>
            <a:avLst/>
            <a:gdLst>
              <a:gd name="connsiteX0" fmla="*/ 8 w 1471899"/>
              <a:gd name="connsiteY0" fmla="*/ -118 h 1921182"/>
              <a:gd name="connsiteX1" fmla="*/ 1471908 w 1471899"/>
              <a:gd name="connsiteY1" fmla="*/ 1921065 h 1921182"/>
            </a:gdLst>
            <a:ahLst/>
            <a:cxnLst>
              <a:cxn ang="0">
                <a:pos x="connsiteX0" y="connsiteY0"/>
              </a:cxn>
              <a:cxn ang="0">
                <a:pos x="connsiteX1" y="connsiteY1"/>
              </a:cxn>
            </a:cxnLst>
            <a:rect l="l" t="t" r="r" b="b"/>
            <a:pathLst>
              <a:path w="1471899" h="1921182">
                <a:moveTo>
                  <a:pt x="8" y="-118"/>
                </a:moveTo>
                <a:lnTo>
                  <a:pt x="1471908" y="1921065"/>
                </a:lnTo>
              </a:path>
            </a:pathLst>
          </a:custGeom>
          <a:solidFill>
            <a:srgbClr val="000000"/>
          </a:solidFill>
          <a:ln w="19921" cap="rnd">
            <a:solidFill>
              <a:srgbClr val="000000"/>
            </a:solidFill>
            <a:prstDash val="solid"/>
            <a:miter/>
          </a:ln>
        </p:spPr>
        <p:txBody>
          <a:bodyPr rtlCol="0" anchor="ctr"/>
          <a:lstStyle/>
          <a:p>
            <a:endParaRPr lang="en-US" sz="1633"/>
          </a:p>
        </p:txBody>
      </p:sp>
      <p:sp>
        <p:nvSpPr>
          <p:cNvPr id="84" name="Freihandform: Form 83">
            <a:extLst>
              <a:ext uri="{FF2B5EF4-FFF2-40B4-BE49-F238E27FC236}">
                <a16:creationId xmlns:a16="http://schemas.microsoft.com/office/drawing/2014/main" id="{9FB6A949-9BB3-401B-84EC-C2B075E4234F}"/>
              </a:ext>
            </a:extLst>
          </p:cNvPr>
          <p:cNvSpPr/>
          <p:nvPr/>
        </p:nvSpPr>
        <p:spPr>
          <a:xfrm>
            <a:off x="2494296" y="3658449"/>
            <a:ext cx="1737345" cy="291282"/>
          </a:xfrm>
          <a:custGeom>
            <a:avLst/>
            <a:gdLst>
              <a:gd name="connsiteX0" fmla="*/ 8 w 1914595"/>
              <a:gd name="connsiteY0" fmla="*/ -118 h 321000"/>
              <a:gd name="connsiteX1" fmla="*/ 1914604 w 1914595"/>
              <a:gd name="connsiteY1" fmla="*/ 320882 h 321000"/>
            </a:gdLst>
            <a:ahLst/>
            <a:cxnLst>
              <a:cxn ang="0">
                <a:pos x="connsiteX0" y="connsiteY0"/>
              </a:cxn>
              <a:cxn ang="0">
                <a:pos x="connsiteX1" y="connsiteY1"/>
              </a:cxn>
            </a:cxnLst>
            <a:rect l="l" t="t" r="r" b="b"/>
            <a:pathLst>
              <a:path w="1914595" h="321000">
                <a:moveTo>
                  <a:pt x="8" y="-118"/>
                </a:moveTo>
                <a:lnTo>
                  <a:pt x="1914604" y="320882"/>
                </a:lnTo>
              </a:path>
            </a:pathLst>
          </a:custGeom>
          <a:solidFill>
            <a:srgbClr val="000000"/>
          </a:solidFill>
          <a:ln w="19921" cap="rnd">
            <a:solidFill>
              <a:srgbClr val="000000"/>
            </a:solidFill>
            <a:prstDash val="solid"/>
            <a:miter/>
          </a:ln>
        </p:spPr>
        <p:txBody>
          <a:bodyPr rtlCol="0" anchor="ctr"/>
          <a:lstStyle/>
          <a:p>
            <a:endParaRPr lang="en-US" sz="1633"/>
          </a:p>
        </p:txBody>
      </p:sp>
      <p:sp>
        <p:nvSpPr>
          <p:cNvPr id="85" name="Freihandform: Form 84">
            <a:extLst>
              <a:ext uri="{FF2B5EF4-FFF2-40B4-BE49-F238E27FC236}">
                <a16:creationId xmlns:a16="http://schemas.microsoft.com/office/drawing/2014/main" id="{A6198013-AD1B-48E6-8A3E-06AAF43A9783}"/>
              </a:ext>
            </a:extLst>
          </p:cNvPr>
          <p:cNvSpPr/>
          <p:nvPr/>
        </p:nvSpPr>
        <p:spPr>
          <a:xfrm>
            <a:off x="3778383" y="2343424"/>
            <a:ext cx="598037" cy="1497079"/>
          </a:xfrm>
          <a:custGeom>
            <a:avLst/>
            <a:gdLst>
              <a:gd name="connsiteX0" fmla="*/ 8 w 659051"/>
              <a:gd name="connsiteY0" fmla="*/ -118 h 1649816"/>
              <a:gd name="connsiteX1" fmla="*/ 659059 w 659051"/>
              <a:gd name="connsiteY1" fmla="*/ 1649699 h 1649816"/>
            </a:gdLst>
            <a:ahLst/>
            <a:cxnLst>
              <a:cxn ang="0">
                <a:pos x="connsiteX0" y="connsiteY0"/>
              </a:cxn>
              <a:cxn ang="0">
                <a:pos x="connsiteX1" y="connsiteY1"/>
              </a:cxn>
            </a:cxnLst>
            <a:rect l="l" t="t" r="r" b="b"/>
            <a:pathLst>
              <a:path w="659051" h="1649816">
                <a:moveTo>
                  <a:pt x="8" y="-118"/>
                </a:moveTo>
                <a:lnTo>
                  <a:pt x="659059" y="1649699"/>
                </a:lnTo>
              </a:path>
            </a:pathLst>
          </a:custGeom>
          <a:solidFill>
            <a:srgbClr val="000000"/>
          </a:solidFill>
          <a:ln w="19921" cap="rnd">
            <a:solidFill>
              <a:srgbClr val="000000"/>
            </a:solidFill>
            <a:prstDash val="solid"/>
            <a:miter/>
          </a:ln>
        </p:spPr>
        <p:txBody>
          <a:bodyPr rtlCol="0" anchor="ctr"/>
          <a:lstStyle/>
          <a:p>
            <a:endParaRPr lang="en-US" sz="1633"/>
          </a:p>
        </p:txBody>
      </p:sp>
      <p:sp>
        <p:nvSpPr>
          <p:cNvPr id="86" name="Freihandform: Form 85">
            <a:extLst>
              <a:ext uri="{FF2B5EF4-FFF2-40B4-BE49-F238E27FC236}">
                <a16:creationId xmlns:a16="http://schemas.microsoft.com/office/drawing/2014/main" id="{FA854044-5863-411F-86E1-8257234953FC}"/>
              </a:ext>
            </a:extLst>
          </p:cNvPr>
          <p:cNvSpPr/>
          <p:nvPr/>
        </p:nvSpPr>
        <p:spPr>
          <a:xfrm>
            <a:off x="3978279" y="2256058"/>
            <a:ext cx="470531" cy="109231"/>
          </a:xfrm>
          <a:custGeom>
            <a:avLst/>
            <a:gdLst>
              <a:gd name="connsiteX0" fmla="*/ 518544 w 518536"/>
              <a:gd name="connsiteY0" fmla="*/ 120257 h 120375"/>
              <a:gd name="connsiteX1" fmla="*/ 8 w 518536"/>
              <a:gd name="connsiteY1" fmla="*/ -118 h 120375"/>
            </a:gdLst>
            <a:ahLst/>
            <a:cxnLst>
              <a:cxn ang="0">
                <a:pos x="connsiteX0" y="connsiteY0"/>
              </a:cxn>
              <a:cxn ang="0">
                <a:pos x="connsiteX1" y="connsiteY1"/>
              </a:cxn>
            </a:cxnLst>
            <a:rect l="l" t="t" r="r" b="b"/>
            <a:pathLst>
              <a:path w="518536" h="120375">
                <a:moveTo>
                  <a:pt x="518544" y="120257"/>
                </a:moveTo>
                <a:lnTo>
                  <a:pt x="8" y="-118"/>
                </a:lnTo>
              </a:path>
            </a:pathLst>
          </a:custGeom>
          <a:solidFill>
            <a:srgbClr val="000000"/>
          </a:solidFill>
          <a:ln w="19921" cap="rnd">
            <a:solidFill>
              <a:srgbClr val="000000"/>
            </a:solidFill>
            <a:prstDash val="solid"/>
            <a:miter/>
          </a:ln>
        </p:spPr>
        <p:txBody>
          <a:bodyPr rtlCol="0" anchor="ctr"/>
          <a:lstStyle/>
          <a:p>
            <a:endParaRPr lang="en-US" sz="1633"/>
          </a:p>
        </p:txBody>
      </p:sp>
      <p:sp>
        <p:nvSpPr>
          <p:cNvPr id="87" name="Freihandform: Form 86">
            <a:extLst>
              <a:ext uri="{FF2B5EF4-FFF2-40B4-BE49-F238E27FC236}">
                <a16:creationId xmlns:a16="http://schemas.microsoft.com/office/drawing/2014/main" id="{61B9EF45-D0E9-4A9C-A6C3-24D85BD3BC97}"/>
              </a:ext>
            </a:extLst>
          </p:cNvPr>
          <p:cNvSpPr/>
          <p:nvPr/>
        </p:nvSpPr>
        <p:spPr>
          <a:xfrm>
            <a:off x="5104702" y="2914376"/>
            <a:ext cx="540753" cy="1617920"/>
          </a:xfrm>
          <a:custGeom>
            <a:avLst/>
            <a:gdLst>
              <a:gd name="connsiteX0" fmla="*/ 595931 w 595922"/>
              <a:gd name="connsiteY0" fmla="*/ 1782868 h 1782986"/>
              <a:gd name="connsiteX1" fmla="*/ 8 w 595922"/>
              <a:gd name="connsiteY1" fmla="*/ -118 h 1782986"/>
            </a:gdLst>
            <a:ahLst/>
            <a:cxnLst>
              <a:cxn ang="0">
                <a:pos x="connsiteX0" y="connsiteY0"/>
              </a:cxn>
              <a:cxn ang="0">
                <a:pos x="connsiteX1" y="connsiteY1"/>
              </a:cxn>
            </a:cxnLst>
            <a:rect l="l" t="t" r="r" b="b"/>
            <a:pathLst>
              <a:path w="595922" h="1782986">
                <a:moveTo>
                  <a:pt x="595931" y="1782868"/>
                </a:moveTo>
                <a:lnTo>
                  <a:pt x="8" y="-118"/>
                </a:lnTo>
              </a:path>
            </a:pathLst>
          </a:custGeom>
          <a:noFill/>
          <a:ln w="19921" cap="rnd">
            <a:solidFill>
              <a:srgbClr val="000000"/>
            </a:solidFill>
            <a:prstDash val="solid"/>
            <a:miter/>
          </a:ln>
        </p:spPr>
        <p:txBody>
          <a:bodyPr rtlCol="0" anchor="ctr"/>
          <a:lstStyle/>
          <a:p>
            <a:endParaRPr lang="en-US" sz="1633"/>
          </a:p>
        </p:txBody>
      </p:sp>
      <p:sp>
        <p:nvSpPr>
          <p:cNvPr id="88" name="Freihandform: Form 87" hidden="1">
            <a:extLst>
              <a:ext uri="{FF2B5EF4-FFF2-40B4-BE49-F238E27FC236}">
                <a16:creationId xmlns:a16="http://schemas.microsoft.com/office/drawing/2014/main" id="{41A56FC8-01D5-4BE8-8DCE-A5874B52DDCC}"/>
              </a:ext>
            </a:extLst>
          </p:cNvPr>
          <p:cNvSpPr/>
          <p:nvPr/>
        </p:nvSpPr>
        <p:spPr>
          <a:xfrm>
            <a:off x="3942079" y="4313835"/>
            <a:ext cx="217168" cy="218462"/>
          </a:xfrm>
          <a:custGeom>
            <a:avLst/>
            <a:gdLst>
              <a:gd name="connsiteX0" fmla="*/ 239333 w 239324"/>
              <a:gd name="connsiteY0" fmla="*/ 120257 h 240750"/>
              <a:gd name="connsiteX1" fmla="*/ 119670 w 239324"/>
              <a:gd name="connsiteY1" fmla="*/ 240632 h 240750"/>
              <a:gd name="connsiteX2" fmla="*/ 8 w 239324"/>
              <a:gd name="connsiteY2" fmla="*/ 120257 h 240750"/>
              <a:gd name="connsiteX3" fmla="*/ 119670 w 239324"/>
              <a:gd name="connsiteY3" fmla="*/ -118 h 240750"/>
              <a:gd name="connsiteX4" fmla="*/ 239333 w 239324"/>
              <a:gd name="connsiteY4" fmla="*/ 120257 h 24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324" h="240750">
                <a:moveTo>
                  <a:pt x="239333" y="120257"/>
                </a:moveTo>
                <a:cubicBezTo>
                  <a:pt x="239333" y="186739"/>
                  <a:pt x="185758" y="240632"/>
                  <a:pt x="119670" y="240632"/>
                </a:cubicBezTo>
                <a:cubicBezTo>
                  <a:pt x="53583" y="240632"/>
                  <a:pt x="8" y="186739"/>
                  <a:pt x="8" y="120257"/>
                </a:cubicBezTo>
                <a:cubicBezTo>
                  <a:pt x="8" y="53776"/>
                  <a:pt x="53583" y="-118"/>
                  <a:pt x="119670" y="-118"/>
                </a:cubicBezTo>
                <a:cubicBezTo>
                  <a:pt x="185758" y="-118"/>
                  <a:pt x="239333" y="53776"/>
                  <a:pt x="239333" y="120257"/>
                </a:cubicBezTo>
                <a:close/>
              </a:path>
            </a:pathLst>
          </a:custGeom>
          <a:solidFill>
            <a:srgbClr val="FFFFFF"/>
          </a:solidFill>
          <a:ln w="19921" cap="rnd">
            <a:solidFill>
              <a:srgbClr val="000000"/>
            </a:solidFill>
            <a:prstDash val="solid"/>
            <a:miter/>
          </a:ln>
        </p:spPr>
        <p:txBody>
          <a:bodyPr rtlCol="0" anchor="ctr"/>
          <a:lstStyle/>
          <a:p>
            <a:endParaRPr lang="en-US" sz="1633"/>
          </a:p>
        </p:txBody>
      </p:sp>
      <p:sp>
        <p:nvSpPr>
          <p:cNvPr id="89" name="Textfeld 88" hidden="1">
            <a:extLst>
              <a:ext uri="{FF2B5EF4-FFF2-40B4-BE49-F238E27FC236}">
                <a16:creationId xmlns:a16="http://schemas.microsoft.com/office/drawing/2014/main" id="{FE8AF5D6-E34A-4BF5-AAF2-D731AA01408F}"/>
              </a:ext>
            </a:extLst>
          </p:cNvPr>
          <p:cNvSpPr txBox="1"/>
          <p:nvPr/>
        </p:nvSpPr>
        <p:spPr>
          <a:xfrm>
            <a:off x="3928689" y="4282757"/>
            <a:ext cx="266420" cy="268215"/>
          </a:xfrm>
          <a:prstGeom prst="rect">
            <a:avLst/>
          </a:prstGeom>
          <a:noFill/>
        </p:spPr>
        <p:txBody>
          <a:bodyPr wrap="none" rtlCol="0">
            <a:spAutoFit/>
          </a:bodyPr>
          <a:lstStyle/>
          <a:p>
            <a:pPr algn="l"/>
            <a:r>
              <a:rPr lang="en-US" sz="1143" b="1">
                <a:solidFill>
                  <a:srgbClr val="000000"/>
                </a:solidFill>
                <a:latin typeface="Arial"/>
                <a:cs typeface="Arial"/>
                <a:sym typeface="Arial"/>
                <a:rtl val="0"/>
              </a:rPr>
              <a:t>1</a:t>
            </a:r>
          </a:p>
        </p:txBody>
      </p:sp>
      <p:sp>
        <p:nvSpPr>
          <p:cNvPr id="90" name="Freihandform: Form 89" hidden="1">
            <a:extLst>
              <a:ext uri="{FF2B5EF4-FFF2-40B4-BE49-F238E27FC236}">
                <a16:creationId xmlns:a16="http://schemas.microsoft.com/office/drawing/2014/main" id="{77FB8DDC-015D-48F2-BF29-C23D047241D4}"/>
              </a:ext>
            </a:extLst>
          </p:cNvPr>
          <p:cNvSpPr/>
          <p:nvPr/>
        </p:nvSpPr>
        <p:spPr>
          <a:xfrm>
            <a:off x="2521438" y="2202038"/>
            <a:ext cx="217168" cy="218462"/>
          </a:xfrm>
          <a:custGeom>
            <a:avLst/>
            <a:gdLst>
              <a:gd name="connsiteX0" fmla="*/ 239333 w 239324"/>
              <a:gd name="connsiteY0" fmla="*/ 120257 h 240750"/>
              <a:gd name="connsiteX1" fmla="*/ 119670 w 239324"/>
              <a:gd name="connsiteY1" fmla="*/ 240632 h 240750"/>
              <a:gd name="connsiteX2" fmla="*/ 8 w 239324"/>
              <a:gd name="connsiteY2" fmla="*/ 120257 h 240750"/>
              <a:gd name="connsiteX3" fmla="*/ 119670 w 239324"/>
              <a:gd name="connsiteY3" fmla="*/ -118 h 240750"/>
              <a:gd name="connsiteX4" fmla="*/ 239333 w 239324"/>
              <a:gd name="connsiteY4" fmla="*/ 120257 h 24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324" h="240750">
                <a:moveTo>
                  <a:pt x="239333" y="120257"/>
                </a:moveTo>
                <a:cubicBezTo>
                  <a:pt x="239333" y="186739"/>
                  <a:pt x="185758" y="240632"/>
                  <a:pt x="119670" y="240632"/>
                </a:cubicBezTo>
                <a:cubicBezTo>
                  <a:pt x="53583" y="240632"/>
                  <a:pt x="8" y="186739"/>
                  <a:pt x="8" y="120257"/>
                </a:cubicBezTo>
                <a:cubicBezTo>
                  <a:pt x="8" y="53776"/>
                  <a:pt x="53583" y="-118"/>
                  <a:pt x="119670" y="-118"/>
                </a:cubicBezTo>
                <a:cubicBezTo>
                  <a:pt x="185758" y="-118"/>
                  <a:pt x="239333" y="53776"/>
                  <a:pt x="239333" y="120257"/>
                </a:cubicBezTo>
                <a:close/>
              </a:path>
            </a:pathLst>
          </a:custGeom>
          <a:solidFill>
            <a:srgbClr val="FFFFFF"/>
          </a:solidFill>
          <a:ln w="19921" cap="rnd">
            <a:solidFill>
              <a:srgbClr val="000000"/>
            </a:solidFill>
            <a:prstDash val="solid"/>
            <a:miter/>
          </a:ln>
        </p:spPr>
        <p:txBody>
          <a:bodyPr rtlCol="0" anchor="ctr"/>
          <a:lstStyle/>
          <a:p>
            <a:endParaRPr lang="en-US" sz="1633"/>
          </a:p>
        </p:txBody>
      </p:sp>
      <p:sp>
        <p:nvSpPr>
          <p:cNvPr id="91" name="Textfeld 90" hidden="1">
            <a:extLst>
              <a:ext uri="{FF2B5EF4-FFF2-40B4-BE49-F238E27FC236}">
                <a16:creationId xmlns:a16="http://schemas.microsoft.com/office/drawing/2014/main" id="{4E9B8E9E-58E6-4FA6-B3BD-99945A45BBF2}"/>
              </a:ext>
            </a:extLst>
          </p:cNvPr>
          <p:cNvSpPr txBox="1"/>
          <p:nvPr/>
        </p:nvSpPr>
        <p:spPr>
          <a:xfrm>
            <a:off x="2511663" y="2170898"/>
            <a:ext cx="266420" cy="268215"/>
          </a:xfrm>
          <a:prstGeom prst="rect">
            <a:avLst/>
          </a:prstGeom>
          <a:noFill/>
        </p:spPr>
        <p:txBody>
          <a:bodyPr wrap="none" rtlCol="0">
            <a:spAutoFit/>
          </a:bodyPr>
          <a:lstStyle/>
          <a:p>
            <a:pPr algn="l"/>
            <a:r>
              <a:rPr lang="en-US" sz="1143" b="1">
                <a:solidFill>
                  <a:srgbClr val="000000"/>
                </a:solidFill>
                <a:latin typeface="Arial"/>
                <a:cs typeface="Arial"/>
                <a:sym typeface="Arial"/>
                <a:rtl val="0"/>
              </a:rPr>
              <a:t>3</a:t>
            </a:r>
          </a:p>
        </p:txBody>
      </p:sp>
      <p:sp>
        <p:nvSpPr>
          <p:cNvPr id="92" name="Freihandform: Form 91" hidden="1">
            <a:extLst>
              <a:ext uri="{FF2B5EF4-FFF2-40B4-BE49-F238E27FC236}">
                <a16:creationId xmlns:a16="http://schemas.microsoft.com/office/drawing/2014/main" id="{C314C5A5-A399-4868-8DDD-E15E1D3048E7}"/>
              </a:ext>
            </a:extLst>
          </p:cNvPr>
          <p:cNvSpPr/>
          <p:nvPr/>
        </p:nvSpPr>
        <p:spPr>
          <a:xfrm>
            <a:off x="5392239" y="3101039"/>
            <a:ext cx="217168" cy="218462"/>
          </a:xfrm>
          <a:custGeom>
            <a:avLst/>
            <a:gdLst>
              <a:gd name="connsiteX0" fmla="*/ 239333 w 239324"/>
              <a:gd name="connsiteY0" fmla="*/ 120257 h 240750"/>
              <a:gd name="connsiteX1" fmla="*/ 119670 w 239324"/>
              <a:gd name="connsiteY1" fmla="*/ 240632 h 240750"/>
              <a:gd name="connsiteX2" fmla="*/ 8 w 239324"/>
              <a:gd name="connsiteY2" fmla="*/ 120257 h 240750"/>
              <a:gd name="connsiteX3" fmla="*/ 119670 w 239324"/>
              <a:gd name="connsiteY3" fmla="*/ -118 h 240750"/>
              <a:gd name="connsiteX4" fmla="*/ 239333 w 239324"/>
              <a:gd name="connsiteY4" fmla="*/ 120257 h 24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324" h="240750">
                <a:moveTo>
                  <a:pt x="239333" y="120257"/>
                </a:moveTo>
                <a:cubicBezTo>
                  <a:pt x="239333" y="186739"/>
                  <a:pt x="185758" y="240632"/>
                  <a:pt x="119670" y="240632"/>
                </a:cubicBezTo>
                <a:cubicBezTo>
                  <a:pt x="53583" y="240632"/>
                  <a:pt x="8" y="186739"/>
                  <a:pt x="8" y="120257"/>
                </a:cubicBezTo>
                <a:cubicBezTo>
                  <a:pt x="8" y="53776"/>
                  <a:pt x="53583" y="-118"/>
                  <a:pt x="119670" y="-118"/>
                </a:cubicBezTo>
                <a:cubicBezTo>
                  <a:pt x="185758" y="-118"/>
                  <a:pt x="239333" y="53776"/>
                  <a:pt x="239333" y="120257"/>
                </a:cubicBezTo>
                <a:close/>
              </a:path>
            </a:pathLst>
          </a:custGeom>
          <a:solidFill>
            <a:srgbClr val="FFFFFF"/>
          </a:solidFill>
          <a:ln w="19921" cap="rnd">
            <a:solidFill>
              <a:srgbClr val="000000"/>
            </a:solidFill>
            <a:prstDash val="solid"/>
            <a:miter/>
          </a:ln>
        </p:spPr>
        <p:txBody>
          <a:bodyPr rtlCol="0" anchor="ctr"/>
          <a:lstStyle/>
          <a:p>
            <a:endParaRPr lang="en-US" sz="1633"/>
          </a:p>
        </p:txBody>
      </p:sp>
      <p:sp>
        <p:nvSpPr>
          <p:cNvPr id="93" name="Textfeld 92" hidden="1">
            <a:extLst>
              <a:ext uri="{FF2B5EF4-FFF2-40B4-BE49-F238E27FC236}">
                <a16:creationId xmlns:a16="http://schemas.microsoft.com/office/drawing/2014/main" id="{AB3E8D63-DBF7-4D04-896D-670ED3D7402E}"/>
              </a:ext>
            </a:extLst>
          </p:cNvPr>
          <p:cNvSpPr txBox="1"/>
          <p:nvPr/>
        </p:nvSpPr>
        <p:spPr>
          <a:xfrm>
            <a:off x="5382154" y="3070811"/>
            <a:ext cx="266420" cy="268215"/>
          </a:xfrm>
          <a:prstGeom prst="rect">
            <a:avLst/>
          </a:prstGeom>
          <a:noFill/>
        </p:spPr>
        <p:txBody>
          <a:bodyPr wrap="none" rtlCol="0">
            <a:spAutoFit/>
          </a:bodyPr>
          <a:lstStyle/>
          <a:p>
            <a:pPr algn="l"/>
            <a:r>
              <a:rPr lang="en-US" sz="1143" b="1">
                <a:solidFill>
                  <a:srgbClr val="000000"/>
                </a:solidFill>
                <a:latin typeface="Arial"/>
                <a:cs typeface="Arial"/>
                <a:sym typeface="Arial"/>
                <a:rtl val="0"/>
              </a:rPr>
              <a:t>2</a:t>
            </a:r>
          </a:p>
        </p:txBody>
      </p:sp>
      <p:sp>
        <p:nvSpPr>
          <p:cNvPr id="94" name="Freihandform: Form 93" hidden="1">
            <a:extLst>
              <a:ext uri="{FF2B5EF4-FFF2-40B4-BE49-F238E27FC236}">
                <a16:creationId xmlns:a16="http://schemas.microsoft.com/office/drawing/2014/main" id="{68CED922-4AF3-43A1-B915-B0725A5FD8FF}"/>
              </a:ext>
            </a:extLst>
          </p:cNvPr>
          <p:cNvSpPr/>
          <p:nvPr/>
        </p:nvSpPr>
        <p:spPr>
          <a:xfrm>
            <a:off x="4376416" y="2074004"/>
            <a:ext cx="217168" cy="218462"/>
          </a:xfrm>
          <a:custGeom>
            <a:avLst/>
            <a:gdLst>
              <a:gd name="connsiteX0" fmla="*/ 239333 w 239324"/>
              <a:gd name="connsiteY0" fmla="*/ 120257 h 240750"/>
              <a:gd name="connsiteX1" fmla="*/ 119670 w 239324"/>
              <a:gd name="connsiteY1" fmla="*/ 240632 h 240750"/>
              <a:gd name="connsiteX2" fmla="*/ 8 w 239324"/>
              <a:gd name="connsiteY2" fmla="*/ 120257 h 240750"/>
              <a:gd name="connsiteX3" fmla="*/ 119670 w 239324"/>
              <a:gd name="connsiteY3" fmla="*/ -118 h 240750"/>
              <a:gd name="connsiteX4" fmla="*/ 239333 w 239324"/>
              <a:gd name="connsiteY4" fmla="*/ 120257 h 24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324" h="240750">
                <a:moveTo>
                  <a:pt x="239333" y="120257"/>
                </a:moveTo>
                <a:cubicBezTo>
                  <a:pt x="239333" y="186739"/>
                  <a:pt x="185758" y="240632"/>
                  <a:pt x="119670" y="240632"/>
                </a:cubicBezTo>
                <a:cubicBezTo>
                  <a:pt x="53583" y="240632"/>
                  <a:pt x="8" y="186739"/>
                  <a:pt x="8" y="120257"/>
                </a:cubicBezTo>
                <a:cubicBezTo>
                  <a:pt x="8" y="53776"/>
                  <a:pt x="53583" y="-118"/>
                  <a:pt x="119670" y="-118"/>
                </a:cubicBezTo>
                <a:cubicBezTo>
                  <a:pt x="185758" y="-118"/>
                  <a:pt x="239333" y="53776"/>
                  <a:pt x="239333" y="120257"/>
                </a:cubicBezTo>
                <a:close/>
              </a:path>
            </a:pathLst>
          </a:custGeom>
          <a:solidFill>
            <a:srgbClr val="FFFFFF"/>
          </a:solidFill>
          <a:ln w="19921" cap="rnd">
            <a:solidFill>
              <a:srgbClr val="000000"/>
            </a:solidFill>
            <a:prstDash val="solid"/>
            <a:miter/>
          </a:ln>
        </p:spPr>
        <p:txBody>
          <a:bodyPr rtlCol="0" anchor="ctr"/>
          <a:lstStyle/>
          <a:p>
            <a:endParaRPr lang="en-US" sz="1633"/>
          </a:p>
        </p:txBody>
      </p:sp>
      <p:sp>
        <p:nvSpPr>
          <p:cNvPr id="95" name="Textfeld 94" hidden="1">
            <a:extLst>
              <a:ext uri="{FF2B5EF4-FFF2-40B4-BE49-F238E27FC236}">
                <a16:creationId xmlns:a16="http://schemas.microsoft.com/office/drawing/2014/main" id="{7DA31FA6-FB42-4C46-840F-06053A52C0A6}"/>
              </a:ext>
            </a:extLst>
          </p:cNvPr>
          <p:cNvSpPr txBox="1"/>
          <p:nvPr/>
        </p:nvSpPr>
        <p:spPr>
          <a:xfrm>
            <a:off x="4347735" y="2042928"/>
            <a:ext cx="290464" cy="268215"/>
          </a:xfrm>
          <a:prstGeom prst="rect">
            <a:avLst/>
          </a:prstGeom>
          <a:noFill/>
        </p:spPr>
        <p:txBody>
          <a:bodyPr wrap="none" rtlCol="0">
            <a:spAutoFit/>
          </a:bodyPr>
          <a:lstStyle/>
          <a:p>
            <a:pPr algn="l"/>
            <a:r>
              <a:rPr lang="en-US" sz="1143" b="1">
                <a:solidFill>
                  <a:srgbClr val="000000"/>
                </a:solidFill>
                <a:latin typeface="Arial"/>
                <a:cs typeface="Arial"/>
                <a:sym typeface="Arial"/>
                <a:rtl val="0"/>
              </a:rPr>
              <a:t>H</a:t>
            </a:r>
          </a:p>
        </p:txBody>
      </p:sp>
      <p:sp>
        <p:nvSpPr>
          <p:cNvPr id="96" name="Freihandform: Form 95" hidden="1">
            <a:extLst>
              <a:ext uri="{FF2B5EF4-FFF2-40B4-BE49-F238E27FC236}">
                <a16:creationId xmlns:a16="http://schemas.microsoft.com/office/drawing/2014/main" id="{311A6F52-51B2-432D-9877-DC91226EC6C7}"/>
              </a:ext>
            </a:extLst>
          </p:cNvPr>
          <p:cNvSpPr/>
          <p:nvPr/>
        </p:nvSpPr>
        <p:spPr>
          <a:xfrm>
            <a:off x="3580132" y="2711783"/>
            <a:ext cx="217168" cy="218462"/>
          </a:xfrm>
          <a:custGeom>
            <a:avLst/>
            <a:gdLst>
              <a:gd name="connsiteX0" fmla="*/ 239333 w 239324"/>
              <a:gd name="connsiteY0" fmla="*/ 120257 h 240750"/>
              <a:gd name="connsiteX1" fmla="*/ 119670 w 239324"/>
              <a:gd name="connsiteY1" fmla="*/ 240632 h 240750"/>
              <a:gd name="connsiteX2" fmla="*/ 8 w 239324"/>
              <a:gd name="connsiteY2" fmla="*/ 120257 h 240750"/>
              <a:gd name="connsiteX3" fmla="*/ 119670 w 239324"/>
              <a:gd name="connsiteY3" fmla="*/ -118 h 240750"/>
              <a:gd name="connsiteX4" fmla="*/ 239333 w 239324"/>
              <a:gd name="connsiteY4" fmla="*/ 120257 h 24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324" h="240750">
                <a:moveTo>
                  <a:pt x="239333" y="120257"/>
                </a:moveTo>
                <a:cubicBezTo>
                  <a:pt x="239333" y="186739"/>
                  <a:pt x="185758" y="240632"/>
                  <a:pt x="119670" y="240632"/>
                </a:cubicBezTo>
                <a:cubicBezTo>
                  <a:pt x="53583" y="240632"/>
                  <a:pt x="8" y="186739"/>
                  <a:pt x="8" y="120257"/>
                </a:cubicBezTo>
                <a:cubicBezTo>
                  <a:pt x="8" y="53776"/>
                  <a:pt x="53583" y="-118"/>
                  <a:pt x="119670" y="-118"/>
                </a:cubicBezTo>
                <a:cubicBezTo>
                  <a:pt x="185758" y="-118"/>
                  <a:pt x="239333" y="53776"/>
                  <a:pt x="239333" y="120257"/>
                </a:cubicBezTo>
                <a:close/>
              </a:path>
            </a:pathLst>
          </a:custGeom>
          <a:solidFill>
            <a:srgbClr val="FFFFFF"/>
          </a:solidFill>
          <a:ln w="19921" cap="rnd">
            <a:solidFill>
              <a:srgbClr val="000000"/>
            </a:solidFill>
            <a:prstDash val="solid"/>
            <a:miter/>
          </a:ln>
        </p:spPr>
        <p:txBody>
          <a:bodyPr rtlCol="0" anchor="ctr"/>
          <a:lstStyle/>
          <a:p>
            <a:endParaRPr lang="en-US" sz="1633"/>
          </a:p>
        </p:txBody>
      </p:sp>
      <p:sp>
        <p:nvSpPr>
          <p:cNvPr id="97" name="Textfeld 96" hidden="1">
            <a:extLst>
              <a:ext uri="{FF2B5EF4-FFF2-40B4-BE49-F238E27FC236}">
                <a16:creationId xmlns:a16="http://schemas.microsoft.com/office/drawing/2014/main" id="{BAD7A518-FA86-461B-BC87-5AB278CF5FA7}"/>
              </a:ext>
            </a:extLst>
          </p:cNvPr>
          <p:cNvSpPr txBox="1"/>
          <p:nvPr/>
        </p:nvSpPr>
        <p:spPr>
          <a:xfrm>
            <a:off x="3569051" y="2680706"/>
            <a:ext cx="274434" cy="268215"/>
          </a:xfrm>
          <a:prstGeom prst="rect">
            <a:avLst/>
          </a:prstGeom>
          <a:noFill/>
        </p:spPr>
        <p:txBody>
          <a:bodyPr wrap="none" rtlCol="0">
            <a:spAutoFit/>
          </a:bodyPr>
          <a:lstStyle/>
          <a:p>
            <a:pPr algn="l"/>
            <a:r>
              <a:rPr lang="en-US" sz="1143" b="1">
                <a:solidFill>
                  <a:srgbClr val="000000"/>
                </a:solidFill>
                <a:latin typeface="Arial"/>
                <a:cs typeface="Arial"/>
                <a:sym typeface="Arial"/>
                <a:rtl val="0"/>
              </a:rPr>
              <a:t>F</a:t>
            </a:r>
          </a:p>
        </p:txBody>
      </p:sp>
      <p:sp>
        <p:nvSpPr>
          <p:cNvPr id="98" name="Freihandform: Form 97" hidden="1">
            <a:extLst>
              <a:ext uri="{FF2B5EF4-FFF2-40B4-BE49-F238E27FC236}">
                <a16:creationId xmlns:a16="http://schemas.microsoft.com/office/drawing/2014/main" id="{8B740CD3-0628-4FC2-A8E6-7B35B74683FA}"/>
              </a:ext>
            </a:extLst>
          </p:cNvPr>
          <p:cNvSpPr/>
          <p:nvPr/>
        </p:nvSpPr>
        <p:spPr>
          <a:xfrm>
            <a:off x="2968628" y="3465988"/>
            <a:ext cx="217168" cy="218462"/>
          </a:xfrm>
          <a:custGeom>
            <a:avLst/>
            <a:gdLst>
              <a:gd name="connsiteX0" fmla="*/ 239333 w 239324"/>
              <a:gd name="connsiteY0" fmla="*/ 120257 h 240750"/>
              <a:gd name="connsiteX1" fmla="*/ 119670 w 239324"/>
              <a:gd name="connsiteY1" fmla="*/ 240632 h 240750"/>
              <a:gd name="connsiteX2" fmla="*/ 8 w 239324"/>
              <a:gd name="connsiteY2" fmla="*/ 120257 h 240750"/>
              <a:gd name="connsiteX3" fmla="*/ 119670 w 239324"/>
              <a:gd name="connsiteY3" fmla="*/ -118 h 240750"/>
              <a:gd name="connsiteX4" fmla="*/ 239333 w 239324"/>
              <a:gd name="connsiteY4" fmla="*/ 120257 h 24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324" h="240750">
                <a:moveTo>
                  <a:pt x="239333" y="120257"/>
                </a:moveTo>
                <a:cubicBezTo>
                  <a:pt x="239333" y="186739"/>
                  <a:pt x="185758" y="240632"/>
                  <a:pt x="119670" y="240632"/>
                </a:cubicBezTo>
                <a:cubicBezTo>
                  <a:pt x="53583" y="240632"/>
                  <a:pt x="8" y="186739"/>
                  <a:pt x="8" y="120257"/>
                </a:cubicBezTo>
                <a:cubicBezTo>
                  <a:pt x="8" y="53776"/>
                  <a:pt x="53583" y="-118"/>
                  <a:pt x="119670" y="-118"/>
                </a:cubicBezTo>
                <a:cubicBezTo>
                  <a:pt x="185758" y="-118"/>
                  <a:pt x="239333" y="53776"/>
                  <a:pt x="239333" y="120257"/>
                </a:cubicBezTo>
                <a:close/>
              </a:path>
            </a:pathLst>
          </a:custGeom>
          <a:solidFill>
            <a:srgbClr val="FFFFFF"/>
          </a:solidFill>
          <a:ln w="19921" cap="rnd">
            <a:solidFill>
              <a:srgbClr val="000000"/>
            </a:solidFill>
            <a:prstDash val="solid"/>
            <a:miter/>
          </a:ln>
        </p:spPr>
        <p:txBody>
          <a:bodyPr rtlCol="0" anchor="ctr"/>
          <a:lstStyle/>
          <a:p>
            <a:endParaRPr lang="en-US" sz="1633"/>
          </a:p>
        </p:txBody>
      </p:sp>
      <p:sp>
        <p:nvSpPr>
          <p:cNvPr id="99" name="Textfeld 98" hidden="1">
            <a:extLst>
              <a:ext uri="{FF2B5EF4-FFF2-40B4-BE49-F238E27FC236}">
                <a16:creationId xmlns:a16="http://schemas.microsoft.com/office/drawing/2014/main" id="{AF3B8B72-766A-4035-92E0-872DE61C686D}"/>
              </a:ext>
            </a:extLst>
          </p:cNvPr>
          <p:cNvSpPr txBox="1"/>
          <p:nvPr/>
        </p:nvSpPr>
        <p:spPr>
          <a:xfrm>
            <a:off x="2939447" y="3434912"/>
            <a:ext cx="290464" cy="268215"/>
          </a:xfrm>
          <a:prstGeom prst="rect">
            <a:avLst/>
          </a:prstGeom>
          <a:noFill/>
        </p:spPr>
        <p:txBody>
          <a:bodyPr wrap="none" rtlCol="0">
            <a:spAutoFit/>
          </a:bodyPr>
          <a:lstStyle/>
          <a:p>
            <a:pPr algn="l"/>
            <a:r>
              <a:rPr lang="en-US" sz="1143" b="1">
                <a:solidFill>
                  <a:srgbClr val="000000"/>
                </a:solidFill>
                <a:latin typeface="Arial"/>
                <a:cs typeface="Arial"/>
                <a:sym typeface="Arial"/>
                <a:rtl val="0"/>
              </a:rPr>
              <a:t>A</a:t>
            </a:r>
          </a:p>
        </p:txBody>
      </p:sp>
      <p:sp>
        <p:nvSpPr>
          <p:cNvPr id="100" name="Freihandform: Form 99" hidden="1">
            <a:extLst>
              <a:ext uri="{FF2B5EF4-FFF2-40B4-BE49-F238E27FC236}">
                <a16:creationId xmlns:a16="http://schemas.microsoft.com/office/drawing/2014/main" id="{93CCB773-6367-4E80-BA71-F5B644B85DCF}"/>
              </a:ext>
            </a:extLst>
          </p:cNvPr>
          <p:cNvSpPr/>
          <p:nvPr/>
        </p:nvSpPr>
        <p:spPr>
          <a:xfrm>
            <a:off x="5394790" y="1735910"/>
            <a:ext cx="503027" cy="494147"/>
          </a:xfrm>
          <a:custGeom>
            <a:avLst/>
            <a:gdLst>
              <a:gd name="connsiteX0" fmla="*/ 554355 w 554347"/>
              <a:gd name="connsiteY0" fmla="*/ -118 h 544561"/>
              <a:gd name="connsiteX1" fmla="*/ 8 w 554347"/>
              <a:gd name="connsiteY1" fmla="*/ 544444 h 544561"/>
            </a:gdLst>
            <a:ahLst/>
            <a:cxnLst>
              <a:cxn ang="0">
                <a:pos x="connsiteX0" y="connsiteY0"/>
              </a:cxn>
              <a:cxn ang="0">
                <a:pos x="connsiteX1" y="connsiteY1"/>
              </a:cxn>
            </a:cxnLst>
            <a:rect l="l" t="t" r="r" b="b"/>
            <a:pathLst>
              <a:path w="554347" h="544561">
                <a:moveTo>
                  <a:pt x="554355" y="-118"/>
                </a:moveTo>
                <a:lnTo>
                  <a:pt x="8" y="544444"/>
                </a:lnTo>
              </a:path>
            </a:pathLst>
          </a:custGeom>
          <a:solidFill>
            <a:srgbClr val="000000"/>
          </a:solidFill>
          <a:ln w="19921" cap="rnd">
            <a:solidFill>
              <a:srgbClr val="000000"/>
            </a:solidFill>
            <a:prstDash val="solid"/>
            <a:miter/>
          </a:ln>
        </p:spPr>
        <p:txBody>
          <a:bodyPr rtlCol="0" anchor="ctr"/>
          <a:lstStyle/>
          <a:p>
            <a:endParaRPr lang="en-US" sz="1633"/>
          </a:p>
        </p:txBody>
      </p:sp>
      <p:sp>
        <p:nvSpPr>
          <p:cNvPr id="101" name="Freihandform: Form 100" hidden="1">
            <a:extLst>
              <a:ext uri="{FF2B5EF4-FFF2-40B4-BE49-F238E27FC236}">
                <a16:creationId xmlns:a16="http://schemas.microsoft.com/office/drawing/2014/main" id="{353022CE-3A3B-4463-AD66-0A2128F2B60B}"/>
              </a:ext>
            </a:extLst>
          </p:cNvPr>
          <p:cNvSpPr/>
          <p:nvPr/>
        </p:nvSpPr>
        <p:spPr>
          <a:xfrm>
            <a:off x="5266493" y="1873747"/>
            <a:ext cx="217168" cy="218462"/>
          </a:xfrm>
          <a:custGeom>
            <a:avLst/>
            <a:gdLst>
              <a:gd name="connsiteX0" fmla="*/ 239333 w 239324"/>
              <a:gd name="connsiteY0" fmla="*/ 120257 h 240750"/>
              <a:gd name="connsiteX1" fmla="*/ 119670 w 239324"/>
              <a:gd name="connsiteY1" fmla="*/ 240632 h 240750"/>
              <a:gd name="connsiteX2" fmla="*/ 8 w 239324"/>
              <a:gd name="connsiteY2" fmla="*/ 120257 h 240750"/>
              <a:gd name="connsiteX3" fmla="*/ 119670 w 239324"/>
              <a:gd name="connsiteY3" fmla="*/ -118 h 240750"/>
              <a:gd name="connsiteX4" fmla="*/ 239333 w 239324"/>
              <a:gd name="connsiteY4" fmla="*/ 120257 h 24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324" h="240750">
                <a:moveTo>
                  <a:pt x="239333" y="120257"/>
                </a:moveTo>
                <a:cubicBezTo>
                  <a:pt x="239333" y="186739"/>
                  <a:pt x="185758" y="240632"/>
                  <a:pt x="119670" y="240632"/>
                </a:cubicBezTo>
                <a:cubicBezTo>
                  <a:pt x="53583" y="240632"/>
                  <a:pt x="8" y="186739"/>
                  <a:pt x="8" y="120257"/>
                </a:cubicBezTo>
                <a:cubicBezTo>
                  <a:pt x="8" y="53776"/>
                  <a:pt x="53583" y="-118"/>
                  <a:pt x="119670" y="-118"/>
                </a:cubicBezTo>
                <a:cubicBezTo>
                  <a:pt x="185758" y="-118"/>
                  <a:pt x="239333" y="53776"/>
                  <a:pt x="239333" y="120257"/>
                </a:cubicBezTo>
                <a:close/>
              </a:path>
            </a:pathLst>
          </a:custGeom>
          <a:solidFill>
            <a:srgbClr val="FFFFFF"/>
          </a:solidFill>
          <a:ln w="19921" cap="rnd">
            <a:solidFill>
              <a:srgbClr val="000000"/>
            </a:solidFill>
            <a:prstDash val="solid"/>
            <a:miter/>
          </a:ln>
        </p:spPr>
        <p:txBody>
          <a:bodyPr rtlCol="0" anchor="ctr"/>
          <a:lstStyle/>
          <a:p>
            <a:endParaRPr lang="en-US" sz="1633"/>
          </a:p>
        </p:txBody>
      </p:sp>
      <p:sp>
        <p:nvSpPr>
          <p:cNvPr id="102" name="Textfeld 101" hidden="1">
            <a:extLst>
              <a:ext uri="{FF2B5EF4-FFF2-40B4-BE49-F238E27FC236}">
                <a16:creationId xmlns:a16="http://schemas.microsoft.com/office/drawing/2014/main" id="{350626A5-885A-4D34-B9E6-EEA306840A45}"/>
              </a:ext>
            </a:extLst>
          </p:cNvPr>
          <p:cNvSpPr txBox="1"/>
          <p:nvPr/>
        </p:nvSpPr>
        <p:spPr>
          <a:xfrm>
            <a:off x="5255412" y="1842673"/>
            <a:ext cx="274434" cy="268215"/>
          </a:xfrm>
          <a:prstGeom prst="rect">
            <a:avLst/>
          </a:prstGeom>
          <a:noFill/>
        </p:spPr>
        <p:txBody>
          <a:bodyPr wrap="none" rtlCol="0">
            <a:spAutoFit/>
          </a:bodyPr>
          <a:lstStyle/>
          <a:p>
            <a:pPr algn="l"/>
            <a:r>
              <a:rPr lang="en-US" sz="1143" b="1">
                <a:solidFill>
                  <a:srgbClr val="000000"/>
                </a:solidFill>
                <a:latin typeface="Arial"/>
                <a:cs typeface="Arial"/>
                <a:sym typeface="Arial"/>
                <a:rtl val="0"/>
              </a:rPr>
              <a:t>F</a:t>
            </a:r>
          </a:p>
        </p:txBody>
      </p:sp>
      <p:sp>
        <p:nvSpPr>
          <p:cNvPr id="103" name="Freihandform: Form 102" hidden="1">
            <a:extLst>
              <a:ext uri="{FF2B5EF4-FFF2-40B4-BE49-F238E27FC236}">
                <a16:creationId xmlns:a16="http://schemas.microsoft.com/office/drawing/2014/main" id="{7E447FD8-30F6-420A-ACDF-297D9C61F110}"/>
              </a:ext>
            </a:extLst>
          </p:cNvPr>
          <p:cNvSpPr/>
          <p:nvPr/>
        </p:nvSpPr>
        <p:spPr>
          <a:xfrm>
            <a:off x="6982435" y="1655884"/>
            <a:ext cx="217168" cy="218462"/>
          </a:xfrm>
          <a:custGeom>
            <a:avLst/>
            <a:gdLst>
              <a:gd name="connsiteX0" fmla="*/ 239332 w 239324"/>
              <a:gd name="connsiteY0" fmla="*/ 120257 h 240750"/>
              <a:gd name="connsiteX1" fmla="*/ 119670 w 239324"/>
              <a:gd name="connsiteY1" fmla="*/ 240632 h 240750"/>
              <a:gd name="connsiteX2" fmla="*/ 8 w 239324"/>
              <a:gd name="connsiteY2" fmla="*/ 120257 h 240750"/>
              <a:gd name="connsiteX3" fmla="*/ 119670 w 239324"/>
              <a:gd name="connsiteY3" fmla="*/ -118 h 240750"/>
              <a:gd name="connsiteX4" fmla="*/ 239332 w 239324"/>
              <a:gd name="connsiteY4" fmla="*/ 120257 h 24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324" h="240750">
                <a:moveTo>
                  <a:pt x="239332" y="120257"/>
                </a:moveTo>
                <a:cubicBezTo>
                  <a:pt x="239332" y="186739"/>
                  <a:pt x="185758" y="240632"/>
                  <a:pt x="119670" y="240632"/>
                </a:cubicBezTo>
                <a:cubicBezTo>
                  <a:pt x="53582" y="240632"/>
                  <a:pt x="8" y="186739"/>
                  <a:pt x="8" y="120257"/>
                </a:cubicBezTo>
                <a:cubicBezTo>
                  <a:pt x="8" y="53776"/>
                  <a:pt x="53582" y="-118"/>
                  <a:pt x="119670" y="-118"/>
                </a:cubicBezTo>
                <a:cubicBezTo>
                  <a:pt x="185758" y="-118"/>
                  <a:pt x="239332" y="53776"/>
                  <a:pt x="239332" y="120257"/>
                </a:cubicBezTo>
                <a:close/>
              </a:path>
            </a:pathLst>
          </a:custGeom>
          <a:solidFill>
            <a:srgbClr val="FFFFFF"/>
          </a:solidFill>
          <a:ln w="19921" cap="rnd">
            <a:solidFill>
              <a:srgbClr val="000000"/>
            </a:solidFill>
            <a:prstDash val="solid"/>
            <a:miter/>
          </a:ln>
        </p:spPr>
        <p:txBody>
          <a:bodyPr rtlCol="0" anchor="ctr"/>
          <a:lstStyle/>
          <a:p>
            <a:endParaRPr lang="en-US" sz="1633"/>
          </a:p>
        </p:txBody>
      </p:sp>
      <p:sp>
        <p:nvSpPr>
          <p:cNvPr id="104" name="Textfeld 103" hidden="1">
            <a:extLst>
              <a:ext uri="{FF2B5EF4-FFF2-40B4-BE49-F238E27FC236}">
                <a16:creationId xmlns:a16="http://schemas.microsoft.com/office/drawing/2014/main" id="{EFD929C8-E3DD-4E25-9D14-B510BAAEC216}"/>
              </a:ext>
            </a:extLst>
          </p:cNvPr>
          <p:cNvSpPr txBox="1"/>
          <p:nvPr/>
        </p:nvSpPr>
        <p:spPr>
          <a:xfrm>
            <a:off x="6971352" y="1624808"/>
            <a:ext cx="274434" cy="268215"/>
          </a:xfrm>
          <a:prstGeom prst="rect">
            <a:avLst/>
          </a:prstGeom>
          <a:noFill/>
        </p:spPr>
        <p:txBody>
          <a:bodyPr wrap="none" rtlCol="0">
            <a:spAutoFit/>
          </a:bodyPr>
          <a:lstStyle/>
          <a:p>
            <a:pPr algn="l"/>
            <a:r>
              <a:rPr lang="en-US" sz="1143" b="1">
                <a:solidFill>
                  <a:srgbClr val="000000"/>
                </a:solidFill>
                <a:latin typeface="Arial"/>
                <a:cs typeface="Arial"/>
                <a:sym typeface="Arial"/>
                <a:rtl val="0"/>
              </a:rPr>
              <a:t>F</a:t>
            </a:r>
          </a:p>
        </p:txBody>
      </p:sp>
      <p:sp>
        <p:nvSpPr>
          <p:cNvPr id="105" name="Freihandform: Form 104" hidden="1">
            <a:extLst>
              <a:ext uri="{FF2B5EF4-FFF2-40B4-BE49-F238E27FC236}">
                <a16:creationId xmlns:a16="http://schemas.microsoft.com/office/drawing/2014/main" id="{70A5C8E6-D6E0-4149-BED3-FA2385CF04CF}"/>
              </a:ext>
            </a:extLst>
          </p:cNvPr>
          <p:cNvSpPr/>
          <p:nvPr/>
        </p:nvSpPr>
        <p:spPr>
          <a:xfrm>
            <a:off x="3978275" y="2529731"/>
            <a:ext cx="217168" cy="218462"/>
          </a:xfrm>
          <a:custGeom>
            <a:avLst/>
            <a:gdLst>
              <a:gd name="connsiteX0" fmla="*/ 239333 w 239324"/>
              <a:gd name="connsiteY0" fmla="*/ 120257 h 240750"/>
              <a:gd name="connsiteX1" fmla="*/ 119670 w 239324"/>
              <a:gd name="connsiteY1" fmla="*/ 240632 h 240750"/>
              <a:gd name="connsiteX2" fmla="*/ 8 w 239324"/>
              <a:gd name="connsiteY2" fmla="*/ 120257 h 240750"/>
              <a:gd name="connsiteX3" fmla="*/ 119670 w 239324"/>
              <a:gd name="connsiteY3" fmla="*/ -118 h 240750"/>
              <a:gd name="connsiteX4" fmla="*/ 239333 w 239324"/>
              <a:gd name="connsiteY4" fmla="*/ 120257 h 24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324" h="240750">
                <a:moveTo>
                  <a:pt x="239333" y="120257"/>
                </a:moveTo>
                <a:cubicBezTo>
                  <a:pt x="239333" y="186739"/>
                  <a:pt x="185758" y="240632"/>
                  <a:pt x="119670" y="240632"/>
                </a:cubicBezTo>
                <a:cubicBezTo>
                  <a:pt x="53583" y="240632"/>
                  <a:pt x="8" y="186739"/>
                  <a:pt x="8" y="120257"/>
                </a:cubicBezTo>
                <a:cubicBezTo>
                  <a:pt x="8" y="53776"/>
                  <a:pt x="53583" y="-118"/>
                  <a:pt x="119670" y="-118"/>
                </a:cubicBezTo>
                <a:cubicBezTo>
                  <a:pt x="185758" y="-118"/>
                  <a:pt x="239333" y="53776"/>
                  <a:pt x="239333" y="120257"/>
                </a:cubicBezTo>
                <a:close/>
              </a:path>
            </a:pathLst>
          </a:custGeom>
          <a:solidFill>
            <a:srgbClr val="FFFFFF"/>
          </a:solidFill>
          <a:ln w="19921" cap="rnd">
            <a:solidFill>
              <a:srgbClr val="000000"/>
            </a:solidFill>
            <a:prstDash val="solid"/>
            <a:miter/>
          </a:ln>
        </p:spPr>
        <p:txBody>
          <a:bodyPr rtlCol="0" anchor="ctr"/>
          <a:lstStyle/>
          <a:p>
            <a:endParaRPr lang="en-US" sz="1633"/>
          </a:p>
        </p:txBody>
      </p:sp>
      <p:sp>
        <p:nvSpPr>
          <p:cNvPr id="106" name="Textfeld 105" hidden="1">
            <a:extLst>
              <a:ext uri="{FF2B5EF4-FFF2-40B4-BE49-F238E27FC236}">
                <a16:creationId xmlns:a16="http://schemas.microsoft.com/office/drawing/2014/main" id="{33038A43-0D9B-4512-B437-3529221CDEB8}"/>
              </a:ext>
            </a:extLst>
          </p:cNvPr>
          <p:cNvSpPr txBox="1"/>
          <p:nvPr/>
        </p:nvSpPr>
        <p:spPr>
          <a:xfrm>
            <a:off x="3947067" y="2498652"/>
            <a:ext cx="290464" cy="268215"/>
          </a:xfrm>
          <a:prstGeom prst="rect">
            <a:avLst/>
          </a:prstGeom>
          <a:noFill/>
        </p:spPr>
        <p:txBody>
          <a:bodyPr wrap="none" rtlCol="0">
            <a:spAutoFit/>
          </a:bodyPr>
          <a:lstStyle/>
          <a:p>
            <a:pPr algn="l"/>
            <a:r>
              <a:rPr lang="en-US" sz="1143" b="1">
                <a:solidFill>
                  <a:srgbClr val="000000"/>
                </a:solidFill>
                <a:latin typeface="Arial"/>
                <a:cs typeface="Arial"/>
                <a:sym typeface="Arial"/>
                <a:rtl val="0"/>
              </a:rPr>
              <a:t>D</a:t>
            </a:r>
          </a:p>
        </p:txBody>
      </p:sp>
      <p:sp>
        <p:nvSpPr>
          <p:cNvPr id="107" name="Freihandform: Form 106" hidden="1">
            <a:extLst>
              <a:ext uri="{FF2B5EF4-FFF2-40B4-BE49-F238E27FC236}">
                <a16:creationId xmlns:a16="http://schemas.microsoft.com/office/drawing/2014/main" id="{C9FF6BCD-FC56-4576-BC55-3A64562CA2C0}"/>
              </a:ext>
            </a:extLst>
          </p:cNvPr>
          <p:cNvSpPr/>
          <p:nvPr/>
        </p:nvSpPr>
        <p:spPr>
          <a:xfrm>
            <a:off x="4304027" y="1418618"/>
            <a:ext cx="217168" cy="218462"/>
          </a:xfrm>
          <a:custGeom>
            <a:avLst/>
            <a:gdLst>
              <a:gd name="connsiteX0" fmla="*/ 239333 w 239324"/>
              <a:gd name="connsiteY0" fmla="*/ 120257 h 240750"/>
              <a:gd name="connsiteX1" fmla="*/ 119670 w 239324"/>
              <a:gd name="connsiteY1" fmla="*/ 240632 h 240750"/>
              <a:gd name="connsiteX2" fmla="*/ 8 w 239324"/>
              <a:gd name="connsiteY2" fmla="*/ 120257 h 240750"/>
              <a:gd name="connsiteX3" fmla="*/ 119670 w 239324"/>
              <a:gd name="connsiteY3" fmla="*/ -118 h 240750"/>
              <a:gd name="connsiteX4" fmla="*/ 239333 w 239324"/>
              <a:gd name="connsiteY4" fmla="*/ 120257 h 24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324" h="240750">
                <a:moveTo>
                  <a:pt x="239333" y="120257"/>
                </a:moveTo>
                <a:cubicBezTo>
                  <a:pt x="239333" y="186738"/>
                  <a:pt x="185758" y="240632"/>
                  <a:pt x="119670" y="240632"/>
                </a:cubicBezTo>
                <a:cubicBezTo>
                  <a:pt x="53583" y="240632"/>
                  <a:pt x="8" y="186738"/>
                  <a:pt x="8" y="120257"/>
                </a:cubicBezTo>
                <a:cubicBezTo>
                  <a:pt x="8" y="53776"/>
                  <a:pt x="53583" y="-118"/>
                  <a:pt x="119670" y="-118"/>
                </a:cubicBezTo>
                <a:cubicBezTo>
                  <a:pt x="185758" y="-118"/>
                  <a:pt x="239333" y="53776"/>
                  <a:pt x="239333" y="120257"/>
                </a:cubicBezTo>
                <a:close/>
              </a:path>
            </a:pathLst>
          </a:custGeom>
          <a:solidFill>
            <a:srgbClr val="FFFFFF"/>
          </a:solidFill>
          <a:ln w="19921" cap="rnd">
            <a:solidFill>
              <a:srgbClr val="000000"/>
            </a:solidFill>
            <a:prstDash val="solid"/>
            <a:miter/>
          </a:ln>
        </p:spPr>
        <p:txBody>
          <a:bodyPr rtlCol="0" anchor="ctr"/>
          <a:lstStyle/>
          <a:p>
            <a:endParaRPr lang="en-US" sz="1633"/>
          </a:p>
        </p:txBody>
      </p:sp>
      <p:sp>
        <p:nvSpPr>
          <p:cNvPr id="108" name="Textfeld 107" hidden="1">
            <a:extLst>
              <a:ext uri="{FF2B5EF4-FFF2-40B4-BE49-F238E27FC236}">
                <a16:creationId xmlns:a16="http://schemas.microsoft.com/office/drawing/2014/main" id="{913C49ED-DE75-4BFA-A9BF-6B91CC9A2860}"/>
              </a:ext>
            </a:extLst>
          </p:cNvPr>
          <p:cNvSpPr txBox="1"/>
          <p:nvPr/>
        </p:nvSpPr>
        <p:spPr>
          <a:xfrm>
            <a:off x="4276872" y="1387478"/>
            <a:ext cx="298480" cy="268215"/>
          </a:xfrm>
          <a:prstGeom prst="rect">
            <a:avLst/>
          </a:prstGeom>
          <a:noFill/>
        </p:spPr>
        <p:txBody>
          <a:bodyPr wrap="none" rtlCol="0">
            <a:spAutoFit/>
          </a:bodyPr>
          <a:lstStyle/>
          <a:p>
            <a:pPr algn="l"/>
            <a:r>
              <a:rPr lang="en-US" sz="1143" b="1">
                <a:solidFill>
                  <a:srgbClr val="000000"/>
                </a:solidFill>
                <a:latin typeface="Arial"/>
                <a:cs typeface="Arial"/>
                <a:sym typeface="Arial"/>
                <a:rtl val="0"/>
              </a:rPr>
              <a:t>G</a:t>
            </a:r>
          </a:p>
        </p:txBody>
      </p:sp>
      <p:sp>
        <p:nvSpPr>
          <p:cNvPr id="109" name="Freihandform: Form 108" hidden="1">
            <a:extLst>
              <a:ext uri="{FF2B5EF4-FFF2-40B4-BE49-F238E27FC236}">
                <a16:creationId xmlns:a16="http://schemas.microsoft.com/office/drawing/2014/main" id="{056C07C1-0C92-4A0F-A1EE-6020FFB83589}"/>
              </a:ext>
            </a:extLst>
          </p:cNvPr>
          <p:cNvSpPr/>
          <p:nvPr/>
        </p:nvSpPr>
        <p:spPr>
          <a:xfrm>
            <a:off x="6946240" y="2238447"/>
            <a:ext cx="217168" cy="218462"/>
          </a:xfrm>
          <a:custGeom>
            <a:avLst/>
            <a:gdLst>
              <a:gd name="connsiteX0" fmla="*/ 239332 w 239324"/>
              <a:gd name="connsiteY0" fmla="*/ 120257 h 240750"/>
              <a:gd name="connsiteX1" fmla="*/ 119670 w 239324"/>
              <a:gd name="connsiteY1" fmla="*/ 240632 h 240750"/>
              <a:gd name="connsiteX2" fmla="*/ 8 w 239324"/>
              <a:gd name="connsiteY2" fmla="*/ 120257 h 240750"/>
              <a:gd name="connsiteX3" fmla="*/ 119670 w 239324"/>
              <a:gd name="connsiteY3" fmla="*/ -118 h 240750"/>
              <a:gd name="connsiteX4" fmla="*/ 239332 w 239324"/>
              <a:gd name="connsiteY4" fmla="*/ 120257 h 24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324" h="240750">
                <a:moveTo>
                  <a:pt x="239332" y="120257"/>
                </a:moveTo>
                <a:cubicBezTo>
                  <a:pt x="239332" y="186739"/>
                  <a:pt x="185758" y="240632"/>
                  <a:pt x="119670" y="240632"/>
                </a:cubicBezTo>
                <a:cubicBezTo>
                  <a:pt x="53583" y="240632"/>
                  <a:pt x="8" y="186739"/>
                  <a:pt x="8" y="120257"/>
                </a:cubicBezTo>
                <a:cubicBezTo>
                  <a:pt x="8" y="53776"/>
                  <a:pt x="53583" y="-118"/>
                  <a:pt x="119670" y="-118"/>
                </a:cubicBezTo>
                <a:cubicBezTo>
                  <a:pt x="185758" y="-118"/>
                  <a:pt x="239332" y="53776"/>
                  <a:pt x="239332" y="120257"/>
                </a:cubicBezTo>
                <a:close/>
              </a:path>
            </a:pathLst>
          </a:custGeom>
          <a:solidFill>
            <a:srgbClr val="FFFFFF"/>
          </a:solidFill>
          <a:ln w="19921" cap="rnd">
            <a:solidFill>
              <a:srgbClr val="000000"/>
            </a:solidFill>
            <a:prstDash val="solid"/>
            <a:miter/>
          </a:ln>
        </p:spPr>
        <p:txBody>
          <a:bodyPr rtlCol="0" anchor="ctr"/>
          <a:lstStyle/>
          <a:p>
            <a:endParaRPr lang="en-US" sz="1633"/>
          </a:p>
        </p:txBody>
      </p:sp>
      <p:sp>
        <p:nvSpPr>
          <p:cNvPr id="110" name="Textfeld 109" hidden="1">
            <a:extLst>
              <a:ext uri="{FF2B5EF4-FFF2-40B4-BE49-F238E27FC236}">
                <a16:creationId xmlns:a16="http://schemas.microsoft.com/office/drawing/2014/main" id="{1C5C346A-E8BB-40CD-B54F-EDDB2A67CAE6}"/>
              </a:ext>
            </a:extLst>
          </p:cNvPr>
          <p:cNvSpPr txBox="1"/>
          <p:nvPr/>
        </p:nvSpPr>
        <p:spPr>
          <a:xfrm>
            <a:off x="6916189" y="2207372"/>
            <a:ext cx="290464" cy="268215"/>
          </a:xfrm>
          <a:prstGeom prst="rect">
            <a:avLst/>
          </a:prstGeom>
          <a:noFill/>
        </p:spPr>
        <p:txBody>
          <a:bodyPr wrap="none" rtlCol="0">
            <a:spAutoFit/>
          </a:bodyPr>
          <a:lstStyle/>
          <a:p>
            <a:pPr algn="l"/>
            <a:r>
              <a:rPr lang="en-US" sz="1143" b="1">
                <a:solidFill>
                  <a:srgbClr val="000000"/>
                </a:solidFill>
                <a:latin typeface="Arial"/>
                <a:cs typeface="Arial"/>
                <a:sym typeface="Arial"/>
                <a:rtl val="0"/>
              </a:rPr>
              <a:t>B</a:t>
            </a:r>
          </a:p>
        </p:txBody>
      </p:sp>
      <p:sp>
        <p:nvSpPr>
          <p:cNvPr id="111" name="Freihandform: Form 110" hidden="1">
            <a:extLst>
              <a:ext uri="{FF2B5EF4-FFF2-40B4-BE49-F238E27FC236}">
                <a16:creationId xmlns:a16="http://schemas.microsoft.com/office/drawing/2014/main" id="{2D026327-1A11-4E18-8FC0-7C9A40064D3C}"/>
              </a:ext>
            </a:extLst>
          </p:cNvPr>
          <p:cNvSpPr/>
          <p:nvPr/>
        </p:nvSpPr>
        <p:spPr>
          <a:xfrm>
            <a:off x="6005178" y="2966653"/>
            <a:ext cx="217168" cy="218462"/>
          </a:xfrm>
          <a:custGeom>
            <a:avLst/>
            <a:gdLst>
              <a:gd name="connsiteX0" fmla="*/ 239332 w 239324"/>
              <a:gd name="connsiteY0" fmla="*/ 120257 h 240750"/>
              <a:gd name="connsiteX1" fmla="*/ 119670 w 239324"/>
              <a:gd name="connsiteY1" fmla="*/ 240632 h 240750"/>
              <a:gd name="connsiteX2" fmla="*/ 8 w 239324"/>
              <a:gd name="connsiteY2" fmla="*/ 120257 h 240750"/>
              <a:gd name="connsiteX3" fmla="*/ 119670 w 239324"/>
              <a:gd name="connsiteY3" fmla="*/ -118 h 240750"/>
              <a:gd name="connsiteX4" fmla="*/ 239332 w 239324"/>
              <a:gd name="connsiteY4" fmla="*/ 120257 h 24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324" h="240750">
                <a:moveTo>
                  <a:pt x="239332" y="120257"/>
                </a:moveTo>
                <a:cubicBezTo>
                  <a:pt x="239332" y="186739"/>
                  <a:pt x="185758" y="240632"/>
                  <a:pt x="119670" y="240632"/>
                </a:cubicBezTo>
                <a:cubicBezTo>
                  <a:pt x="53583" y="240632"/>
                  <a:pt x="8" y="186739"/>
                  <a:pt x="8" y="120257"/>
                </a:cubicBezTo>
                <a:cubicBezTo>
                  <a:pt x="8" y="53776"/>
                  <a:pt x="53583" y="-118"/>
                  <a:pt x="119670" y="-118"/>
                </a:cubicBezTo>
                <a:cubicBezTo>
                  <a:pt x="185758" y="-118"/>
                  <a:pt x="239332" y="53776"/>
                  <a:pt x="239332" y="120257"/>
                </a:cubicBezTo>
                <a:close/>
              </a:path>
            </a:pathLst>
          </a:custGeom>
          <a:solidFill>
            <a:srgbClr val="FFFFFF"/>
          </a:solidFill>
          <a:ln w="19921" cap="rnd">
            <a:solidFill>
              <a:srgbClr val="000000"/>
            </a:solidFill>
            <a:prstDash val="solid"/>
            <a:miter/>
          </a:ln>
        </p:spPr>
        <p:txBody>
          <a:bodyPr rtlCol="0" anchor="ctr"/>
          <a:lstStyle/>
          <a:p>
            <a:endParaRPr lang="en-US" sz="1633"/>
          </a:p>
        </p:txBody>
      </p:sp>
      <p:sp>
        <p:nvSpPr>
          <p:cNvPr id="112" name="Textfeld 111" hidden="1">
            <a:extLst>
              <a:ext uri="{FF2B5EF4-FFF2-40B4-BE49-F238E27FC236}">
                <a16:creationId xmlns:a16="http://schemas.microsoft.com/office/drawing/2014/main" id="{56E952FC-FC8C-429D-83DE-D5D213335362}"/>
              </a:ext>
            </a:extLst>
          </p:cNvPr>
          <p:cNvSpPr txBox="1"/>
          <p:nvPr/>
        </p:nvSpPr>
        <p:spPr>
          <a:xfrm>
            <a:off x="5975311" y="2935578"/>
            <a:ext cx="282450" cy="268215"/>
          </a:xfrm>
          <a:prstGeom prst="rect">
            <a:avLst/>
          </a:prstGeom>
          <a:noFill/>
        </p:spPr>
        <p:txBody>
          <a:bodyPr wrap="none" rtlCol="0">
            <a:spAutoFit/>
          </a:bodyPr>
          <a:lstStyle/>
          <a:p>
            <a:pPr algn="l"/>
            <a:r>
              <a:rPr lang="en-US" sz="1143" b="1">
                <a:solidFill>
                  <a:srgbClr val="000000"/>
                </a:solidFill>
                <a:latin typeface="Arial"/>
                <a:cs typeface="Arial"/>
                <a:sym typeface="Arial"/>
                <a:rtl val="0"/>
              </a:rPr>
              <a:t>E</a:t>
            </a:r>
          </a:p>
        </p:txBody>
      </p:sp>
      <p:sp>
        <p:nvSpPr>
          <p:cNvPr id="113" name="Freihandform: Form 112" hidden="1">
            <a:extLst>
              <a:ext uri="{FF2B5EF4-FFF2-40B4-BE49-F238E27FC236}">
                <a16:creationId xmlns:a16="http://schemas.microsoft.com/office/drawing/2014/main" id="{72B35A8A-F6AB-40EB-80BE-1672D1D60518}"/>
              </a:ext>
            </a:extLst>
          </p:cNvPr>
          <p:cNvSpPr/>
          <p:nvPr/>
        </p:nvSpPr>
        <p:spPr>
          <a:xfrm>
            <a:off x="7018630" y="2966653"/>
            <a:ext cx="217168" cy="218462"/>
          </a:xfrm>
          <a:custGeom>
            <a:avLst/>
            <a:gdLst>
              <a:gd name="connsiteX0" fmla="*/ 239332 w 239324"/>
              <a:gd name="connsiteY0" fmla="*/ 120257 h 240750"/>
              <a:gd name="connsiteX1" fmla="*/ 119670 w 239324"/>
              <a:gd name="connsiteY1" fmla="*/ 240632 h 240750"/>
              <a:gd name="connsiteX2" fmla="*/ 8 w 239324"/>
              <a:gd name="connsiteY2" fmla="*/ 120257 h 240750"/>
              <a:gd name="connsiteX3" fmla="*/ 119670 w 239324"/>
              <a:gd name="connsiteY3" fmla="*/ -118 h 240750"/>
              <a:gd name="connsiteX4" fmla="*/ 239332 w 239324"/>
              <a:gd name="connsiteY4" fmla="*/ 120257 h 24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324" h="240750">
                <a:moveTo>
                  <a:pt x="239332" y="120257"/>
                </a:moveTo>
                <a:cubicBezTo>
                  <a:pt x="239332" y="186739"/>
                  <a:pt x="185758" y="240632"/>
                  <a:pt x="119670" y="240632"/>
                </a:cubicBezTo>
                <a:cubicBezTo>
                  <a:pt x="53582" y="240632"/>
                  <a:pt x="8" y="186739"/>
                  <a:pt x="8" y="120257"/>
                </a:cubicBezTo>
                <a:cubicBezTo>
                  <a:pt x="8" y="53776"/>
                  <a:pt x="53582" y="-118"/>
                  <a:pt x="119670" y="-118"/>
                </a:cubicBezTo>
                <a:cubicBezTo>
                  <a:pt x="185758" y="-118"/>
                  <a:pt x="239332" y="53776"/>
                  <a:pt x="239332" y="120257"/>
                </a:cubicBezTo>
                <a:close/>
              </a:path>
            </a:pathLst>
          </a:custGeom>
          <a:solidFill>
            <a:srgbClr val="FFFFFF"/>
          </a:solidFill>
          <a:ln w="19921" cap="rnd">
            <a:solidFill>
              <a:srgbClr val="000000"/>
            </a:solidFill>
            <a:prstDash val="solid"/>
            <a:miter/>
          </a:ln>
        </p:spPr>
        <p:txBody>
          <a:bodyPr rtlCol="0" anchor="ctr"/>
          <a:lstStyle/>
          <a:p>
            <a:endParaRPr lang="en-US" sz="1633"/>
          </a:p>
        </p:txBody>
      </p:sp>
      <p:sp>
        <p:nvSpPr>
          <p:cNvPr id="114" name="Textfeld 113" hidden="1">
            <a:extLst>
              <a:ext uri="{FF2B5EF4-FFF2-40B4-BE49-F238E27FC236}">
                <a16:creationId xmlns:a16="http://schemas.microsoft.com/office/drawing/2014/main" id="{A35599E8-6FAD-46C1-A8B9-FC38F8ED2612}"/>
              </a:ext>
            </a:extLst>
          </p:cNvPr>
          <p:cNvSpPr txBox="1"/>
          <p:nvPr/>
        </p:nvSpPr>
        <p:spPr>
          <a:xfrm>
            <a:off x="6990854" y="2935516"/>
            <a:ext cx="290464" cy="268215"/>
          </a:xfrm>
          <a:prstGeom prst="rect">
            <a:avLst/>
          </a:prstGeom>
          <a:noFill/>
        </p:spPr>
        <p:txBody>
          <a:bodyPr wrap="none" rtlCol="0">
            <a:spAutoFit/>
          </a:bodyPr>
          <a:lstStyle/>
          <a:p>
            <a:pPr algn="l"/>
            <a:r>
              <a:rPr lang="en-US" sz="1143" b="1">
                <a:solidFill>
                  <a:srgbClr val="000000"/>
                </a:solidFill>
                <a:latin typeface="Arial"/>
                <a:cs typeface="Arial"/>
                <a:sym typeface="Arial"/>
                <a:rtl val="0"/>
              </a:rPr>
              <a:t>C</a:t>
            </a:r>
          </a:p>
        </p:txBody>
      </p:sp>
      <p:sp>
        <p:nvSpPr>
          <p:cNvPr id="115" name="Freihandform: Form 114" hidden="1">
            <a:extLst>
              <a:ext uri="{FF2B5EF4-FFF2-40B4-BE49-F238E27FC236}">
                <a16:creationId xmlns:a16="http://schemas.microsoft.com/office/drawing/2014/main" id="{71735288-6D1C-4F2D-8B0A-EED69538A587}"/>
              </a:ext>
            </a:extLst>
          </p:cNvPr>
          <p:cNvSpPr/>
          <p:nvPr/>
        </p:nvSpPr>
        <p:spPr>
          <a:xfrm>
            <a:off x="5172700" y="3913323"/>
            <a:ext cx="217168" cy="218462"/>
          </a:xfrm>
          <a:custGeom>
            <a:avLst/>
            <a:gdLst>
              <a:gd name="connsiteX0" fmla="*/ 239333 w 239324"/>
              <a:gd name="connsiteY0" fmla="*/ 120257 h 240750"/>
              <a:gd name="connsiteX1" fmla="*/ 119670 w 239324"/>
              <a:gd name="connsiteY1" fmla="*/ 240632 h 240750"/>
              <a:gd name="connsiteX2" fmla="*/ 8 w 239324"/>
              <a:gd name="connsiteY2" fmla="*/ 120257 h 240750"/>
              <a:gd name="connsiteX3" fmla="*/ 119670 w 239324"/>
              <a:gd name="connsiteY3" fmla="*/ -118 h 240750"/>
              <a:gd name="connsiteX4" fmla="*/ 239333 w 239324"/>
              <a:gd name="connsiteY4" fmla="*/ 120257 h 24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324" h="240750">
                <a:moveTo>
                  <a:pt x="239333" y="120257"/>
                </a:moveTo>
                <a:cubicBezTo>
                  <a:pt x="239333" y="186739"/>
                  <a:pt x="185758" y="240632"/>
                  <a:pt x="119670" y="240632"/>
                </a:cubicBezTo>
                <a:cubicBezTo>
                  <a:pt x="53583" y="240632"/>
                  <a:pt x="8" y="186739"/>
                  <a:pt x="8" y="120257"/>
                </a:cubicBezTo>
                <a:cubicBezTo>
                  <a:pt x="8" y="53776"/>
                  <a:pt x="53583" y="-118"/>
                  <a:pt x="119670" y="-118"/>
                </a:cubicBezTo>
                <a:cubicBezTo>
                  <a:pt x="185758" y="-118"/>
                  <a:pt x="239333" y="53776"/>
                  <a:pt x="239333" y="120257"/>
                </a:cubicBezTo>
                <a:close/>
              </a:path>
            </a:pathLst>
          </a:custGeom>
          <a:solidFill>
            <a:srgbClr val="FFFFFF"/>
          </a:solidFill>
          <a:ln w="19921" cap="rnd">
            <a:solidFill>
              <a:srgbClr val="000000"/>
            </a:solidFill>
            <a:prstDash val="solid"/>
            <a:miter/>
          </a:ln>
        </p:spPr>
        <p:txBody>
          <a:bodyPr rtlCol="0" anchor="ctr"/>
          <a:lstStyle/>
          <a:p>
            <a:endParaRPr lang="en-US" sz="1633"/>
          </a:p>
        </p:txBody>
      </p:sp>
      <p:sp>
        <p:nvSpPr>
          <p:cNvPr id="116" name="Textfeld 115" hidden="1">
            <a:extLst>
              <a:ext uri="{FF2B5EF4-FFF2-40B4-BE49-F238E27FC236}">
                <a16:creationId xmlns:a16="http://schemas.microsoft.com/office/drawing/2014/main" id="{E2118698-FA16-46D5-BE9E-9F822D0BF567}"/>
              </a:ext>
            </a:extLst>
          </p:cNvPr>
          <p:cNvSpPr txBox="1"/>
          <p:nvPr/>
        </p:nvSpPr>
        <p:spPr>
          <a:xfrm>
            <a:off x="5141493" y="3882245"/>
            <a:ext cx="290464" cy="268215"/>
          </a:xfrm>
          <a:prstGeom prst="rect">
            <a:avLst/>
          </a:prstGeom>
          <a:noFill/>
        </p:spPr>
        <p:txBody>
          <a:bodyPr wrap="none" rtlCol="0">
            <a:spAutoFit/>
          </a:bodyPr>
          <a:lstStyle/>
          <a:p>
            <a:pPr algn="l"/>
            <a:r>
              <a:rPr lang="en-US" sz="1143" b="1">
                <a:solidFill>
                  <a:srgbClr val="000000"/>
                </a:solidFill>
                <a:latin typeface="Arial"/>
                <a:cs typeface="Arial"/>
                <a:sym typeface="Arial"/>
                <a:rtl val="0"/>
              </a:rPr>
              <a:t>D</a:t>
            </a:r>
          </a:p>
        </p:txBody>
      </p:sp>
      <p:grpSp>
        <p:nvGrpSpPr>
          <p:cNvPr id="117" name="Grafik 3">
            <a:extLst>
              <a:ext uri="{FF2B5EF4-FFF2-40B4-BE49-F238E27FC236}">
                <a16:creationId xmlns:a16="http://schemas.microsoft.com/office/drawing/2014/main" id="{F119AA45-5DA2-4575-B9B3-19921EAD1BD3}"/>
              </a:ext>
            </a:extLst>
          </p:cNvPr>
          <p:cNvGrpSpPr/>
          <p:nvPr/>
        </p:nvGrpSpPr>
        <p:grpSpPr>
          <a:xfrm>
            <a:off x="3462500" y="4636977"/>
            <a:ext cx="1167278" cy="204806"/>
            <a:chOff x="3815755" y="5109236"/>
            <a:chExt cx="1286368" cy="225701"/>
          </a:xfrm>
          <a:solidFill>
            <a:srgbClr val="183859"/>
          </a:solidFill>
        </p:grpSpPr>
        <p:sp>
          <p:nvSpPr>
            <p:cNvPr id="118" name="Freihandform: Form 117">
              <a:extLst>
                <a:ext uri="{FF2B5EF4-FFF2-40B4-BE49-F238E27FC236}">
                  <a16:creationId xmlns:a16="http://schemas.microsoft.com/office/drawing/2014/main" id="{1DC5F754-AF34-46A0-A27D-2BBC29C310B0}"/>
                </a:ext>
              </a:extLst>
            </p:cNvPr>
            <p:cNvSpPr/>
            <p:nvPr/>
          </p:nvSpPr>
          <p:spPr>
            <a:xfrm>
              <a:off x="4942574" y="5294812"/>
              <a:ext cx="39887" cy="40125"/>
            </a:xfrm>
            <a:custGeom>
              <a:avLst/>
              <a:gdLst>
                <a:gd name="connsiteX0" fmla="*/ 39894 w 39887"/>
                <a:gd name="connsiteY0" fmla="*/ 19978 h 40125"/>
                <a:gd name="connsiteX1" fmla="*/ 19950 w 39887"/>
                <a:gd name="connsiteY1" fmla="*/ 40041 h 40125"/>
                <a:gd name="connsiteX2" fmla="*/ 6 w 39887"/>
                <a:gd name="connsiteY2" fmla="*/ 19978 h 40125"/>
                <a:gd name="connsiteX3" fmla="*/ 19950 w 39887"/>
                <a:gd name="connsiteY3" fmla="*/ -84 h 40125"/>
                <a:gd name="connsiteX4" fmla="*/ 39894 w 39887"/>
                <a:gd name="connsiteY4" fmla="*/ 1997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39894" y="19978"/>
                  </a:moveTo>
                  <a:cubicBezTo>
                    <a:pt x="39894" y="31058"/>
                    <a:pt x="30964" y="40041"/>
                    <a:pt x="19950" y="40041"/>
                  </a:cubicBezTo>
                  <a:cubicBezTo>
                    <a:pt x="8935" y="40041"/>
                    <a:pt x="6" y="31058"/>
                    <a:pt x="6" y="19978"/>
                  </a:cubicBezTo>
                  <a:cubicBezTo>
                    <a:pt x="6" y="8898"/>
                    <a:pt x="8935" y="-84"/>
                    <a:pt x="19950" y="-84"/>
                  </a:cubicBezTo>
                  <a:cubicBezTo>
                    <a:pt x="30964" y="-84"/>
                    <a:pt x="39894" y="8898"/>
                    <a:pt x="39894" y="19978"/>
                  </a:cubicBezTo>
                  <a:close/>
                </a:path>
              </a:pathLst>
            </a:custGeom>
            <a:solidFill>
              <a:srgbClr val="183859"/>
            </a:solidFill>
            <a:ln w="19921" cap="rnd">
              <a:noFill/>
              <a:prstDash val="solid"/>
              <a:miter/>
            </a:ln>
          </p:spPr>
          <p:txBody>
            <a:bodyPr rtlCol="0" anchor="ctr"/>
            <a:lstStyle/>
            <a:p>
              <a:endParaRPr lang="en-US" sz="1633"/>
            </a:p>
          </p:txBody>
        </p:sp>
        <p:sp>
          <p:nvSpPr>
            <p:cNvPr id="119" name="Freihandform: Form 118">
              <a:extLst>
                <a:ext uri="{FF2B5EF4-FFF2-40B4-BE49-F238E27FC236}">
                  <a16:creationId xmlns:a16="http://schemas.microsoft.com/office/drawing/2014/main" id="{3D8CCFA6-07B0-431F-867E-C0E2EE651601}"/>
                </a:ext>
              </a:extLst>
            </p:cNvPr>
            <p:cNvSpPr/>
            <p:nvPr/>
          </p:nvSpPr>
          <p:spPr>
            <a:xfrm>
              <a:off x="3815755" y="5294812"/>
              <a:ext cx="39887" cy="40125"/>
            </a:xfrm>
            <a:custGeom>
              <a:avLst/>
              <a:gdLst>
                <a:gd name="connsiteX0" fmla="*/ 39894 w 39887"/>
                <a:gd name="connsiteY0" fmla="*/ 19978 h 40125"/>
                <a:gd name="connsiteX1" fmla="*/ 19950 w 39887"/>
                <a:gd name="connsiteY1" fmla="*/ 40041 h 40125"/>
                <a:gd name="connsiteX2" fmla="*/ 6 w 39887"/>
                <a:gd name="connsiteY2" fmla="*/ 19978 h 40125"/>
                <a:gd name="connsiteX3" fmla="*/ 19950 w 39887"/>
                <a:gd name="connsiteY3" fmla="*/ -84 h 40125"/>
                <a:gd name="connsiteX4" fmla="*/ 39894 w 39887"/>
                <a:gd name="connsiteY4" fmla="*/ 1997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39894" y="19978"/>
                  </a:moveTo>
                  <a:cubicBezTo>
                    <a:pt x="39894" y="31058"/>
                    <a:pt x="30964" y="40041"/>
                    <a:pt x="19950" y="40041"/>
                  </a:cubicBezTo>
                  <a:cubicBezTo>
                    <a:pt x="8935" y="40041"/>
                    <a:pt x="6" y="31058"/>
                    <a:pt x="6" y="19978"/>
                  </a:cubicBezTo>
                  <a:cubicBezTo>
                    <a:pt x="6" y="8898"/>
                    <a:pt x="8935" y="-84"/>
                    <a:pt x="19950" y="-84"/>
                  </a:cubicBezTo>
                  <a:cubicBezTo>
                    <a:pt x="30964" y="-84"/>
                    <a:pt x="39894" y="8898"/>
                    <a:pt x="39894" y="19978"/>
                  </a:cubicBezTo>
                  <a:close/>
                </a:path>
              </a:pathLst>
            </a:custGeom>
            <a:solidFill>
              <a:srgbClr val="183859"/>
            </a:solidFill>
            <a:ln w="19921" cap="rnd">
              <a:noFill/>
              <a:prstDash val="solid"/>
              <a:miter/>
            </a:ln>
          </p:spPr>
          <p:txBody>
            <a:bodyPr rtlCol="0" anchor="ctr"/>
            <a:lstStyle/>
            <a:p>
              <a:endParaRPr lang="en-US" sz="1633"/>
            </a:p>
          </p:txBody>
        </p:sp>
        <p:sp>
          <p:nvSpPr>
            <p:cNvPr id="120" name="Freihandform: Form 119">
              <a:extLst>
                <a:ext uri="{FF2B5EF4-FFF2-40B4-BE49-F238E27FC236}">
                  <a16:creationId xmlns:a16="http://schemas.microsoft.com/office/drawing/2014/main" id="{2C2AD740-D2AE-45E8-AA87-DA690BED95E7}"/>
                </a:ext>
              </a:extLst>
            </p:cNvPr>
            <p:cNvSpPr/>
            <p:nvPr/>
          </p:nvSpPr>
          <p:spPr>
            <a:xfrm>
              <a:off x="4025164" y="5294812"/>
              <a:ext cx="39887" cy="40125"/>
            </a:xfrm>
            <a:custGeom>
              <a:avLst/>
              <a:gdLst>
                <a:gd name="connsiteX0" fmla="*/ 39894 w 39887"/>
                <a:gd name="connsiteY0" fmla="*/ 19978 h 40125"/>
                <a:gd name="connsiteX1" fmla="*/ 19950 w 39887"/>
                <a:gd name="connsiteY1" fmla="*/ 40041 h 40125"/>
                <a:gd name="connsiteX2" fmla="*/ 6 w 39887"/>
                <a:gd name="connsiteY2" fmla="*/ 19978 h 40125"/>
                <a:gd name="connsiteX3" fmla="*/ 19950 w 39887"/>
                <a:gd name="connsiteY3" fmla="*/ -84 h 40125"/>
                <a:gd name="connsiteX4" fmla="*/ 39894 w 39887"/>
                <a:gd name="connsiteY4" fmla="*/ 1997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39894" y="19978"/>
                  </a:moveTo>
                  <a:cubicBezTo>
                    <a:pt x="39894" y="31058"/>
                    <a:pt x="30964" y="40041"/>
                    <a:pt x="19950" y="40041"/>
                  </a:cubicBezTo>
                  <a:cubicBezTo>
                    <a:pt x="8935" y="40041"/>
                    <a:pt x="6" y="31058"/>
                    <a:pt x="6" y="19978"/>
                  </a:cubicBezTo>
                  <a:cubicBezTo>
                    <a:pt x="6" y="8898"/>
                    <a:pt x="8935" y="-84"/>
                    <a:pt x="19950" y="-84"/>
                  </a:cubicBezTo>
                  <a:cubicBezTo>
                    <a:pt x="30964" y="-84"/>
                    <a:pt x="39894" y="8898"/>
                    <a:pt x="39894" y="19978"/>
                  </a:cubicBezTo>
                  <a:close/>
                </a:path>
              </a:pathLst>
            </a:custGeom>
            <a:solidFill>
              <a:srgbClr val="183859"/>
            </a:solidFill>
            <a:ln w="19921" cap="rnd">
              <a:noFill/>
              <a:prstDash val="solid"/>
              <a:miter/>
            </a:ln>
          </p:spPr>
          <p:txBody>
            <a:bodyPr rtlCol="0" anchor="ctr"/>
            <a:lstStyle/>
            <a:p>
              <a:endParaRPr lang="en-US" sz="1633"/>
            </a:p>
          </p:txBody>
        </p:sp>
        <p:sp>
          <p:nvSpPr>
            <p:cNvPr id="121" name="Freihandform: Form 120">
              <a:extLst>
                <a:ext uri="{FF2B5EF4-FFF2-40B4-BE49-F238E27FC236}">
                  <a16:creationId xmlns:a16="http://schemas.microsoft.com/office/drawing/2014/main" id="{F89F5BD9-08DF-4ECD-90AF-9F2D93283640}"/>
                </a:ext>
              </a:extLst>
            </p:cNvPr>
            <p:cNvSpPr/>
            <p:nvPr/>
          </p:nvSpPr>
          <p:spPr>
            <a:xfrm>
              <a:off x="4982462" y="5294812"/>
              <a:ext cx="39887" cy="40125"/>
            </a:xfrm>
            <a:custGeom>
              <a:avLst/>
              <a:gdLst>
                <a:gd name="connsiteX0" fmla="*/ 39894 w 39887"/>
                <a:gd name="connsiteY0" fmla="*/ 19978 h 40125"/>
                <a:gd name="connsiteX1" fmla="*/ 19950 w 39887"/>
                <a:gd name="connsiteY1" fmla="*/ 40041 h 40125"/>
                <a:gd name="connsiteX2" fmla="*/ 6 w 39887"/>
                <a:gd name="connsiteY2" fmla="*/ 19978 h 40125"/>
                <a:gd name="connsiteX3" fmla="*/ 19950 w 39887"/>
                <a:gd name="connsiteY3" fmla="*/ -84 h 40125"/>
                <a:gd name="connsiteX4" fmla="*/ 39894 w 39887"/>
                <a:gd name="connsiteY4" fmla="*/ 1997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39894" y="19978"/>
                  </a:moveTo>
                  <a:cubicBezTo>
                    <a:pt x="39894" y="31058"/>
                    <a:pt x="30964" y="40041"/>
                    <a:pt x="19950" y="40041"/>
                  </a:cubicBezTo>
                  <a:cubicBezTo>
                    <a:pt x="8935" y="40041"/>
                    <a:pt x="6" y="31058"/>
                    <a:pt x="6" y="19978"/>
                  </a:cubicBezTo>
                  <a:cubicBezTo>
                    <a:pt x="6" y="8898"/>
                    <a:pt x="8935" y="-84"/>
                    <a:pt x="19950" y="-84"/>
                  </a:cubicBezTo>
                  <a:cubicBezTo>
                    <a:pt x="30964" y="-84"/>
                    <a:pt x="39894" y="8898"/>
                    <a:pt x="39894" y="19978"/>
                  </a:cubicBezTo>
                  <a:close/>
                </a:path>
              </a:pathLst>
            </a:custGeom>
            <a:solidFill>
              <a:srgbClr val="183859"/>
            </a:solidFill>
            <a:ln w="19921" cap="rnd">
              <a:noFill/>
              <a:prstDash val="solid"/>
              <a:miter/>
            </a:ln>
          </p:spPr>
          <p:txBody>
            <a:bodyPr rtlCol="0" anchor="ctr"/>
            <a:lstStyle/>
            <a:p>
              <a:endParaRPr lang="en-US" sz="1633"/>
            </a:p>
          </p:txBody>
        </p:sp>
        <p:sp>
          <p:nvSpPr>
            <p:cNvPr id="122" name="Freihandform: Form 121">
              <a:extLst>
                <a:ext uri="{FF2B5EF4-FFF2-40B4-BE49-F238E27FC236}">
                  <a16:creationId xmlns:a16="http://schemas.microsoft.com/office/drawing/2014/main" id="{95F68E1F-2DDF-42DC-9850-6BF92F404D3C}"/>
                </a:ext>
              </a:extLst>
            </p:cNvPr>
            <p:cNvSpPr/>
            <p:nvPr/>
          </p:nvSpPr>
          <p:spPr>
            <a:xfrm>
              <a:off x="5022349" y="5294812"/>
              <a:ext cx="39887" cy="40125"/>
            </a:xfrm>
            <a:custGeom>
              <a:avLst/>
              <a:gdLst>
                <a:gd name="connsiteX0" fmla="*/ 39894 w 39887"/>
                <a:gd name="connsiteY0" fmla="*/ 19978 h 40125"/>
                <a:gd name="connsiteX1" fmla="*/ 19950 w 39887"/>
                <a:gd name="connsiteY1" fmla="*/ 40041 h 40125"/>
                <a:gd name="connsiteX2" fmla="*/ 6 w 39887"/>
                <a:gd name="connsiteY2" fmla="*/ 19978 h 40125"/>
                <a:gd name="connsiteX3" fmla="*/ 19950 w 39887"/>
                <a:gd name="connsiteY3" fmla="*/ -84 h 40125"/>
                <a:gd name="connsiteX4" fmla="*/ 39894 w 39887"/>
                <a:gd name="connsiteY4" fmla="*/ 1997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39894" y="19978"/>
                  </a:moveTo>
                  <a:cubicBezTo>
                    <a:pt x="39894" y="31058"/>
                    <a:pt x="30964" y="40041"/>
                    <a:pt x="19950" y="40041"/>
                  </a:cubicBezTo>
                  <a:cubicBezTo>
                    <a:pt x="8935" y="40041"/>
                    <a:pt x="6" y="31058"/>
                    <a:pt x="6" y="19978"/>
                  </a:cubicBezTo>
                  <a:cubicBezTo>
                    <a:pt x="6" y="8898"/>
                    <a:pt x="8935" y="-84"/>
                    <a:pt x="19950" y="-84"/>
                  </a:cubicBezTo>
                  <a:cubicBezTo>
                    <a:pt x="30964" y="-84"/>
                    <a:pt x="39894" y="8898"/>
                    <a:pt x="39894" y="19978"/>
                  </a:cubicBezTo>
                  <a:close/>
                </a:path>
              </a:pathLst>
            </a:custGeom>
            <a:solidFill>
              <a:srgbClr val="183859"/>
            </a:solidFill>
            <a:ln w="19921" cap="rnd">
              <a:noFill/>
              <a:prstDash val="solid"/>
              <a:miter/>
            </a:ln>
          </p:spPr>
          <p:txBody>
            <a:bodyPr rtlCol="0" anchor="ctr"/>
            <a:lstStyle/>
            <a:p>
              <a:endParaRPr lang="en-US" sz="1633"/>
            </a:p>
          </p:txBody>
        </p:sp>
        <p:sp>
          <p:nvSpPr>
            <p:cNvPr id="123" name="Freihandform: Form 122">
              <a:extLst>
                <a:ext uri="{FF2B5EF4-FFF2-40B4-BE49-F238E27FC236}">
                  <a16:creationId xmlns:a16="http://schemas.microsoft.com/office/drawing/2014/main" id="{D17052A1-9291-4C0C-954F-1AFED5EA9EFF}"/>
                </a:ext>
              </a:extLst>
            </p:cNvPr>
            <p:cNvSpPr/>
            <p:nvPr/>
          </p:nvSpPr>
          <p:spPr>
            <a:xfrm>
              <a:off x="5062237" y="5294812"/>
              <a:ext cx="39887" cy="40125"/>
            </a:xfrm>
            <a:custGeom>
              <a:avLst/>
              <a:gdLst>
                <a:gd name="connsiteX0" fmla="*/ 39894 w 39887"/>
                <a:gd name="connsiteY0" fmla="*/ 19978 h 40125"/>
                <a:gd name="connsiteX1" fmla="*/ 19950 w 39887"/>
                <a:gd name="connsiteY1" fmla="*/ 40041 h 40125"/>
                <a:gd name="connsiteX2" fmla="*/ 6 w 39887"/>
                <a:gd name="connsiteY2" fmla="*/ 19978 h 40125"/>
                <a:gd name="connsiteX3" fmla="*/ 19950 w 39887"/>
                <a:gd name="connsiteY3" fmla="*/ -84 h 40125"/>
                <a:gd name="connsiteX4" fmla="*/ 39894 w 39887"/>
                <a:gd name="connsiteY4" fmla="*/ 1997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7" h="40125">
                  <a:moveTo>
                    <a:pt x="39894" y="19978"/>
                  </a:moveTo>
                  <a:cubicBezTo>
                    <a:pt x="39894" y="31058"/>
                    <a:pt x="30964" y="40041"/>
                    <a:pt x="19950" y="40041"/>
                  </a:cubicBezTo>
                  <a:cubicBezTo>
                    <a:pt x="8935" y="40041"/>
                    <a:pt x="6" y="31058"/>
                    <a:pt x="6" y="19978"/>
                  </a:cubicBezTo>
                  <a:cubicBezTo>
                    <a:pt x="6" y="8898"/>
                    <a:pt x="8935" y="-84"/>
                    <a:pt x="19950" y="-84"/>
                  </a:cubicBezTo>
                  <a:cubicBezTo>
                    <a:pt x="30964" y="-84"/>
                    <a:pt x="39894" y="8898"/>
                    <a:pt x="39894" y="19978"/>
                  </a:cubicBezTo>
                  <a:close/>
                </a:path>
              </a:pathLst>
            </a:custGeom>
            <a:solidFill>
              <a:srgbClr val="183859"/>
            </a:solidFill>
            <a:ln w="19921" cap="rnd">
              <a:noFill/>
              <a:prstDash val="solid"/>
              <a:miter/>
            </a:ln>
          </p:spPr>
          <p:txBody>
            <a:bodyPr rtlCol="0" anchor="ctr"/>
            <a:lstStyle/>
            <a:p>
              <a:endParaRPr lang="en-US" sz="1633"/>
            </a:p>
          </p:txBody>
        </p:sp>
        <p:sp>
          <p:nvSpPr>
            <p:cNvPr id="124" name="Freihandform: Form 123">
              <a:extLst>
                <a:ext uri="{FF2B5EF4-FFF2-40B4-BE49-F238E27FC236}">
                  <a16:creationId xmlns:a16="http://schemas.microsoft.com/office/drawing/2014/main" id="{3107F592-F7F3-4E22-891A-3C98C989078C}"/>
                </a:ext>
              </a:extLst>
            </p:cNvPr>
            <p:cNvSpPr/>
            <p:nvPr/>
          </p:nvSpPr>
          <p:spPr>
            <a:xfrm>
              <a:off x="4942576" y="5109236"/>
              <a:ext cx="159540" cy="185583"/>
            </a:xfrm>
            <a:custGeom>
              <a:avLst/>
              <a:gdLst>
                <a:gd name="connsiteX0" fmla="*/ 9612 w 159540"/>
                <a:gd name="connsiteY0" fmla="*/ -80 h 185583"/>
                <a:gd name="connsiteX1" fmla="*/ 4995 w 159540"/>
                <a:gd name="connsiteY1" fmla="*/ 4938 h 185583"/>
                <a:gd name="connsiteX2" fmla="*/ 7983 w 159540"/>
                <a:gd name="connsiteY2" fmla="*/ 9520 h 185583"/>
                <a:gd name="connsiteX3" fmla="*/ 7983 w 159540"/>
                <a:gd name="connsiteY3" fmla="*/ 145376 h 185583"/>
                <a:gd name="connsiteX4" fmla="*/ 6 w 159540"/>
                <a:gd name="connsiteY4" fmla="*/ 145376 h 185583"/>
                <a:gd name="connsiteX5" fmla="*/ 6 w 159540"/>
                <a:gd name="connsiteY5" fmla="*/ 185499 h 185583"/>
                <a:gd name="connsiteX6" fmla="*/ 159546 w 159540"/>
                <a:gd name="connsiteY6" fmla="*/ 185499 h 185583"/>
                <a:gd name="connsiteX7" fmla="*/ 119661 w 159540"/>
                <a:gd name="connsiteY7" fmla="*/ 145376 h 185583"/>
                <a:gd name="connsiteX8" fmla="*/ 59844 w 159540"/>
                <a:gd name="connsiteY8" fmla="*/ 145376 h 185583"/>
                <a:gd name="connsiteX9" fmla="*/ 59844 w 159540"/>
                <a:gd name="connsiteY9" fmla="*/ 85183 h 185583"/>
                <a:gd name="connsiteX10" fmla="*/ 79776 w 159540"/>
                <a:gd name="connsiteY10" fmla="*/ 85183 h 185583"/>
                <a:gd name="connsiteX11" fmla="*/ 79776 w 159540"/>
                <a:gd name="connsiteY11" fmla="*/ 105234 h 185583"/>
                <a:gd name="connsiteX12" fmla="*/ 159546 w 159540"/>
                <a:gd name="connsiteY12" fmla="*/ 105234 h 185583"/>
                <a:gd name="connsiteX13" fmla="*/ 159546 w 159540"/>
                <a:gd name="connsiteY13" fmla="*/ 65111 h 185583"/>
                <a:gd name="connsiteX14" fmla="*/ 79776 w 159540"/>
                <a:gd name="connsiteY14" fmla="*/ 65111 h 185583"/>
                <a:gd name="connsiteX15" fmla="*/ 79776 w 159540"/>
                <a:gd name="connsiteY15" fmla="*/ 75147 h 185583"/>
                <a:gd name="connsiteX16" fmla="*/ 59844 w 159540"/>
                <a:gd name="connsiteY16" fmla="*/ 75147 h 185583"/>
                <a:gd name="connsiteX17" fmla="*/ 39891 w 159540"/>
                <a:gd name="connsiteY17" fmla="*/ 85183 h 185583"/>
                <a:gd name="connsiteX18" fmla="*/ 39891 w 159540"/>
                <a:gd name="connsiteY18" fmla="*/ 145376 h 185583"/>
                <a:gd name="connsiteX19" fmla="*/ 11961 w 159540"/>
                <a:gd name="connsiteY19" fmla="*/ 145376 h 185583"/>
                <a:gd name="connsiteX20" fmla="*/ 11961 w 159540"/>
                <a:gd name="connsiteY20" fmla="*/ 9541 h 185583"/>
                <a:gd name="connsiteX21" fmla="*/ 14971 w 159540"/>
                <a:gd name="connsiteY21" fmla="*/ 4938 h 185583"/>
                <a:gd name="connsiteX22" fmla="*/ 9987 w 159540"/>
                <a:gd name="connsiteY22" fmla="*/ -80 h 185583"/>
                <a:gd name="connsiteX23" fmla="*/ 9983 w 159540"/>
                <a:gd name="connsiteY23" fmla="*/ -80 h 185583"/>
                <a:gd name="connsiteX24" fmla="*/ 9612 w 159540"/>
                <a:gd name="connsiteY24" fmla="*/ -80 h 185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9540" h="185583">
                  <a:moveTo>
                    <a:pt x="9612" y="-80"/>
                  </a:moveTo>
                  <a:cubicBezTo>
                    <a:pt x="7002" y="114"/>
                    <a:pt x="4986" y="2306"/>
                    <a:pt x="4995" y="4938"/>
                  </a:cubicBezTo>
                  <a:cubicBezTo>
                    <a:pt x="5000" y="6926"/>
                    <a:pt x="6172" y="8723"/>
                    <a:pt x="7983" y="9520"/>
                  </a:cubicBezTo>
                  <a:lnTo>
                    <a:pt x="7983" y="145376"/>
                  </a:lnTo>
                  <a:lnTo>
                    <a:pt x="6" y="145376"/>
                  </a:lnTo>
                  <a:lnTo>
                    <a:pt x="6" y="185499"/>
                  </a:lnTo>
                  <a:lnTo>
                    <a:pt x="159546" y="185499"/>
                  </a:lnTo>
                  <a:lnTo>
                    <a:pt x="119661" y="145376"/>
                  </a:lnTo>
                  <a:lnTo>
                    <a:pt x="59844" y="145376"/>
                  </a:lnTo>
                  <a:lnTo>
                    <a:pt x="59844" y="85183"/>
                  </a:lnTo>
                  <a:lnTo>
                    <a:pt x="79776" y="85183"/>
                  </a:lnTo>
                  <a:lnTo>
                    <a:pt x="79776" y="105234"/>
                  </a:lnTo>
                  <a:lnTo>
                    <a:pt x="159546" y="105234"/>
                  </a:lnTo>
                  <a:lnTo>
                    <a:pt x="159546" y="65111"/>
                  </a:lnTo>
                  <a:lnTo>
                    <a:pt x="79776" y="65111"/>
                  </a:lnTo>
                  <a:lnTo>
                    <a:pt x="79776" y="75147"/>
                  </a:lnTo>
                  <a:lnTo>
                    <a:pt x="59844" y="75147"/>
                  </a:lnTo>
                  <a:lnTo>
                    <a:pt x="39891" y="85183"/>
                  </a:lnTo>
                  <a:lnTo>
                    <a:pt x="39891" y="145376"/>
                  </a:lnTo>
                  <a:lnTo>
                    <a:pt x="11961" y="145376"/>
                  </a:lnTo>
                  <a:lnTo>
                    <a:pt x="11961" y="9541"/>
                  </a:lnTo>
                  <a:cubicBezTo>
                    <a:pt x="13787" y="8748"/>
                    <a:pt x="14970" y="6939"/>
                    <a:pt x="14971" y="4938"/>
                  </a:cubicBezTo>
                  <a:cubicBezTo>
                    <a:pt x="14972" y="2168"/>
                    <a:pt x="12741" y="-79"/>
                    <a:pt x="9987" y="-80"/>
                  </a:cubicBezTo>
                  <a:cubicBezTo>
                    <a:pt x="9986" y="-80"/>
                    <a:pt x="9984" y="-80"/>
                    <a:pt x="9983" y="-80"/>
                  </a:cubicBezTo>
                  <a:cubicBezTo>
                    <a:pt x="9859" y="-85"/>
                    <a:pt x="9735" y="-85"/>
                    <a:pt x="9612" y="-80"/>
                  </a:cubicBezTo>
                  <a:close/>
                </a:path>
              </a:pathLst>
            </a:custGeom>
            <a:solidFill>
              <a:srgbClr val="183859"/>
            </a:solidFill>
            <a:ln w="19921" cap="rnd">
              <a:noFill/>
              <a:prstDash val="solid"/>
              <a:miter/>
            </a:ln>
          </p:spPr>
          <p:txBody>
            <a:bodyPr rtlCol="0" anchor="ctr"/>
            <a:lstStyle/>
            <a:p>
              <a:endParaRPr lang="en-US" sz="1633"/>
            </a:p>
          </p:txBody>
        </p:sp>
      </p:grpSp>
      <p:grpSp>
        <p:nvGrpSpPr>
          <p:cNvPr id="125" name="Grafik 3">
            <a:extLst>
              <a:ext uri="{FF2B5EF4-FFF2-40B4-BE49-F238E27FC236}">
                <a16:creationId xmlns:a16="http://schemas.microsoft.com/office/drawing/2014/main" id="{76484DB5-CD9D-4ECA-B28C-8A8519EFEB22}"/>
              </a:ext>
            </a:extLst>
          </p:cNvPr>
          <p:cNvGrpSpPr/>
          <p:nvPr/>
        </p:nvGrpSpPr>
        <p:grpSpPr>
          <a:xfrm>
            <a:off x="5651009" y="4662136"/>
            <a:ext cx="174136" cy="103224"/>
            <a:chOff x="6227543" y="5136962"/>
            <a:chExt cx="191902" cy="113755"/>
          </a:xfrm>
        </p:grpSpPr>
        <p:sp>
          <p:nvSpPr>
            <p:cNvPr id="126" name="Freihandform: Form 125">
              <a:extLst>
                <a:ext uri="{FF2B5EF4-FFF2-40B4-BE49-F238E27FC236}">
                  <a16:creationId xmlns:a16="http://schemas.microsoft.com/office/drawing/2014/main" id="{BBF0762E-BE94-4BA6-B2F4-527D11D728F8}"/>
                </a:ext>
              </a:extLst>
            </p:cNvPr>
            <p:cNvSpPr/>
            <p:nvPr/>
          </p:nvSpPr>
          <p:spPr>
            <a:xfrm>
              <a:off x="6299561" y="5169765"/>
              <a:ext cx="47864" cy="48150"/>
            </a:xfrm>
            <a:custGeom>
              <a:avLst/>
              <a:gdLst>
                <a:gd name="connsiteX0" fmla="*/ 47874 w 47864"/>
                <a:gd name="connsiteY0" fmla="*/ 23957 h 48150"/>
                <a:gd name="connsiteX1" fmla="*/ 23941 w 47864"/>
                <a:gd name="connsiteY1" fmla="*/ 48032 h 48150"/>
                <a:gd name="connsiteX2" fmla="*/ 9 w 47864"/>
                <a:gd name="connsiteY2" fmla="*/ 23957 h 48150"/>
                <a:gd name="connsiteX3" fmla="*/ 23941 w 47864"/>
                <a:gd name="connsiteY3" fmla="*/ -118 h 48150"/>
                <a:gd name="connsiteX4" fmla="*/ 47874 w 47864"/>
                <a:gd name="connsiteY4" fmla="*/ 23957 h 4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64" h="48150">
                  <a:moveTo>
                    <a:pt x="47874" y="23957"/>
                  </a:moveTo>
                  <a:cubicBezTo>
                    <a:pt x="47874" y="37253"/>
                    <a:pt x="37159" y="48032"/>
                    <a:pt x="23941" y="48032"/>
                  </a:cubicBezTo>
                  <a:cubicBezTo>
                    <a:pt x="10724" y="48032"/>
                    <a:pt x="9" y="37253"/>
                    <a:pt x="9" y="23957"/>
                  </a:cubicBezTo>
                  <a:cubicBezTo>
                    <a:pt x="9" y="10661"/>
                    <a:pt x="10724" y="-118"/>
                    <a:pt x="23941" y="-118"/>
                  </a:cubicBezTo>
                  <a:cubicBezTo>
                    <a:pt x="37159" y="-118"/>
                    <a:pt x="47874" y="10661"/>
                    <a:pt x="47874" y="23957"/>
                  </a:cubicBezTo>
                  <a:close/>
                </a:path>
              </a:pathLst>
            </a:custGeom>
            <a:solidFill>
              <a:srgbClr val="418FDE"/>
            </a:solidFill>
            <a:ln w="11795" cap="rnd">
              <a:noFill/>
              <a:prstDash val="solid"/>
              <a:miter/>
            </a:ln>
          </p:spPr>
          <p:txBody>
            <a:bodyPr rtlCol="0" anchor="ctr"/>
            <a:lstStyle/>
            <a:p>
              <a:endParaRPr lang="en-US" sz="1633"/>
            </a:p>
          </p:txBody>
        </p:sp>
        <p:sp>
          <p:nvSpPr>
            <p:cNvPr id="127" name="Freihandform: Form 126">
              <a:extLst>
                <a:ext uri="{FF2B5EF4-FFF2-40B4-BE49-F238E27FC236}">
                  <a16:creationId xmlns:a16="http://schemas.microsoft.com/office/drawing/2014/main" id="{BA8664C4-9AC1-4FFB-88B7-D9B9E9A7706C}"/>
                </a:ext>
              </a:extLst>
            </p:cNvPr>
            <p:cNvSpPr/>
            <p:nvPr/>
          </p:nvSpPr>
          <p:spPr>
            <a:xfrm rot="5400000">
              <a:off x="6246999" y="5187316"/>
              <a:ext cx="62628" cy="13048"/>
            </a:xfrm>
            <a:custGeom>
              <a:avLst/>
              <a:gdLst>
                <a:gd name="connsiteX0" fmla="*/ 62518 w 62628"/>
                <a:gd name="connsiteY0" fmla="*/ 182 h 13048"/>
                <a:gd name="connsiteX1" fmla="*/ 31204 w 62628"/>
                <a:gd name="connsiteY1" fmla="*/ 13230 h 13048"/>
                <a:gd name="connsiteX2" fmla="*/ -110 w 62628"/>
                <a:gd name="connsiteY2" fmla="*/ 182 h 13048"/>
              </a:gdLst>
              <a:ahLst/>
              <a:cxnLst>
                <a:cxn ang="0">
                  <a:pos x="connsiteX0" y="connsiteY0"/>
                </a:cxn>
                <a:cxn ang="0">
                  <a:pos x="connsiteX1" y="connsiteY1"/>
                </a:cxn>
                <a:cxn ang="0">
                  <a:pos x="connsiteX2" y="connsiteY2"/>
                </a:cxn>
              </a:cxnLst>
              <a:rect l="l" t="t" r="r" b="b"/>
              <a:pathLst>
                <a:path w="62628" h="13048">
                  <a:moveTo>
                    <a:pt x="62518" y="182"/>
                  </a:moveTo>
                  <a:cubicBezTo>
                    <a:pt x="54213" y="8537"/>
                    <a:pt x="42949" y="13230"/>
                    <a:pt x="31204" y="13230"/>
                  </a:cubicBezTo>
                  <a:cubicBezTo>
                    <a:pt x="19459" y="13230"/>
                    <a:pt x="8194" y="8537"/>
                    <a:pt x="-110" y="182"/>
                  </a:cubicBezTo>
                </a:path>
              </a:pathLst>
            </a:custGeom>
            <a:noFill/>
            <a:ln w="9881" cap="rnd">
              <a:solidFill>
                <a:srgbClr val="418FDE"/>
              </a:solidFill>
              <a:prstDash val="solid"/>
              <a:miter/>
            </a:ln>
          </p:spPr>
          <p:txBody>
            <a:bodyPr rtlCol="0" anchor="ctr"/>
            <a:lstStyle/>
            <a:p>
              <a:endParaRPr lang="en-US" sz="1633"/>
            </a:p>
          </p:txBody>
        </p:sp>
        <p:sp>
          <p:nvSpPr>
            <p:cNvPr id="128" name="Freihandform: Form 127">
              <a:extLst>
                <a:ext uri="{FF2B5EF4-FFF2-40B4-BE49-F238E27FC236}">
                  <a16:creationId xmlns:a16="http://schemas.microsoft.com/office/drawing/2014/main" id="{BE9A1178-907C-4DBD-9FDC-74A90D50734A}"/>
                </a:ext>
              </a:extLst>
            </p:cNvPr>
            <p:cNvSpPr/>
            <p:nvPr/>
          </p:nvSpPr>
          <p:spPr>
            <a:xfrm rot="5400000">
              <a:off x="6215729" y="5184206"/>
              <a:ext cx="87067" cy="19269"/>
            </a:xfrm>
            <a:custGeom>
              <a:avLst/>
              <a:gdLst>
                <a:gd name="connsiteX0" fmla="*/ 86957 w 87067"/>
                <a:gd name="connsiteY0" fmla="*/ 182 h 19269"/>
                <a:gd name="connsiteX1" fmla="*/ 43423 w 87067"/>
                <a:gd name="connsiteY1" fmla="*/ 19451 h 19269"/>
                <a:gd name="connsiteX2" fmla="*/ -111 w 87067"/>
                <a:gd name="connsiteY2" fmla="*/ 182 h 19269"/>
              </a:gdLst>
              <a:ahLst/>
              <a:cxnLst>
                <a:cxn ang="0">
                  <a:pos x="connsiteX0" y="connsiteY0"/>
                </a:cxn>
                <a:cxn ang="0">
                  <a:pos x="connsiteX1" y="connsiteY1"/>
                </a:cxn>
                <a:cxn ang="0">
                  <a:pos x="connsiteX2" y="connsiteY2"/>
                </a:cxn>
              </a:cxnLst>
              <a:rect l="l" t="t" r="r" b="b"/>
              <a:pathLst>
                <a:path w="87067" h="19269">
                  <a:moveTo>
                    <a:pt x="86957" y="182"/>
                  </a:moveTo>
                  <a:cubicBezTo>
                    <a:pt x="75773" y="12460"/>
                    <a:pt x="59978" y="19451"/>
                    <a:pt x="43423" y="19451"/>
                  </a:cubicBezTo>
                  <a:cubicBezTo>
                    <a:pt x="26868" y="19451"/>
                    <a:pt x="11074" y="12460"/>
                    <a:pt x="-111" y="182"/>
                  </a:cubicBezTo>
                </a:path>
              </a:pathLst>
            </a:custGeom>
            <a:noFill/>
            <a:ln w="9881" cap="rnd">
              <a:solidFill>
                <a:srgbClr val="418FDE"/>
              </a:solidFill>
              <a:prstDash val="solid"/>
              <a:miter/>
            </a:ln>
          </p:spPr>
          <p:txBody>
            <a:bodyPr rtlCol="0" anchor="ctr"/>
            <a:lstStyle/>
            <a:p>
              <a:endParaRPr lang="en-US" sz="1633"/>
            </a:p>
          </p:txBody>
        </p:sp>
        <p:sp>
          <p:nvSpPr>
            <p:cNvPr id="129" name="Freihandform: Form 128">
              <a:extLst>
                <a:ext uri="{FF2B5EF4-FFF2-40B4-BE49-F238E27FC236}">
                  <a16:creationId xmlns:a16="http://schemas.microsoft.com/office/drawing/2014/main" id="{F2D45E71-E9B6-4000-B4A8-54E993AD9E91}"/>
                </a:ext>
              </a:extLst>
            </p:cNvPr>
            <p:cNvSpPr/>
            <p:nvPr/>
          </p:nvSpPr>
          <p:spPr>
            <a:xfrm rot="5400000">
              <a:off x="6184184" y="5180579"/>
              <a:ext cx="113081" cy="26522"/>
            </a:xfrm>
            <a:custGeom>
              <a:avLst/>
              <a:gdLst>
                <a:gd name="connsiteX0" fmla="*/ 112970 w 113081"/>
                <a:gd name="connsiteY0" fmla="*/ 181 h 26522"/>
                <a:gd name="connsiteX1" fmla="*/ 56430 w 113081"/>
                <a:gd name="connsiteY1" fmla="*/ 26703 h 26522"/>
                <a:gd name="connsiteX2" fmla="*/ -111 w 113081"/>
                <a:gd name="connsiteY2" fmla="*/ 181 h 26522"/>
              </a:gdLst>
              <a:ahLst/>
              <a:cxnLst>
                <a:cxn ang="0">
                  <a:pos x="connsiteX0" y="connsiteY0"/>
                </a:cxn>
                <a:cxn ang="0">
                  <a:pos x="connsiteX1" y="connsiteY1"/>
                </a:cxn>
                <a:cxn ang="0">
                  <a:pos x="connsiteX2" y="connsiteY2"/>
                </a:cxn>
              </a:cxnLst>
              <a:rect l="l" t="t" r="r" b="b"/>
              <a:pathLst>
                <a:path w="113081" h="26522">
                  <a:moveTo>
                    <a:pt x="112970" y="181"/>
                  </a:moveTo>
                  <a:cubicBezTo>
                    <a:pt x="98946" y="16994"/>
                    <a:pt x="78247" y="26703"/>
                    <a:pt x="56430" y="26703"/>
                  </a:cubicBezTo>
                  <a:cubicBezTo>
                    <a:pt x="34612" y="26703"/>
                    <a:pt x="13913" y="16994"/>
                    <a:pt x="-111" y="181"/>
                  </a:cubicBezTo>
                </a:path>
              </a:pathLst>
            </a:custGeom>
            <a:noFill/>
            <a:ln w="9881" cap="rnd">
              <a:solidFill>
                <a:srgbClr val="418FDE"/>
              </a:solidFill>
              <a:prstDash val="solid"/>
              <a:miter/>
            </a:ln>
          </p:spPr>
          <p:txBody>
            <a:bodyPr rtlCol="0" anchor="ctr"/>
            <a:lstStyle/>
            <a:p>
              <a:endParaRPr lang="en-US" sz="1633"/>
            </a:p>
          </p:txBody>
        </p:sp>
        <p:sp>
          <p:nvSpPr>
            <p:cNvPr id="130" name="Freihandform: Form 129">
              <a:extLst>
                <a:ext uri="{FF2B5EF4-FFF2-40B4-BE49-F238E27FC236}">
                  <a16:creationId xmlns:a16="http://schemas.microsoft.com/office/drawing/2014/main" id="{9B835D51-6A15-4E14-954E-1C1243BA00AD}"/>
                </a:ext>
              </a:extLst>
            </p:cNvPr>
            <p:cNvSpPr/>
            <p:nvPr/>
          </p:nvSpPr>
          <p:spPr>
            <a:xfrm rot="5400000" flipV="1">
              <a:off x="6337360" y="5187316"/>
              <a:ext cx="62628" cy="13048"/>
            </a:xfrm>
            <a:custGeom>
              <a:avLst/>
              <a:gdLst>
                <a:gd name="connsiteX0" fmla="*/ 62520 w 62628"/>
                <a:gd name="connsiteY0" fmla="*/ -1 h 13048"/>
                <a:gd name="connsiteX1" fmla="*/ 31206 w 62628"/>
                <a:gd name="connsiteY1" fmla="*/ 13047 h 13048"/>
                <a:gd name="connsiteX2" fmla="*/ -108 w 62628"/>
                <a:gd name="connsiteY2" fmla="*/ -1 h 13048"/>
              </a:gdLst>
              <a:ahLst/>
              <a:cxnLst>
                <a:cxn ang="0">
                  <a:pos x="connsiteX0" y="connsiteY0"/>
                </a:cxn>
                <a:cxn ang="0">
                  <a:pos x="connsiteX1" y="connsiteY1"/>
                </a:cxn>
                <a:cxn ang="0">
                  <a:pos x="connsiteX2" y="connsiteY2"/>
                </a:cxn>
              </a:cxnLst>
              <a:rect l="l" t="t" r="r" b="b"/>
              <a:pathLst>
                <a:path w="62628" h="13048">
                  <a:moveTo>
                    <a:pt x="62520" y="-1"/>
                  </a:moveTo>
                  <a:cubicBezTo>
                    <a:pt x="54215" y="8353"/>
                    <a:pt x="42951" y="13047"/>
                    <a:pt x="31206" y="13047"/>
                  </a:cubicBezTo>
                  <a:cubicBezTo>
                    <a:pt x="19461" y="13047"/>
                    <a:pt x="8197" y="8353"/>
                    <a:pt x="-108" y="-1"/>
                  </a:cubicBezTo>
                </a:path>
              </a:pathLst>
            </a:custGeom>
            <a:noFill/>
            <a:ln w="9881" cap="rnd">
              <a:solidFill>
                <a:srgbClr val="418FDE"/>
              </a:solidFill>
              <a:prstDash val="solid"/>
              <a:miter/>
            </a:ln>
          </p:spPr>
          <p:txBody>
            <a:bodyPr rtlCol="0" anchor="ctr"/>
            <a:lstStyle/>
            <a:p>
              <a:endParaRPr lang="en-US" sz="1633"/>
            </a:p>
          </p:txBody>
        </p:sp>
        <p:sp>
          <p:nvSpPr>
            <p:cNvPr id="131" name="Freihandform: Form 130">
              <a:extLst>
                <a:ext uri="{FF2B5EF4-FFF2-40B4-BE49-F238E27FC236}">
                  <a16:creationId xmlns:a16="http://schemas.microsoft.com/office/drawing/2014/main" id="{E5C09C19-2C74-423A-9210-0DBC922679C3}"/>
                </a:ext>
              </a:extLst>
            </p:cNvPr>
            <p:cNvSpPr/>
            <p:nvPr/>
          </p:nvSpPr>
          <p:spPr>
            <a:xfrm rot="5400000" flipV="1">
              <a:off x="6344191" y="5184206"/>
              <a:ext cx="87067" cy="19269"/>
            </a:xfrm>
            <a:custGeom>
              <a:avLst/>
              <a:gdLst>
                <a:gd name="connsiteX0" fmla="*/ 86960 w 87067"/>
                <a:gd name="connsiteY0" fmla="*/ -2 h 19269"/>
                <a:gd name="connsiteX1" fmla="*/ 43426 w 87067"/>
                <a:gd name="connsiteY1" fmla="*/ 19267 h 19269"/>
                <a:gd name="connsiteX2" fmla="*/ -108 w 87067"/>
                <a:gd name="connsiteY2" fmla="*/ -2 h 19269"/>
              </a:gdLst>
              <a:ahLst/>
              <a:cxnLst>
                <a:cxn ang="0">
                  <a:pos x="connsiteX0" y="connsiteY0"/>
                </a:cxn>
                <a:cxn ang="0">
                  <a:pos x="connsiteX1" y="connsiteY1"/>
                </a:cxn>
                <a:cxn ang="0">
                  <a:pos x="connsiteX2" y="connsiteY2"/>
                </a:cxn>
              </a:cxnLst>
              <a:rect l="l" t="t" r="r" b="b"/>
              <a:pathLst>
                <a:path w="87067" h="19269">
                  <a:moveTo>
                    <a:pt x="86960" y="-2"/>
                  </a:moveTo>
                  <a:cubicBezTo>
                    <a:pt x="75776" y="12276"/>
                    <a:pt x="59981" y="19267"/>
                    <a:pt x="43426" y="19267"/>
                  </a:cubicBezTo>
                  <a:cubicBezTo>
                    <a:pt x="26871" y="19267"/>
                    <a:pt x="11077" y="12276"/>
                    <a:pt x="-108" y="-2"/>
                  </a:cubicBezTo>
                </a:path>
              </a:pathLst>
            </a:custGeom>
            <a:noFill/>
            <a:ln w="9881" cap="rnd">
              <a:solidFill>
                <a:srgbClr val="418FDE"/>
              </a:solidFill>
              <a:prstDash val="solid"/>
              <a:miter/>
            </a:ln>
          </p:spPr>
          <p:txBody>
            <a:bodyPr rtlCol="0" anchor="ctr"/>
            <a:lstStyle/>
            <a:p>
              <a:endParaRPr lang="en-US" sz="1633"/>
            </a:p>
          </p:txBody>
        </p:sp>
        <p:sp>
          <p:nvSpPr>
            <p:cNvPr id="132" name="Freihandform: Form 131">
              <a:extLst>
                <a:ext uri="{FF2B5EF4-FFF2-40B4-BE49-F238E27FC236}">
                  <a16:creationId xmlns:a16="http://schemas.microsoft.com/office/drawing/2014/main" id="{8FEF94BF-5BCF-4E3C-A250-11A87E9E5096}"/>
                </a:ext>
              </a:extLst>
            </p:cNvPr>
            <p:cNvSpPr/>
            <p:nvPr/>
          </p:nvSpPr>
          <p:spPr>
            <a:xfrm rot="5400000" flipV="1">
              <a:off x="6349722" y="5180579"/>
              <a:ext cx="113081" cy="26522"/>
            </a:xfrm>
            <a:custGeom>
              <a:avLst/>
              <a:gdLst>
                <a:gd name="connsiteX0" fmla="*/ 112974 w 113081"/>
                <a:gd name="connsiteY0" fmla="*/ -3 h 26522"/>
                <a:gd name="connsiteX1" fmla="*/ 56434 w 113081"/>
                <a:gd name="connsiteY1" fmla="*/ 26520 h 26522"/>
                <a:gd name="connsiteX2" fmla="*/ -107 w 113081"/>
                <a:gd name="connsiteY2" fmla="*/ -3 h 26522"/>
              </a:gdLst>
              <a:ahLst/>
              <a:cxnLst>
                <a:cxn ang="0">
                  <a:pos x="connsiteX0" y="connsiteY0"/>
                </a:cxn>
                <a:cxn ang="0">
                  <a:pos x="connsiteX1" y="connsiteY1"/>
                </a:cxn>
                <a:cxn ang="0">
                  <a:pos x="connsiteX2" y="connsiteY2"/>
                </a:cxn>
              </a:cxnLst>
              <a:rect l="l" t="t" r="r" b="b"/>
              <a:pathLst>
                <a:path w="113081" h="26522">
                  <a:moveTo>
                    <a:pt x="112974" y="-3"/>
                  </a:moveTo>
                  <a:cubicBezTo>
                    <a:pt x="98951" y="16810"/>
                    <a:pt x="78251" y="26520"/>
                    <a:pt x="56434" y="26520"/>
                  </a:cubicBezTo>
                  <a:cubicBezTo>
                    <a:pt x="34616" y="26520"/>
                    <a:pt x="13917" y="16810"/>
                    <a:pt x="-107" y="-3"/>
                  </a:cubicBezTo>
                </a:path>
              </a:pathLst>
            </a:custGeom>
            <a:noFill/>
            <a:ln w="9881" cap="rnd">
              <a:solidFill>
                <a:srgbClr val="418FDE"/>
              </a:solidFill>
              <a:prstDash val="solid"/>
              <a:miter/>
            </a:ln>
          </p:spPr>
          <p:txBody>
            <a:bodyPr rtlCol="0" anchor="ctr"/>
            <a:lstStyle/>
            <a:p>
              <a:endParaRPr lang="en-US" sz="1633"/>
            </a:p>
          </p:txBody>
        </p:sp>
      </p:grpSp>
      <p:grpSp>
        <p:nvGrpSpPr>
          <p:cNvPr id="133" name="Grafik 3">
            <a:extLst>
              <a:ext uri="{FF2B5EF4-FFF2-40B4-BE49-F238E27FC236}">
                <a16:creationId xmlns:a16="http://schemas.microsoft.com/office/drawing/2014/main" id="{41200680-50CB-4242-B4E9-69FF630D9F80}"/>
              </a:ext>
            </a:extLst>
          </p:cNvPr>
          <p:cNvGrpSpPr/>
          <p:nvPr/>
        </p:nvGrpSpPr>
        <p:grpSpPr>
          <a:xfrm>
            <a:off x="8037852" y="2296065"/>
            <a:ext cx="174136" cy="103224"/>
            <a:chOff x="8857899" y="2529496"/>
            <a:chExt cx="191902" cy="113755"/>
          </a:xfrm>
        </p:grpSpPr>
        <p:sp>
          <p:nvSpPr>
            <p:cNvPr id="134" name="Freihandform: Form 133">
              <a:extLst>
                <a:ext uri="{FF2B5EF4-FFF2-40B4-BE49-F238E27FC236}">
                  <a16:creationId xmlns:a16="http://schemas.microsoft.com/office/drawing/2014/main" id="{68C1681D-064D-4446-89E6-473DD24BEEF5}"/>
                </a:ext>
              </a:extLst>
            </p:cNvPr>
            <p:cNvSpPr/>
            <p:nvPr/>
          </p:nvSpPr>
          <p:spPr>
            <a:xfrm>
              <a:off x="8929918" y="2562299"/>
              <a:ext cx="47864" cy="48150"/>
            </a:xfrm>
            <a:custGeom>
              <a:avLst/>
              <a:gdLst>
                <a:gd name="connsiteX0" fmla="*/ 47939 w 47864"/>
                <a:gd name="connsiteY0" fmla="*/ 23892 h 48150"/>
                <a:gd name="connsiteX1" fmla="*/ 24007 w 47864"/>
                <a:gd name="connsiteY1" fmla="*/ 47967 h 48150"/>
                <a:gd name="connsiteX2" fmla="*/ 75 w 47864"/>
                <a:gd name="connsiteY2" fmla="*/ 23892 h 48150"/>
                <a:gd name="connsiteX3" fmla="*/ 24007 w 47864"/>
                <a:gd name="connsiteY3" fmla="*/ -183 h 48150"/>
                <a:gd name="connsiteX4" fmla="*/ 47939 w 47864"/>
                <a:gd name="connsiteY4" fmla="*/ 23892 h 4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64" h="48150">
                  <a:moveTo>
                    <a:pt x="47939" y="23892"/>
                  </a:moveTo>
                  <a:cubicBezTo>
                    <a:pt x="47939" y="37188"/>
                    <a:pt x="37225" y="47967"/>
                    <a:pt x="24007" y="47967"/>
                  </a:cubicBezTo>
                  <a:cubicBezTo>
                    <a:pt x="10790" y="47967"/>
                    <a:pt x="75" y="37188"/>
                    <a:pt x="75" y="23892"/>
                  </a:cubicBezTo>
                  <a:cubicBezTo>
                    <a:pt x="75" y="10596"/>
                    <a:pt x="10790" y="-183"/>
                    <a:pt x="24007" y="-183"/>
                  </a:cubicBezTo>
                  <a:cubicBezTo>
                    <a:pt x="37225" y="-183"/>
                    <a:pt x="47939" y="10596"/>
                    <a:pt x="47939" y="23892"/>
                  </a:cubicBezTo>
                  <a:close/>
                </a:path>
              </a:pathLst>
            </a:custGeom>
            <a:solidFill>
              <a:srgbClr val="418FDE"/>
            </a:solidFill>
            <a:ln w="11795" cap="rnd">
              <a:noFill/>
              <a:prstDash val="solid"/>
              <a:miter/>
            </a:ln>
          </p:spPr>
          <p:txBody>
            <a:bodyPr rtlCol="0" anchor="ctr"/>
            <a:lstStyle/>
            <a:p>
              <a:endParaRPr lang="en-US" sz="1633"/>
            </a:p>
          </p:txBody>
        </p:sp>
        <p:sp>
          <p:nvSpPr>
            <p:cNvPr id="135" name="Freihandform: Form 134">
              <a:extLst>
                <a:ext uri="{FF2B5EF4-FFF2-40B4-BE49-F238E27FC236}">
                  <a16:creationId xmlns:a16="http://schemas.microsoft.com/office/drawing/2014/main" id="{1D6C30A1-7089-43F8-812F-0B92593CFA1F}"/>
                </a:ext>
              </a:extLst>
            </p:cNvPr>
            <p:cNvSpPr/>
            <p:nvPr/>
          </p:nvSpPr>
          <p:spPr>
            <a:xfrm rot="5400000">
              <a:off x="8877355" y="2579850"/>
              <a:ext cx="62628" cy="13048"/>
            </a:xfrm>
            <a:custGeom>
              <a:avLst/>
              <a:gdLst>
                <a:gd name="connsiteX0" fmla="*/ 62584 w 62628"/>
                <a:gd name="connsiteY0" fmla="*/ 117 h 13048"/>
                <a:gd name="connsiteX1" fmla="*/ 31270 w 62628"/>
                <a:gd name="connsiteY1" fmla="*/ 13165 h 13048"/>
                <a:gd name="connsiteX2" fmla="*/ -44 w 62628"/>
                <a:gd name="connsiteY2" fmla="*/ 117 h 13048"/>
              </a:gdLst>
              <a:ahLst/>
              <a:cxnLst>
                <a:cxn ang="0">
                  <a:pos x="connsiteX0" y="connsiteY0"/>
                </a:cxn>
                <a:cxn ang="0">
                  <a:pos x="connsiteX1" y="connsiteY1"/>
                </a:cxn>
                <a:cxn ang="0">
                  <a:pos x="connsiteX2" y="connsiteY2"/>
                </a:cxn>
              </a:cxnLst>
              <a:rect l="l" t="t" r="r" b="b"/>
              <a:pathLst>
                <a:path w="62628" h="13048">
                  <a:moveTo>
                    <a:pt x="62584" y="117"/>
                  </a:moveTo>
                  <a:cubicBezTo>
                    <a:pt x="54279" y="8472"/>
                    <a:pt x="43015" y="13165"/>
                    <a:pt x="31270" y="13165"/>
                  </a:cubicBezTo>
                  <a:cubicBezTo>
                    <a:pt x="19525" y="13165"/>
                    <a:pt x="8260" y="8472"/>
                    <a:pt x="-44" y="117"/>
                  </a:cubicBezTo>
                </a:path>
              </a:pathLst>
            </a:custGeom>
            <a:noFill/>
            <a:ln w="9881" cap="rnd">
              <a:solidFill>
                <a:srgbClr val="418FDE"/>
              </a:solidFill>
              <a:prstDash val="solid"/>
              <a:miter/>
            </a:ln>
          </p:spPr>
          <p:txBody>
            <a:bodyPr rtlCol="0" anchor="ctr"/>
            <a:lstStyle/>
            <a:p>
              <a:endParaRPr lang="en-US" sz="1633"/>
            </a:p>
          </p:txBody>
        </p:sp>
        <p:sp>
          <p:nvSpPr>
            <p:cNvPr id="136" name="Freihandform: Form 135">
              <a:extLst>
                <a:ext uri="{FF2B5EF4-FFF2-40B4-BE49-F238E27FC236}">
                  <a16:creationId xmlns:a16="http://schemas.microsoft.com/office/drawing/2014/main" id="{20777C3A-634C-456A-9A72-27CE10F684C2}"/>
                </a:ext>
              </a:extLst>
            </p:cNvPr>
            <p:cNvSpPr/>
            <p:nvPr/>
          </p:nvSpPr>
          <p:spPr>
            <a:xfrm rot="5400000">
              <a:off x="8846085" y="2576740"/>
              <a:ext cx="87067" cy="19269"/>
            </a:xfrm>
            <a:custGeom>
              <a:avLst/>
              <a:gdLst>
                <a:gd name="connsiteX0" fmla="*/ 87023 w 87067"/>
                <a:gd name="connsiteY0" fmla="*/ 117 h 19269"/>
                <a:gd name="connsiteX1" fmla="*/ 43489 w 87067"/>
                <a:gd name="connsiteY1" fmla="*/ 19386 h 19269"/>
                <a:gd name="connsiteX2" fmla="*/ -45 w 87067"/>
                <a:gd name="connsiteY2" fmla="*/ 117 h 19269"/>
              </a:gdLst>
              <a:ahLst/>
              <a:cxnLst>
                <a:cxn ang="0">
                  <a:pos x="connsiteX0" y="connsiteY0"/>
                </a:cxn>
                <a:cxn ang="0">
                  <a:pos x="connsiteX1" y="connsiteY1"/>
                </a:cxn>
                <a:cxn ang="0">
                  <a:pos x="connsiteX2" y="connsiteY2"/>
                </a:cxn>
              </a:cxnLst>
              <a:rect l="l" t="t" r="r" b="b"/>
              <a:pathLst>
                <a:path w="87067" h="19269">
                  <a:moveTo>
                    <a:pt x="87023" y="117"/>
                  </a:moveTo>
                  <a:cubicBezTo>
                    <a:pt x="75839" y="12395"/>
                    <a:pt x="60044" y="19386"/>
                    <a:pt x="43489" y="19386"/>
                  </a:cubicBezTo>
                  <a:cubicBezTo>
                    <a:pt x="26934" y="19386"/>
                    <a:pt x="11139" y="12395"/>
                    <a:pt x="-45" y="117"/>
                  </a:cubicBezTo>
                </a:path>
              </a:pathLst>
            </a:custGeom>
            <a:noFill/>
            <a:ln w="9881" cap="rnd">
              <a:solidFill>
                <a:srgbClr val="418FDE"/>
              </a:solidFill>
              <a:prstDash val="solid"/>
              <a:miter/>
            </a:ln>
          </p:spPr>
          <p:txBody>
            <a:bodyPr rtlCol="0" anchor="ctr"/>
            <a:lstStyle/>
            <a:p>
              <a:endParaRPr lang="en-US" sz="1633"/>
            </a:p>
          </p:txBody>
        </p:sp>
        <p:sp>
          <p:nvSpPr>
            <p:cNvPr id="137" name="Freihandform: Form 136">
              <a:extLst>
                <a:ext uri="{FF2B5EF4-FFF2-40B4-BE49-F238E27FC236}">
                  <a16:creationId xmlns:a16="http://schemas.microsoft.com/office/drawing/2014/main" id="{4C99A42F-86EF-40C9-922A-9A857272CB60}"/>
                </a:ext>
              </a:extLst>
            </p:cNvPr>
            <p:cNvSpPr/>
            <p:nvPr/>
          </p:nvSpPr>
          <p:spPr>
            <a:xfrm rot="5400000">
              <a:off x="8814541" y="2573113"/>
              <a:ext cx="113081" cy="26522"/>
            </a:xfrm>
            <a:custGeom>
              <a:avLst/>
              <a:gdLst>
                <a:gd name="connsiteX0" fmla="*/ 113036 w 113081"/>
                <a:gd name="connsiteY0" fmla="*/ 116 h 26522"/>
                <a:gd name="connsiteX1" fmla="*/ 56495 w 113081"/>
                <a:gd name="connsiteY1" fmla="*/ 26638 h 26522"/>
                <a:gd name="connsiteX2" fmla="*/ -45 w 113081"/>
                <a:gd name="connsiteY2" fmla="*/ 116 h 26522"/>
              </a:gdLst>
              <a:ahLst/>
              <a:cxnLst>
                <a:cxn ang="0">
                  <a:pos x="connsiteX0" y="connsiteY0"/>
                </a:cxn>
                <a:cxn ang="0">
                  <a:pos x="connsiteX1" y="connsiteY1"/>
                </a:cxn>
                <a:cxn ang="0">
                  <a:pos x="connsiteX2" y="connsiteY2"/>
                </a:cxn>
              </a:cxnLst>
              <a:rect l="l" t="t" r="r" b="b"/>
              <a:pathLst>
                <a:path w="113081" h="26522">
                  <a:moveTo>
                    <a:pt x="113036" y="116"/>
                  </a:moveTo>
                  <a:cubicBezTo>
                    <a:pt x="99012" y="16929"/>
                    <a:pt x="78313" y="26638"/>
                    <a:pt x="56495" y="26638"/>
                  </a:cubicBezTo>
                  <a:cubicBezTo>
                    <a:pt x="34678" y="26638"/>
                    <a:pt x="13978" y="16929"/>
                    <a:pt x="-45" y="116"/>
                  </a:cubicBezTo>
                </a:path>
              </a:pathLst>
            </a:custGeom>
            <a:noFill/>
            <a:ln w="9881" cap="rnd">
              <a:solidFill>
                <a:srgbClr val="418FDE"/>
              </a:solidFill>
              <a:prstDash val="solid"/>
              <a:miter/>
            </a:ln>
          </p:spPr>
          <p:txBody>
            <a:bodyPr rtlCol="0" anchor="ctr"/>
            <a:lstStyle/>
            <a:p>
              <a:endParaRPr lang="en-US" sz="1633"/>
            </a:p>
          </p:txBody>
        </p:sp>
        <p:sp>
          <p:nvSpPr>
            <p:cNvPr id="138" name="Freihandform: Form 137">
              <a:extLst>
                <a:ext uri="{FF2B5EF4-FFF2-40B4-BE49-F238E27FC236}">
                  <a16:creationId xmlns:a16="http://schemas.microsoft.com/office/drawing/2014/main" id="{98C91C89-4370-43D5-A863-2577CE0B06A8}"/>
                </a:ext>
              </a:extLst>
            </p:cNvPr>
            <p:cNvSpPr/>
            <p:nvPr/>
          </p:nvSpPr>
          <p:spPr>
            <a:xfrm rot="5400000" flipV="1">
              <a:off x="8967717" y="2579850"/>
              <a:ext cx="62628" cy="13048"/>
            </a:xfrm>
            <a:custGeom>
              <a:avLst/>
              <a:gdLst>
                <a:gd name="connsiteX0" fmla="*/ 62586 w 62628"/>
                <a:gd name="connsiteY0" fmla="*/ -66 h 13048"/>
                <a:gd name="connsiteX1" fmla="*/ 31272 w 62628"/>
                <a:gd name="connsiteY1" fmla="*/ 12982 h 13048"/>
                <a:gd name="connsiteX2" fmla="*/ -42 w 62628"/>
                <a:gd name="connsiteY2" fmla="*/ -66 h 13048"/>
              </a:gdLst>
              <a:ahLst/>
              <a:cxnLst>
                <a:cxn ang="0">
                  <a:pos x="connsiteX0" y="connsiteY0"/>
                </a:cxn>
                <a:cxn ang="0">
                  <a:pos x="connsiteX1" y="connsiteY1"/>
                </a:cxn>
                <a:cxn ang="0">
                  <a:pos x="connsiteX2" y="connsiteY2"/>
                </a:cxn>
              </a:cxnLst>
              <a:rect l="l" t="t" r="r" b="b"/>
              <a:pathLst>
                <a:path w="62628" h="13048">
                  <a:moveTo>
                    <a:pt x="62586" y="-66"/>
                  </a:moveTo>
                  <a:cubicBezTo>
                    <a:pt x="54281" y="8288"/>
                    <a:pt x="43017" y="12982"/>
                    <a:pt x="31272" y="12982"/>
                  </a:cubicBezTo>
                  <a:cubicBezTo>
                    <a:pt x="19527" y="12982"/>
                    <a:pt x="8263" y="8288"/>
                    <a:pt x="-42" y="-66"/>
                  </a:cubicBezTo>
                </a:path>
              </a:pathLst>
            </a:custGeom>
            <a:noFill/>
            <a:ln w="9881" cap="rnd">
              <a:solidFill>
                <a:srgbClr val="418FDE"/>
              </a:solidFill>
              <a:prstDash val="solid"/>
              <a:miter/>
            </a:ln>
          </p:spPr>
          <p:txBody>
            <a:bodyPr rtlCol="0" anchor="ctr"/>
            <a:lstStyle/>
            <a:p>
              <a:endParaRPr lang="en-US" sz="1633"/>
            </a:p>
          </p:txBody>
        </p:sp>
        <p:sp>
          <p:nvSpPr>
            <p:cNvPr id="139" name="Freihandform: Form 138">
              <a:extLst>
                <a:ext uri="{FF2B5EF4-FFF2-40B4-BE49-F238E27FC236}">
                  <a16:creationId xmlns:a16="http://schemas.microsoft.com/office/drawing/2014/main" id="{36BD8EE8-5262-477E-AA8D-FB18EF3131CD}"/>
                </a:ext>
              </a:extLst>
            </p:cNvPr>
            <p:cNvSpPr/>
            <p:nvPr/>
          </p:nvSpPr>
          <p:spPr>
            <a:xfrm rot="5400000" flipV="1">
              <a:off x="8974547" y="2576740"/>
              <a:ext cx="87067" cy="19269"/>
            </a:xfrm>
            <a:custGeom>
              <a:avLst/>
              <a:gdLst>
                <a:gd name="connsiteX0" fmla="*/ 87026 w 87067"/>
                <a:gd name="connsiteY0" fmla="*/ -67 h 19269"/>
                <a:gd name="connsiteX1" fmla="*/ 43492 w 87067"/>
                <a:gd name="connsiteY1" fmla="*/ 19202 h 19269"/>
                <a:gd name="connsiteX2" fmla="*/ -42 w 87067"/>
                <a:gd name="connsiteY2" fmla="*/ -67 h 19269"/>
              </a:gdLst>
              <a:ahLst/>
              <a:cxnLst>
                <a:cxn ang="0">
                  <a:pos x="connsiteX0" y="connsiteY0"/>
                </a:cxn>
                <a:cxn ang="0">
                  <a:pos x="connsiteX1" y="connsiteY1"/>
                </a:cxn>
                <a:cxn ang="0">
                  <a:pos x="connsiteX2" y="connsiteY2"/>
                </a:cxn>
              </a:cxnLst>
              <a:rect l="l" t="t" r="r" b="b"/>
              <a:pathLst>
                <a:path w="87067" h="19269">
                  <a:moveTo>
                    <a:pt x="87026" y="-67"/>
                  </a:moveTo>
                  <a:cubicBezTo>
                    <a:pt x="75842" y="12211"/>
                    <a:pt x="60047" y="19202"/>
                    <a:pt x="43492" y="19202"/>
                  </a:cubicBezTo>
                  <a:cubicBezTo>
                    <a:pt x="26937" y="19202"/>
                    <a:pt x="11143" y="12211"/>
                    <a:pt x="-42" y="-67"/>
                  </a:cubicBezTo>
                </a:path>
              </a:pathLst>
            </a:custGeom>
            <a:noFill/>
            <a:ln w="9881" cap="rnd">
              <a:solidFill>
                <a:srgbClr val="418FDE"/>
              </a:solidFill>
              <a:prstDash val="solid"/>
              <a:miter/>
            </a:ln>
          </p:spPr>
          <p:txBody>
            <a:bodyPr rtlCol="0" anchor="ctr"/>
            <a:lstStyle/>
            <a:p>
              <a:endParaRPr lang="en-US" sz="1633"/>
            </a:p>
          </p:txBody>
        </p:sp>
        <p:sp>
          <p:nvSpPr>
            <p:cNvPr id="140" name="Freihandform: Form 139">
              <a:extLst>
                <a:ext uri="{FF2B5EF4-FFF2-40B4-BE49-F238E27FC236}">
                  <a16:creationId xmlns:a16="http://schemas.microsoft.com/office/drawing/2014/main" id="{115EF6AC-B078-4563-927E-306C074ACC25}"/>
                </a:ext>
              </a:extLst>
            </p:cNvPr>
            <p:cNvSpPr/>
            <p:nvPr/>
          </p:nvSpPr>
          <p:spPr>
            <a:xfrm rot="5400000" flipV="1">
              <a:off x="8980078" y="2573113"/>
              <a:ext cx="113081" cy="26522"/>
            </a:xfrm>
            <a:custGeom>
              <a:avLst/>
              <a:gdLst>
                <a:gd name="connsiteX0" fmla="*/ 113040 w 113081"/>
                <a:gd name="connsiteY0" fmla="*/ -68 h 26522"/>
                <a:gd name="connsiteX1" fmla="*/ 56500 w 113081"/>
                <a:gd name="connsiteY1" fmla="*/ 26455 h 26522"/>
                <a:gd name="connsiteX2" fmla="*/ -41 w 113081"/>
                <a:gd name="connsiteY2" fmla="*/ -68 h 26522"/>
              </a:gdLst>
              <a:ahLst/>
              <a:cxnLst>
                <a:cxn ang="0">
                  <a:pos x="connsiteX0" y="connsiteY0"/>
                </a:cxn>
                <a:cxn ang="0">
                  <a:pos x="connsiteX1" y="connsiteY1"/>
                </a:cxn>
                <a:cxn ang="0">
                  <a:pos x="connsiteX2" y="connsiteY2"/>
                </a:cxn>
              </a:cxnLst>
              <a:rect l="l" t="t" r="r" b="b"/>
              <a:pathLst>
                <a:path w="113081" h="26522">
                  <a:moveTo>
                    <a:pt x="113040" y="-68"/>
                  </a:moveTo>
                  <a:cubicBezTo>
                    <a:pt x="99017" y="16745"/>
                    <a:pt x="78317" y="26455"/>
                    <a:pt x="56500" y="26455"/>
                  </a:cubicBezTo>
                  <a:cubicBezTo>
                    <a:pt x="34682" y="26455"/>
                    <a:pt x="13983" y="16745"/>
                    <a:pt x="-41" y="-68"/>
                  </a:cubicBezTo>
                </a:path>
              </a:pathLst>
            </a:custGeom>
            <a:noFill/>
            <a:ln w="9881" cap="rnd">
              <a:solidFill>
                <a:srgbClr val="418FDE"/>
              </a:solidFill>
              <a:prstDash val="solid"/>
              <a:miter/>
            </a:ln>
          </p:spPr>
          <p:txBody>
            <a:bodyPr rtlCol="0" anchor="ctr"/>
            <a:lstStyle/>
            <a:p>
              <a:endParaRPr lang="en-US" sz="1633"/>
            </a:p>
          </p:txBody>
        </p:sp>
      </p:grpSp>
      <p:sp>
        <p:nvSpPr>
          <p:cNvPr id="141" name="Freihandform: Form 140">
            <a:extLst>
              <a:ext uri="{FF2B5EF4-FFF2-40B4-BE49-F238E27FC236}">
                <a16:creationId xmlns:a16="http://schemas.microsoft.com/office/drawing/2014/main" id="{D09B9A51-B122-401B-90CF-EBF96AF80C3C}"/>
              </a:ext>
            </a:extLst>
          </p:cNvPr>
          <p:cNvSpPr/>
          <p:nvPr/>
        </p:nvSpPr>
        <p:spPr>
          <a:xfrm>
            <a:off x="5643232" y="4586915"/>
            <a:ext cx="144778" cy="18205"/>
          </a:xfrm>
          <a:custGeom>
            <a:avLst/>
            <a:gdLst>
              <a:gd name="connsiteX0" fmla="*/ 8 w 159549"/>
              <a:gd name="connsiteY0" fmla="*/ 19945 h 20062"/>
              <a:gd name="connsiteX1" fmla="*/ 19952 w 159549"/>
              <a:gd name="connsiteY1" fmla="*/ -118 h 20062"/>
              <a:gd name="connsiteX2" fmla="*/ 119670 w 159549"/>
              <a:gd name="connsiteY2" fmla="*/ -118 h 20062"/>
              <a:gd name="connsiteX3" fmla="*/ 159558 w 159549"/>
              <a:gd name="connsiteY3" fmla="*/ 19945 h 20062"/>
            </a:gdLst>
            <a:ahLst/>
            <a:cxnLst>
              <a:cxn ang="0">
                <a:pos x="connsiteX0" y="connsiteY0"/>
              </a:cxn>
              <a:cxn ang="0">
                <a:pos x="connsiteX1" y="connsiteY1"/>
              </a:cxn>
              <a:cxn ang="0">
                <a:pos x="connsiteX2" y="connsiteY2"/>
              </a:cxn>
              <a:cxn ang="0">
                <a:pos x="connsiteX3" y="connsiteY3"/>
              </a:cxn>
            </a:cxnLst>
            <a:rect l="l" t="t" r="r" b="b"/>
            <a:pathLst>
              <a:path w="159549" h="20062">
                <a:moveTo>
                  <a:pt x="8" y="19945"/>
                </a:moveTo>
                <a:lnTo>
                  <a:pt x="19952" y="-118"/>
                </a:lnTo>
                <a:lnTo>
                  <a:pt x="119670" y="-118"/>
                </a:lnTo>
                <a:lnTo>
                  <a:pt x="159558" y="19945"/>
                </a:lnTo>
                <a:close/>
              </a:path>
            </a:pathLst>
          </a:custGeom>
          <a:solidFill>
            <a:srgbClr val="183859"/>
          </a:solidFill>
          <a:ln w="7968" cap="rnd">
            <a:noFill/>
            <a:prstDash val="solid"/>
            <a:miter/>
          </a:ln>
        </p:spPr>
        <p:txBody>
          <a:bodyPr rtlCol="0" anchor="ctr"/>
          <a:lstStyle/>
          <a:p>
            <a:endParaRPr lang="en-US" sz="1633"/>
          </a:p>
        </p:txBody>
      </p:sp>
      <p:sp>
        <p:nvSpPr>
          <p:cNvPr id="142" name="Freihandform: Form 141">
            <a:extLst>
              <a:ext uri="{FF2B5EF4-FFF2-40B4-BE49-F238E27FC236}">
                <a16:creationId xmlns:a16="http://schemas.microsoft.com/office/drawing/2014/main" id="{58E9FB6B-AF91-4086-984F-24FA635D940F}"/>
              </a:ext>
            </a:extLst>
          </p:cNvPr>
          <p:cNvSpPr/>
          <p:nvPr/>
        </p:nvSpPr>
        <p:spPr>
          <a:xfrm>
            <a:off x="8009461" y="2265758"/>
            <a:ext cx="199070" cy="18205"/>
          </a:xfrm>
          <a:custGeom>
            <a:avLst/>
            <a:gdLst>
              <a:gd name="connsiteX0" fmla="*/ 219388 w 219380"/>
              <a:gd name="connsiteY0" fmla="*/ 19945 h 20062"/>
              <a:gd name="connsiteX1" fmla="*/ 199445 w 219380"/>
              <a:gd name="connsiteY1" fmla="*/ -118 h 20062"/>
              <a:gd name="connsiteX2" fmla="*/ 69810 w 219380"/>
              <a:gd name="connsiteY2" fmla="*/ -118 h 20062"/>
              <a:gd name="connsiteX3" fmla="*/ 8 w 219380"/>
              <a:gd name="connsiteY3" fmla="*/ 19945 h 20062"/>
            </a:gdLst>
            <a:ahLst/>
            <a:cxnLst>
              <a:cxn ang="0">
                <a:pos x="connsiteX0" y="connsiteY0"/>
              </a:cxn>
              <a:cxn ang="0">
                <a:pos x="connsiteX1" y="connsiteY1"/>
              </a:cxn>
              <a:cxn ang="0">
                <a:pos x="connsiteX2" y="connsiteY2"/>
              </a:cxn>
              <a:cxn ang="0">
                <a:pos x="connsiteX3" y="connsiteY3"/>
              </a:cxn>
            </a:cxnLst>
            <a:rect l="l" t="t" r="r" b="b"/>
            <a:pathLst>
              <a:path w="219380" h="20062">
                <a:moveTo>
                  <a:pt x="219388" y="19945"/>
                </a:moveTo>
                <a:lnTo>
                  <a:pt x="199445" y="-118"/>
                </a:lnTo>
                <a:lnTo>
                  <a:pt x="69810" y="-118"/>
                </a:lnTo>
                <a:lnTo>
                  <a:pt x="8" y="19945"/>
                </a:lnTo>
                <a:close/>
              </a:path>
            </a:pathLst>
          </a:custGeom>
          <a:solidFill>
            <a:srgbClr val="183859"/>
          </a:solidFill>
          <a:ln w="9881" cap="rnd">
            <a:noFill/>
            <a:prstDash val="solid"/>
            <a:miter/>
          </a:ln>
        </p:spPr>
        <p:txBody>
          <a:bodyPr rtlCol="0" anchor="ctr"/>
          <a:lstStyle/>
          <a:p>
            <a:endParaRPr lang="en-US" sz="1633"/>
          </a:p>
        </p:txBody>
      </p:sp>
      <p:grpSp>
        <p:nvGrpSpPr>
          <p:cNvPr id="143" name="Grafik 3">
            <a:extLst>
              <a:ext uri="{FF2B5EF4-FFF2-40B4-BE49-F238E27FC236}">
                <a16:creationId xmlns:a16="http://schemas.microsoft.com/office/drawing/2014/main" id="{F568E026-0478-412B-9A8C-CE784D53D855}"/>
              </a:ext>
            </a:extLst>
          </p:cNvPr>
          <p:cNvGrpSpPr/>
          <p:nvPr/>
        </p:nvGrpSpPr>
        <p:grpSpPr>
          <a:xfrm>
            <a:off x="4307446" y="3898118"/>
            <a:ext cx="174136" cy="961870"/>
            <a:chOff x="4746905" y="4294996"/>
            <a:chExt cx="191902" cy="1060003"/>
          </a:xfrm>
        </p:grpSpPr>
        <p:grpSp>
          <p:nvGrpSpPr>
            <p:cNvPr id="144" name="Grafik 3">
              <a:extLst>
                <a:ext uri="{FF2B5EF4-FFF2-40B4-BE49-F238E27FC236}">
                  <a16:creationId xmlns:a16="http://schemas.microsoft.com/office/drawing/2014/main" id="{B30DB7C5-BC7F-4733-AFC4-287E32BF309A}"/>
                </a:ext>
              </a:extLst>
            </p:cNvPr>
            <p:cNvGrpSpPr/>
            <p:nvPr/>
          </p:nvGrpSpPr>
          <p:grpSpPr>
            <a:xfrm>
              <a:off x="4746905" y="4294996"/>
              <a:ext cx="191902" cy="113755"/>
              <a:chOff x="4746905" y="4294996"/>
              <a:chExt cx="191902" cy="113755"/>
            </a:xfrm>
          </p:grpSpPr>
          <p:sp>
            <p:nvSpPr>
              <p:cNvPr id="145" name="Freihandform: Form 144">
                <a:extLst>
                  <a:ext uri="{FF2B5EF4-FFF2-40B4-BE49-F238E27FC236}">
                    <a16:creationId xmlns:a16="http://schemas.microsoft.com/office/drawing/2014/main" id="{2142E2F1-ADAA-4CAA-8B15-A9264F56B010}"/>
                  </a:ext>
                </a:extLst>
              </p:cNvPr>
              <p:cNvSpPr/>
              <p:nvPr/>
            </p:nvSpPr>
            <p:spPr>
              <a:xfrm>
                <a:off x="4818923" y="4327799"/>
                <a:ext cx="47864" cy="48150"/>
              </a:xfrm>
              <a:custGeom>
                <a:avLst/>
                <a:gdLst>
                  <a:gd name="connsiteX0" fmla="*/ 47836 w 47864"/>
                  <a:gd name="connsiteY0" fmla="*/ 23936 h 48150"/>
                  <a:gd name="connsiteX1" fmla="*/ 23904 w 47864"/>
                  <a:gd name="connsiteY1" fmla="*/ 48011 h 48150"/>
                  <a:gd name="connsiteX2" fmla="*/ -28 w 47864"/>
                  <a:gd name="connsiteY2" fmla="*/ 23936 h 48150"/>
                  <a:gd name="connsiteX3" fmla="*/ 23904 w 47864"/>
                  <a:gd name="connsiteY3" fmla="*/ -139 h 48150"/>
                  <a:gd name="connsiteX4" fmla="*/ 47836 w 47864"/>
                  <a:gd name="connsiteY4" fmla="*/ 23936 h 4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64" h="48150">
                    <a:moveTo>
                      <a:pt x="47836" y="23936"/>
                    </a:moveTo>
                    <a:cubicBezTo>
                      <a:pt x="47836" y="37232"/>
                      <a:pt x="37121" y="48011"/>
                      <a:pt x="23904" y="48011"/>
                    </a:cubicBezTo>
                    <a:cubicBezTo>
                      <a:pt x="10687" y="48011"/>
                      <a:pt x="-28" y="37232"/>
                      <a:pt x="-28" y="23936"/>
                    </a:cubicBezTo>
                    <a:cubicBezTo>
                      <a:pt x="-28" y="10640"/>
                      <a:pt x="10687" y="-139"/>
                      <a:pt x="23904" y="-139"/>
                    </a:cubicBezTo>
                    <a:cubicBezTo>
                      <a:pt x="37121" y="-139"/>
                      <a:pt x="47836" y="10640"/>
                      <a:pt x="47836" y="23936"/>
                    </a:cubicBezTo>
                    <a:close/>
                  </a:path>
                </a:pathLst>
              </a:custGeom>
              <a:solidFill>
                <a:srgbClr val="418FDE"/>
              </a:solidFill>
              <a:ln w="11795" cap="rnd">
                <a:noFill/>
                <a:prstDash val="solid"/>
                <a:miter/>
              </a:ln>
            </p:spPr>
            <p:txBody>
              <a:bodyPr rtlCol="0" anchor="ctr"/>
              <a:lstStyle/>
              <a:p>
                <a:endParaRPr lang="en-US" sz="1633"/>
              </a:p>
            </p:txBody>
          </p:sp>
          <p:sp>
            <p:nvSpPr>
              <p:cNvPr id="146" name="Freihandform: Form 145">
                <a:extLst>
                  <a:ext uri="{FF2B5EF4-FFF2-40B4-BE49-F238E27FC236}">
                    <a16:creationId xmlns:a16="http://schemas.microsoft.com/office/drawing/2014/main" id="{60575510-1BDD-4E9C-A186-5B1E13FBFEB1}"/>
                  </a:ext>
                </a:extLst>
              </p:cNvPr>
              <p:cNvSpPr/>
              <p:nvPr/>
            </p:nvSpPr>
            <p:spPr>
              <a:xfrm rot="5400000">
                <a:off x="4766361" y="4345350"/>
                <a:ext cx="62628" cy="13048"/>
              </a:xfrm>
              <a:custGeom>
                <a:avLst/>
                <a:gdLst>
                  <a:gd name="connsiteX0" fmla="*/ 62481 w 62628"/>
                  <a:gd name="connsiteY0" fmla="*/ 161 h 13048"/>
                  <a:gd name="connsiteX1" fmla="*/ 31167 w 62628"/>
                  <a:gd name="connsiteY1" fmla="*/ 13209 h 13048"/>
                  <a:gd name="connsiteX2" fmla="*/ -147 w 62628"/>
                  <a:gd name="connsiteY2" fmla="*/ 161 h 13048"/>
                </a:gdLst>
                <a:ahLst/>
                <a:cxnLst>
                  <a:cxn ang="0">
                    <a:pos x="connsiteX0" y="connsiteY0"/>
                  </a:cxn>
                  <a:cxn ang="0">
                    <a:pos x="connsiteX1" y="connsiteY1"/>
                  </a:cxn>
                  <a:cxn ang="0">
                    <a:pos x="connsiteX2" y="connsiteY2"/>
                  </a:cxn>
                </a:cxnLst>
                <a:rect l="l" t="t" r="r" b="b"/>
                <a:pathLst>
                  <a:path w="62628" h="13048">
                    <a:moveTo>
                      <a:pt x="62481" y="161"/>
                    </a:moveTo>
                    <a:cubicBezTo>
                      <a:pt x="54176" y="8516"/>
                      <a:pt x="42911" y="13209"/>
                      <a:pt x="31167" y="13209"/>
                    </a:cubicBezTo>
                    <a:cubicBezTo>
                      <a:pt x="19421" y="13209"/>
                      <a:pt x="8157" y="8516"/>
                      <a:pt x="-147" y="161"/>
                    </a:cubicBezTo>
                  </a:path>
                </a:pathLst>
              </a:custGeom>
              <a:noFill/>
              <a:ln w="9881" cap="rnd">
                <a:solidFill>
                  <a:srgbClr val="418FDE"/>
                </a:solidFill>
                <a:prstDash val="solid"/>
                <a:miter/>
              </a:ln>
            </p:spPr>
            <p:txBody>
              <a:bodyPr rtlCol="0" anchor="ctr"/>
              <a:lstStyle/>
              <a:p>
                <a:endParaRPr lang="en-US" sz="1633"/>
              </a:p>
            </p:txBody>
          </p:sp>
          <p:sp>
            <p:nvSpPr>
              <p:cNvPr id="147" name="Freihandform: Form 146">
                <a:extLst>
                  <a:ext uri="{FF2B5EF4-FFF2-40B4-BE49-F238E27FC236}">
                    <a16:creationId xmlns:a16="http://schemas.microsoft.com/office/drawing/2014/main" id="{A18C0768-B8D3-43D7-9F11-F0A68EB96C20}"/>
                  </a:ext>
                </a:extLst>
              </p:cNvPr>
              <p:cNvSpPr/>
              <p:nvPr/>
            </p:nvSpPr>
            <p:spPr>
              <a:xfrm rot="5400000">
                <a:off x="4735091" y="4342240"/>
                <a:ext cx="87067" cy="19269"/>
              </a:xfrm>
              <a:custGeom>
                <a:avLst/>
                <a:gdLst>
                  <a:gd name="connsiteX0" fmla="*/ 86920 w 87067"/>
                  <a:gd name="connsiteY0" fmla="*/ 161 h 19269"/>
                  <a:gd name="connsiteX1" fmla="*/ 43386 w 87067"/>
                  <a:gd name="connsiteY1" fmla="*/ 19430 h 19269"/>
                  <a:gd name="connsiteX2" fmla="*/ -148 w 87067"/>
                  <a:gd name="connsiteY2" fmla="*/ 161 h 19269"/>
                </a:gdLst>
                <a:ahLst/>
                <a:cxnLst>
                  <a:cxn ang="0">
                    <a:pos x="connsiteX0" y="connsiteY0"/>
                  </a:cxn>
                  <a:cxn ang="0">
                    <a:pos x="connsiteX1" y="connsiteY1"/>
                  </a:cxn>
                  <a:cxn ang="0">
                    <a:pos x="connsiteX2" y="connsiteY2"/>
                  </a:cxn>
                </a:cxnLst>
                <a:rect l="l" t="t" r="r" b="b"/>
                <a:pathLst>
                  <a:path w="87067" h="19269">
                    <a:moveTo>
                      <a:pt x="86920" y="161"/>
                    </a:moveTo>
                    <a:cubicBezTo>
                      <a:pt x="75736" y="12439"/>
                      <a:pt x="59941" y="19430"/>
                      <a:pt x="43386" y="19430"/>
                    </a:cubicBezTo>
                    <a:cubicBezTo>
                      <a:pt x="26831" y="19430"/>
                      <a:pt x="11036" y="12439"/>
                      <a:pt x="-148" y="161"/>
                    </a:cubicBezTo>
                  </a:path>
                </a:pathLst>
              </a:custGeom>
              <a:noFill/>
              <a:ln w="9881" cap="rnd">
                <a:solidFill>
                  <a:srgbClr val="418FDE"/>
                </a:solidFill>
                <a:prstDash val="solid"/>
                <a:miter/>
              </a:ln>
            </p:spPr>
            <p:txBody>
              <a:bodyPr rtlCol="0" anchor="ctr"/>
              <a:lstStyle/>
              <a:p>
                <a:endParaRPr lang="en-US" sz="1633"/>
              </a:p>
            </p:txBody>
          </p:sp>
          <p:sp>
            <p:nvSpPr>
              <p:cNvPr id="148" name="Freihandform: Form 147">
                <a:extLst>
                  <a:ext uri="{FF2B5EF4-FFF2-40B4-BE49-F238E27FC236}">
                    <a16:creationId xmlns:a16="http://schemas.microsoft.com/office/drawing/2014/main" id="{A7CED433-BCF0-4427-B350-CA8ADF04948A}"/>
                  </a:ext>
                </a:extLst>
              </p:cNvPr>
              <p:cNvSpPr/>
              <p:nvPr/>
            </p:nvSpPr>
            <p:spPr>
              <a:xfrm rot="5400000">
                <a:off x="4703547" y="4338613"/>
                <a:ext cx="113081" cy="26522"/>
              </a:xfrm>
              <a:custGeom>
                <a:avLst/>
                <a:gdLst>
                  <a:gd name="connsiteX0" fmla="*/ 112933 w 113081"/>
                  <a:gd name="connsiteY0" fmla="*/ 160 h 26522"/>
                  <a:gd name="connsiteX1" fmla="*/ 56392 w 113081"/>
                  <a:gd name="connsiteY1" fmla="*/ 26682 h 26522"/>
                  <a:gd name="connsiteX2" fmla="*/ -148 w 113081"/>
                  <a:gd name="connsiteY2" fmla="*/ 160 h 26522"/>
                </a:gdLst>
                <a:ahLst/>
                <a:cxnLst>
                  <a:cxn ang="0">
                    <a:pos x="connsiteX0" y="connsiteY0"/>
                  </a:cxn>
                  <a:cxn ang="0">
                    <a:pos x="connsiteX1" y="connsiteY1"/>
                  </a:cxn>
                  <a:cxn ang="0">
                    <a:pos x="connsiteX2" y="connsiteY2"/>
                  </a:cxn>
                </a:cxnLst>
                <a:rect l="l" t="t" r="r" b="b"/>
                <a:pathLst>
                  <a:path w="113081" h="26522">
                    <a:moveTo>
                      <a:pt x="112933" y="160"/>
                    </a:moveTo>
                    <a:cubicBezTo>
                      <a:pt x="98909" y="16973"/>
                      <a:pt x="78210" y="26682"/>
                      <a:pt x="56392" y="26682"/>
                    </a:cubicBezTo>
                    <a:cubicBezTo>
                      <a:pt x="34575" y="26682"/>
                      <a:pt x="13875" y="16973"/>
                      <a:pt x="-148" y="160"/>
                    </a:cubicBezTo>
                  </a:path>
                </a:pathLst>
              </a:custGeom>
              <a:noFill/>
              <a:ln w="9881" cap="rnd">
                <a:solidFill>
                  <a:srgbClr val="418FDE"/>
                </a:solidFill>
                <a:prstDash val="solid"/>
                <a:miter/>
              </a:ln>
            </p:spPr>
            <p:txBody>
              <a:bodyPr rtlCol="0" anchor="ctr"/>
              <a:lstStyle/>
              <a:p>
                <a:endParaRPr lang="en-US" sz="1633"/>
              </a:p>
            </p:txBody>
          </p:sp>
          <p:sp>
            <p:nvSpPr>
              <p:cNvPr id="149" name="Freihandform: Form 148">
                <a:extLst>
                  <a:ext uri="{FF2B5EF4-FFF2-40B4-BE49-F238E27FC236}">
                    <a16:creationId xmlns:a16="http://schemas.microsoft.com/office/drawing/2014/main" id="{760E695F-77A9-484E-9F34-EB3446A3F0D0}"/>
                  </a:ext>
                </a:extLst>
              </p:cNvPr>
              <p:cNvSpPr/>
              <p:nvPr/>
            </p:nvSpPr>
            <p:spPr>
              <a:xfrm rot="5400000" flipV="1">
                <a:off x="4856722" y="4345350"/>
                <a:ext cx="62628" cy="13048"/>
              </a:xfrm>
              <a:custGeom>
                <a:avLst/>
                <a:gdLst>
                  <a:gd name="connsiteX0" fmla="*/ 62483 w 62628"/>
                  <a:gd name="connsiteY0" fmla="*/ -22 h 13048"/>
                  <a:gd name="connsiteX1" fmla="*/ 31169 w 62628"/>
                  <a:gd name="connsiteY1" fmla="*/ 13026 h 13048"/>
                  <a:gd name="connsiteX2" fmla="*/ -145 w 62628"/>
                  <a:gd name="connsiteY2" fmla="*/ -22 h 13048"/>
                </a:gdLst>
                <a:ahLst/>
                <a:cxnLst>
                  <a:cxn ang="0">
                    <a:pos x="connsiteX0" y="connsiteY0"/>
                  </a:cxn>
                  <a:cxn ang="0">
                    <a:pos x="connsiteX1" y="connsiteY1"/>
                  </a:cxn>
                  <a:cxn ang="0">
                    <a:pos x="connsiteX2" y="connsiteY2"/>
                  </a:cxn>
                </a:cxnLst>
                <a:rect l="l" t="t" r="r" b="b"/>
                <a:pathLst>
                  <a:path w="62628" h="13048">
                    <a:moveTo>
                      <a:pt x="62483" y="-22"/>
                    </a:moveTo>
                    <a:cubicBezTo>
                      <a:pt x="54178" y="8332"/>
                      <a:pt x="42914" y="13026"/>
                      <a:pt x="31169" y="13026"/>
                    </a:cubicBezTo>
                    <a:cubicBezTo>
                      <a:pt x="19424" y="13026"/>
                      <a:pt x="8160" y="8332"/>
                      <a:pt x="-145" y="-22"/>
                    </a:cubicBezTo>
                  </a:path>
                </a:pathLst>
              </a:custGeom>
              <a:noFill/>
              <a:ln w="9881" cap="rnd">
                <a:solidFill>
                  <a:srgbClr val="418FDE"/>
                </a:solidFill>
                <a:prstDash val="solid"/>
                <a:miter/>
              </a:ln>
            </p:spPr>
            <p:txBody>
              <a:bodyPr rtlCol="0" anchor="ctr"/>
              <a:lstStyle/>
              <a:p>
                <a:endParaRPr lang="en-US" sz="1633"/>
              </a:p>
            </p:txBody>
          </p:sp>
          <p:sp>
            <p:nvSpPr>
              <p:cNvPr id="150" name="Freihandform: Form 149">
                <a:extLst>
                  <a:ext uri="{FF2B5EF4-FFF2-40B4-BE49-F238E27FC236}">
                    <a16:creationId xmlns:a16="http://schemas.microsoft.com/office/drawing/2014/main" id="{3B0C72A8-84CB-445F-97B4-7ADBF8B4821D}"/>
                  </a:ext>
                </a:extLst>
              </p:cNvPr>
              <p:cNvSpPr/>
              <p:nvPr/>
            </p:nvSpPr>
            <p:spPr>
              <a:xfrm rot="5400000" flipV="1">
                <a:off x="4863553" y="4342240"/>
                <a:ext cx="87067" cy="19269"/>
              </a:xfrm>
              <a:custGeom>
                <a:avLst/>
                <a:gdLst>
                  <a:gd name="connsiteX0" fmla="*/ 86923 w 87067"/>
                  <a:gd name="connsiteY0" fmla="*/ -23 h 19269"/>
                  <a:gd name="connsiteX1" fmla="*/ 43389 w 87067"/>
                  <a:gd name="connsiteY1" fmla="*/ 19246 h 19269"/>
                  <a:gd name="connsiteX2" fmla="*/ -145 w 87067"/>
                  <a:gd name="connsiteY2" fmla="*/ -23 h 19269"/>
                </a:gdLst>
                <a:ahLst/>
                <a:cxnLst>
                  <a:cxn ang="0">
                    <a:pos x="connsiteX0" y="connsiteY0"/>
                  </a:cxn>
                  <a:cxn ang="0">
                    <a:pos x="connsiteX1" y="connsiteY1"/>
                  </a:cxn>
                  <a:cxn ang="0">
                    <a:pos x="connsiteX2" y="connsiteY2"/>
                  </a:cxn>
                </a:cxnLst>
                <a:rect l="l" t="t" r="r" b="b"/>
                <a:pathLst>
                  <a:path w="87067" h="19269">
                    <a:moveTo>
                      <a:pt x="86923" y="-23"/>
                    </a:moveTo>
                    <a:cubicBezTo>
                      <a:pt x="75739" y="12255"/>
                      <a:pt x="59944" y="19246"/>
                      <a:pt x="43389" y="19246"/>
                    </a:cubicBezTo>
                    <a:cubicBezTo>
                      <a:pt x="26834" y="19246"/>
                      <a:pt x="11040" y="12255"/>
                      <a:pt x="-145" y="-23"/>
                    </a:cubicBezTo>
                  </a:path>
                </a:pathLst>
              </a:custGeom>
              <a:noFill/>
              <a:ln w="9881" cap="rnd">
                <a:solidFill>
                  <a:srgbClr val="418FDE"/>
                </a:solidFill>
                <a:prstDash val="solid"/>
                <a:miter/>
              </a:ln>
            </p:spPr>
            <p:txBody>
              <a:bodyPr rtlCol="0" anchor="ctr"/>
              <a:lstStyle/>
              <a:p>
                <a:endParaRPr lang="en-US" sz="1633"/>
              </a:p>
            </p:txBody>
          </p:sp>
          <p:sp>
            <p:nvSpPr>
              <p:cNvPr id="151" name="Freihandform: Form 150">
                <a:extLst>
                  <a:ext uri="{FF2B5EF4-FFF2-40B4-BE49-F238E27FC236}">
                    <a16:creationId xmlns:a16="http://schemas.microsoft.com/office/drawing/2014/main" id="{004E2615-5BC3-4606-A06B-2216AEF70561}"/>
                  </a:ext>
                </a:extLst>
              </p:cNvPr>
              <p:cNvSpPr/>
              <p:nvPr/>
            </p:nvSpPr>
            <p:spPr>
              <a:xfrm rot="5400000" flipV="1">
                <a:off x="4869084" y="4338613"/>
                <a:ext cx="113081" cy="26522"/>
              </a:xfrm>
              <a:custGeom>
                <a:avLst/>
                <a:gdLst>
                  <a:gd name="connsiteX0" fmla="*/ 112937 w 113081"/>
                  <a:gd name="connsiteY0" fmla="*/ -24 h 26522"/>
                  <a:gd name="connsiteX1" fmla="*/ 56397 w 113081"/>
                  <a:gd name="connsiteY1" fmla="*/ 26499 h 26522"/>
                  <a:gd name="connsiteX2" fmla="*/ -144 w 113081"/>
                  <a:gd name="connsiteY2" fmla="*/ -24 h 26522"/>
                </a:gdLst>
                <a:ahLst/>
                <a:cxnLst>
                  <a:cxn ang="0">
                    <a:pos x="connsiteX0" y="connsiteY0"/>
                  </a:cxn>
                  <a:cxn ang="0">
                    <a:pos x="connsiteX1" y="connsiteY1"/>
                  </a:cxn>
                  <a:cxn ang="0">
                    <a:pos x="connsiteX2" y="connsiteY2"/>
                  </a:cxn>
                </a:cxnLst>
                <a:rect l="l" t="t" r="r" b="b"/>
                <a:pathLst>
                  <a:path w="113081" h="26522">
                    <a:moveTo>
                      <a:pt x="112937" y="-24"/>
                    </a:moveTo>
                    <a:cubicBezTo>
                      <a:pt x="98914" y="16789"/>
                      <a:pt x="78214" y="26499"/>
                      <a:pt x="56397" y="26499"/>
                    </a:cubicBezTo>
                    <a:cubicBezTo>
                      <a:pt x="34579" y="26499"/>
                      <a:pt x="13880" y="16789"/>
                      <a:pt x="-144" y="-24"/>
                    </a:cubicBezTo>
                  </a:path>
                </a:pathLst>
              </a:custGeom>
              <a:noFill/>
              <a:ln w="9881" cap="rnd">
                <a:solidFill>
                  <a:srgbClr val="418FDE"/>
                </a:solidFill>
                <a:prstDash val="solid"/>
                <a:miter/>
              </a:ln>
            </p:spPr>
            <p:txBody>
              <a:bodyPr rtlCol="0" anchor="ctr"/>
              <a:lstStyle/>
              <a:p>
                <a:endParaRPr lang="en-US" sz="1633"/>
              </a:p>
            </p:txBody>
          </p:sp>
        </p:grpSp>
        <p:sp>
          <p:nvSpPr>
            <p:cNvPr id="152" name="Freihandform: Form 151">
              <a:extLst>
                <a:ext uri="{FF2B5EF4-FFF2-40B4-BE49-F238E27FC236}">
                  <a16:creationId xmlns:a16="http://schemas.microsoft.com/office/drawing/2014/main" id="{AA18746E-958A-4AC0-9DE1-7631D0918CA8}"/>
                </a:ext>
              </a:extLst>
            </p:cNvPr>
            <p:cNvSpPr/>
            <p:nvPr/>
          </p:nvSpPr>
          <p:spPr>
            <a:xfrm>
              <a:off x="4822912" y="4392000"/>
              <a:ext cx="39887" cy="963000"/>
            </a:xfrm>
            <a:custGeom>
              <a:avLst/>
              <a:gdLst>
                <a:gd name="connsiteX0" fmla="*/ 67 w 39887"/>
                <a:gd name="connsiteY0" fmla="*/ -118 h 963000"/>
                <a:gd name="connsiteX1" fmla="*/ 67 w 39887"/>
                <a:gd name="connsiteY1" fmla="*/ 962882 h 963000"/>
                <a:gd name="connsiteX2" fmla="*/ 39954 w 39887"/>
                <a:gd name="connsiteY2" fmla="*/ 962882 h 963000"/>
                <a:gd name="connsiteX3" fmla="*/ 39954 w 39887"/>
                <a:gd name="connsiteY3" fmla="*/ -118 h 963000"/>
              </a:gdLst>
              <a:ahLst/>
              <a:cxnLst>
                <a:cxn ang="0">
                  <a:pos x="connsiteX0" y="connsiteY0"/>
                </a:cxn>
                <a:cxn ang="0">
                  <a:pos x="connsiteX1" y="connsiteY1"/>
                </a:cxn>
                <a:cxn ang="0">
                  <a:pos x="connsiteX2" y="connsiteY2"/>
                </a:cxn>
                <a:cxn ang="0">
                  <a:pos x="connsiteX3" y="connsiteY3"/>
                </a:cxn>
              </a:cxnLst>
              <a:rect l="l" t="t" r="r" b="b"/>
              <a:pathLst>
                <a:path w="39887" h="963000">
                  <a:moveTo>
                    <a:pt x="67" y="-118"/>
                  </a:moveTo>
                  <a:lnTo>
                    <a:pt x="67" y="962882"/>
                  </a:lnTo>
                  <a:lnTo>
                    <a:pt x="39954" y="962882"/>
                  </a:lnTo>
                  <a:lnTo>
                    <a:pt x="39954" y="-118"/>
                  </a:lnTo>
                </a:path>
              </a:pathLst>
            </a:custGeom>
            <a:solidFill>
              <a:srgbClr val="183859"/>
            </a:solidFill>
            <a:ln w="9881" cap="rnd">
              <a:noFill/>
              <a:prstDash val="solid"/>
              <a:miter/>
            </a:ln>
          </p:spPr>
          <p:txBody>
            <a:bodyPr rtlCol="0" anchor="ctr"/>
            <a:lstStyle/>
            <a:p>
              <a:endParaRPr lang="en-US" sz="1633"/>
            </a:p>
          </p:txBody>
        </p:sp>
        <p:sp>
          <p:nvSpPr>
            <p:cNvPr id="153" name="Freihandform: Form 152">
              <a:extLst>
                <a:ext uri="{FF2B5EF4-FFF2-40B4-BE49-F238E27FC236}">
                  <a16:creationId xmlns:a16="http://schemas.microsoft.com/office/drawing/2014/main" id="{5C750CDE-A970-4EDE-A129-214171C6C79B}"/>
                </a:ext>
              </a:extLst>
            </p:cNvPr>
            <p:cNvSpPr/>
            <p:nvPr/>
          </p:nvSpPr>
          <p:spPr>
            <a:xfrm>
              <a:off x="4872772" y="4452187"/>
              <a:ext cx="29915" cy="120375"/>
            </a:xfrm>
            <a:custGeom>
              <a:avLst/>
              <a:gdLst>
                <a:gd name="connsiteX0" fmla="*/ 67 w 29915"/>
                <a:gd name="connsiteY0" fmla="*/ 19945 h 120375"/>
                <a:gd name="connsiteX1" fmla="*/ 29983 w 29915"/>
                <a:gd name="connsiteY1" fmla="*/ -118 h 120375"/>
                <a:gd name="connsiteX2" fmla="*/ 29983 w 29915"/>
                <a:gd name="connsiteY2" fmla="*/ 120257 h 120375"/>
                <a:gd name="connsiteX3" fmla="*/ 67 w 29915"/>
                <a:gd name="connsiteY3" fmla="*/ 100195 h 120375"/>
              </a:gdLst>
              <a:ahLst/>
              <a:cxnLst>
                <a:cxn ang="0">
                  <a:pos x="connsiteX0" y="connsiteY0"/>
                </a:cxn>
                <a:cxn ang="0">
                  <a:pos x="connsiteX1" y="connsiteY1"/>
                </a:cxn>
                <a:cxn ang="0">
                  <a:pos x="connsiteX2" y="connsiteY2"/>
                </a:cxn>
                <a:cxn ang="0">
                  <a:pos x="connsiteX3" y="connsiteY3"/>
                </a:cxn>
              </a:cxnLst>
              <a:rect l="l" t="t" r="r" b="b"/>
              <a:pathLst>
                <a:path w="29915" h="120375">
                  <a:moveTo>
                    <a:pt x="67" y="19945"/>
                  </a:moveTo>
                  <a:lnTo>
                    <a:pt x="29983" y="-118"/>
                  </a:lnTo>
                  <a:lnTo>
                    <a:pt x="29983" y="120257"/>
                  </a:lnTo>
                  <a:lnTo>
                    <a:pt x="67" y="100195"/>
                  </a:lnTo>
                  <a:close/>
                </a:path>
              </a:pathLst>
            </a:custGeom>
            <a:solidFill>
              <a:srgbClr val="183859"/>
            </a:solidFill>
            <a:ln w="9881" cap="rnd">
              <a:noFill/>
              <a:prstDash val="solid"/>
              <a:miter/>
            </a:ln>
          </p:spPr>
          <p:txBody>
            <a:bodyPr rtlCol="0" anchor="ctr"/>
            <a:lstStyle/>
            <a:p>
              <a:endParaRPr lang="en-US" sz="1633"/>
            </a:p>
          </p:txBody>
        </p:sp>
        <p:sp>
          <p:nvSpPr>
            <p:cNvPr id="154" name="Freihandform: Form 153">
              <a:extLst>
                <a:ext uri="{FF2B5EF4-FFF2-40B4-BE49-F238E27FC236}">
                  <a16:creationId xmlns:a16="http://schemas.microsoft.com/office/drawing/2014/main" id="{5D0381E1-113F-4A15-A34B-D6A5C8EB60EA}"/>
                </a:ext>
              </a:extLst>
            </p:cNvPr>
            <p:cNvSpPr/>
            <p:nvPr/>
          </p:nvSpPr>
          <p:spPr>
            <a:xfrm>
              <a:off x="4872772" y="4592625"/>
              <a:ext cx="29915" cy="120375"/>
            </a:xfrm>
            <a:custGeom>
              <a:avLst/>
              <a:gdLst>
                <a:gd name="connsiteX0" fmla="*/ 67 w 29915"/>
                <a:gd name="connsiteY0" fmla="*/ 19945 h 120375"/>
                <a:gd name="connsiteX1" fmla="*/ 29983 w 29915"/>
                <a:gd name="connsiteY1" fmla="*/ -118 h 120375"/>
                <a:gd name="connsiteX2" fmla="*/ 29983 w 29915"/>
                <a:gd name="connsiteY2" fmla="*/ 120257 h 120375"/>
                <a:gd name="connsiteX3" fmla="*/ 67 w 29915"/>
                <a:gd name="connsiteY3" fmla="*/ 100195 h 120375"/>
              </a:gdLst>
              <a:ahLst/>
              <a:cxnLst>
                <a:cxn ang="0">
                  <a:pos x="connsiteX0" y="connsiteY0"/>
                </a:cxn>
                <a:cxn ang="0">
                  <a:pos x="connsiteX1" y="connsiteY1"/>
                </a:cxn>
                <a:cxn ang="0">
                  <a:pos x="connsiteX2" y="connsiteY2"/>
                </a:cxn>
                <a:cxn ang="0">
                  <a:pos x="connsiteX3" y="connsiteY3"/>
                </a:cxn>
              </a:cxnLst>
              <a:rect l="l" t="t" r="r" b="b"/>
              <a:pathLst>
                <a:path w="29915" h="120375">
                  <a:moveTo>
                    <a:pt x="67" y="19945"/>
                  </a:moveTo>
                  <a:lnTo>
                    <a:pt x="29983" y="-118"/>
                  </a:lnTo>
                  <a:lnTo>
                    <a:pt x="29983" y="120257"/>
                  </a:lnTo>
                  <a:lnTo>
                    <a:pt x="67" y="100195"/>
                  </a:lnTo>
                  <a:close/>
                </a:path>
              </a:pathLst>
            </a:custGeom>
            <a:solidFill>
              <a:srgbClr val="183859"/>
            </a:solidFill>
            <a:ln w="9881" cap="rnd">
              <a:noFill/>
              <a:prstDash val="solid"/>
              <a:miter/>
            </a:ln>
          </p:spPr>
          <p:txBody>
            <a:bodyPr rtlCol="0" anchor="ctr"/>
            <a:lstStyle/>
            <a:p>
              <a:endParaRPr lang="en-US" sz="1633"/>
            </a:p>
          </p:txBody>
        </p:sp>
        <p:sp>
          <p:nvSpPr>
            <p:cNvPr id="155" name="Freihandform: Form 154">
              <a:extLst>
                <a:ext uri="{FF2B5EF4-FFF2-40B4-BE49-F238E27FC236}">
                  <a16:creationId xmlns:a16="http://schemas.microsoft.com/office/drawing/2014/main" id="{5EAAB14A-DBAB-471F-A198-EFD80E296C3C}"/>
                </a:ext>
              </a:extLst>
            </p:cNvPr>
            <p:cNvSpPr/>
            <p:nvPr/>
          </p:nvSpPr>
          <p:spPr>
            <a:xfrm>
              <a:off x="4783025" y="4592625"/>
              <a:ext cx="29915" cy="120375"/>
            </a:xfrm>
            <a:custGeom>
              <a:avLst/>
              <a:gdLst>
                <a:gd name="connsiteX0" fmla="*/ 29983 w 29915"/>
                <a:gd name="connsiteY0" fmla="*/ 19945 h 120375"/>
                <a:gd name="connsiteX1" fmla="*/ 67 w 29915"/>
                <a:gd name="connsiteY1" fmla="*/ -118 h 120375"/>
                <a:gd name="connsiteX2" fmla="*/ 67 w 29915"/>
                <a:gd name="connsiteY2" fmla="*/ 120257 h 120375"/>
                <a:gd name="connsiteX3" fmla="*/ 29983 w 29915"/>
                <a:gd name="connsiteY3" fmla="*/ 100195 h 120375"/>
              </a:gdLst>
              <a:ahLst/>
              <a:cxnLst>
                <a:cxn ang="0">
                  <a:pos x="connsiteX0" y="connsiteY0"/>
                </a:cxn>
                <a:cxn ang="0">
                  <a:pos x="connsiteX1" y="connsiteY1"/>
                </a:cxn>
                <a:cxn ang="0">
                  <a:pos x="connsiteX2" y="connsiteY2"/>
                </a:cxn>
                <a:cxn ang="0">
                  <a:pos x="connsiteX3" y="connsiteY3"/>
                </a:cxn>
              </a:cxnLst>
              <a:rect l="l" t="t" r="r" b="b"/>
              <a:pathLst>
                <a:path w="29915" h="120375">
                  <a:moveTo>
                    <a:pt x="29983" y="19945"/>
                  </a:moveTo>
                  <a:lnTo>
                    <a:pt x="67" y="-118"/>
                  </a:lnTo>
                  <a:lnTo>
                    <a:pt x="67" y="120257"/>
                  </a:lnTo>
                  <a:lnTo>
                    <a:pt x="29983" y="100195"/>
                  </a:lnTo>
                  <a:close/>
                </a:path>
              </a:pathLst>
            </a:custGeom>
            <a:solidFill>
              <a:srgbClr val="183859"/>
            </a:solidFill>
            <a:ln w="9881" cap="rnd">
              <a:noFill/>
              <a:prstDash val="solid"/>
              <a:miter/>
            </a:ln>
          </p:spPr>
          <p:txBody>
            <a:bodyPr rtlCol="0" anchor="ctr"/>
            <a:lstStyle/>
            <a:p>
              <a:endParaRPr lang="en-US" sz="1633"/>
            </a:p>
          </p:txBody>
        </p:sp>
        <p:sp>
          <p:nvSpPr>
            <p:cNvPr id="156" name="Freihandform: Form 155">
              <a:extLst>
                <a:ext uri="{FF2B5EF4-FFF2-40B4-BE49-F238E27FC236}">
                  <a16:creationId xmlns:a16="http://schemas.microsoft.com/office/drawing/2014/main" id="{50461AC4-DB86-49A0-B36F-B3D29DAD63B8}"/>
                </a:ext>
              </a:extLst>
            </p:cNvPr>
            <p:cNvSpPr/>
            <p:nvPr/>
          </p:nvSpPr>
          <p:spPr>
            <a:xfrm>
              <a:off x="4783025" y="4452187"/>
              <a:ext cx="29915" cy="120375"/>
            </a:xfrm>
            <a:custGeom>
              <a:avLst/>
              <a:gdLst>
                <a:gd name="connsiteX0" fmla="*/ 29983 w 29915"/>
                <a:gd name="connsiteY0" fmla="*/ 19945 h 120375"/>
                <a:gd name="connsiteX1" fmla="*/ 67 w 29915"/>
                <a:gd name="connsiteY1" fmla="*/ -118 h 120375"/>
                <a:gd name="connsiteX2" fmla="*/ 67 w 29915"/>
                <a:gd name="connsiteY2" fmla="*/ 120257 h 120375"/>
                <a:gd name="connsiteX3" fmla="*/ 29983 w 29915"/>
                <a:gd name="connsiteY3" fmla="*/ 100195 h 120375"/>
              </a:gdLst>
              <a:ahLst/>
              <a:cxnLst>
                <a:cxn ang="0">
                  <a:pos x="connsiteX0" y="connsiteY0"/>
                </a:cxn>
                <a:cxn ang="0">
                  <a:pos x="connsiteX1" y="connsiteY1"/>
                </a:cxn>
                <a:cxn ang="0">
                  <a:pos x="connsiteX2" y="connsiteY2"/>
                </a:cxn>
                <a:cxn ang="0">
                  <a:pos x="connsiteX3" y="connsiteY3"/>
                </a:cxn>
              </a:cxnLst>
              <a:rect l="l" t="t" r="r" b="b"/>
              <a:pathLst>
                <a:path w="29915" h="120375">
                  <a:moveTo>
                    <a:pt x="29983" y="19945"/>
                  </a:moveTo>
                  <a:lnTo>
                    <a:pt x="67" y="-118"/>
                  </a:lnTo>
                  <a:lnTo>
                    <a:pt x="67" y="120257"/>
                  </a:lnTo>
                  <a:lnTo>
                    <a:pt x="29983" y="100195"/>
                  </a:lnTo>
                  <a:close/>
                </a:path>
              </a:pathLst>
            </a:custGeom>
            <a:solidFill>
              <a:srgbClr val="183859"/>
            </a:solidFill>
            <a:ln w="9881" cap="rnd">
              <a:noFill/>
              <a:prstDash val="solid"/>
              <a:miter/>
            </a:ln>
          </p:spPr>
          <p:txBody>
            <a:bodyPr rtlCol="0" anchor="ctr"/>
            <a:lstStyle/>
            <a:p>
              <a:endParaRPr lang="en-US" sz="1633"/>
            </a:p>
          </p:txBody>
        </p:sp>
      </p:grpSp>
      <p:sp>
        <p:nvSpPr>
          <p:cNvPr id="157" name="Freihandform: Form 156">
            <a:extLst>
              <a:ext uri="{FF2B5EF4-FFF2-40B4-BE49-F238E27FC236}">
                <a16:creationId xmlns:a16="http://schemas.microsoft.com/office/drawing/2014/main" id="{2AB41571-3F1A-4944-8451-3662048A31D0}"/>
              </a:ext>
            </a:extLst>
          </p:cNvPr>
          <p:cNvSpPr/>
          <p:nvPr/>
        </p:nvSpPr>
        <p:spPr>
          <a:xfrm>
            <a:off x="3408210" y="4723450"/>
            <a:ext cx="325752" cy="100128"/>
          </a:xfrm>
          <a:custGeom>
            <a:avLst/>
            <a:gdLst>
              <a:gd name="connsiteX0" fmla="*/ 349023 w 358986"/>
              <a:gd name="connsiteY0" fmla="*/ 110226 h 110343"/>
              <a:gd name="connsiteX1" fmla="*/ 358995 w 358986"/>
              <a:gd name="connsiteY1" fmla="*/ 60070 h 110343"/>
              <a:gd name="connsiteX2" fmla="*/ 239333 w 358986"/>
              <a:gd name="connsiteY2" fmla="*/ 40007 h 110343"/>
              <a:gd name="connsiteX3" fmla="*/ 189473 w 358986"/>
              <a:gd name="connsiteY3" fmla="*/ -118 h 110343"/>
              <a:gd name="connsiteX4" fmla="*/ 69811 w 358986"/>
              <a:gd name="connsiteY4" fmla="*/ 9913 h 110343"/>
              <a:gd name="connsiteX5" fmla="*/ 8 w 358986"/>
              <a:gd name="connsiteY5" fmla="*/ 60070 h 110343"/>
              <a:gd name="connsiteX6" fmla="*/ 9980 w 358986"/>
              <a:gd name="connsiteY6" fmla="*/ 110226 h 11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986" h="110343">
                <a:moveTo>
                  <a:pt x="349023" y="110226"/>
                </a:moveTo>
                <a:lnTo>
                  <a:pt x="358995" y="60070"/>
                </a:lnTo>
                <a:lnTo>
                  <a:pt x="239333" y="40007"/>
                </a:lnTo>
                <a:lnTo>
                  <a:pt x="189473" y="-118"/>
                </a:lnTo>
                <a:lnTo>
                  <a:pt x="69811" y="9913"/>
                </a:lnTo>
                <a:lnTo>
                  <a:pt x="8" y="60070"/>
                </a:lnTo>
                <a:lnTo>
                  <a:pt x="9980" y="110226"/>
                </a:lnTo>
                <a:close/>
              </a:path>
            </a:pathLst>
          </a:custGeom>
          <a:solidFill>
            <a:srgbClr val="183859"/>
          </a:solidFill>
          <a:ln w="9881" cap="rnd">
            <a:noFill/>
            <a:prstDash val="solid"/>
            <a:miter/>
          </a:ln>
        </p:spPr>
        <p:txBody>
          <a:bodyPr rtlCol="0" anchor="ctr"/>
          <a:lstStyle/>
          <a:p>
            <a:endParaRPr lang="en-US" sz="1633"/>
          </a:p>
        </p:txBody>
      </p:sp>
      <p:sp>
        <p:nvSpPr>
          <p:cNvPr id="158" name="Freihandform: Form 157">
            <a:extLst>
              <a:ext uri="{FF2B5EF4-FFF2-40B4-BE49-F238E27FC236}">
                <a16:creationId xmlns:a16="http://schemas.microsoft.com/office/drawing/2014/main" id="{DAE98CE3-7355-46C0-B775-E0E710690F7B}"/>
              </a:ext>
            </a:extLst>
          </p:cNvPr>
          <p:cNvSpPr/>
          <p:nvPr/>
        </p:nvSpPr>
        <p:spPr>
          <a:xfrm>
            <a:off x="2639073" y="4277428"/>
            <a:ext cx="434336" cy="582565"/>
          </a:xfrm>
          <a:custGeom>
            <a:avLst/>
            <a:gdLst>
              <a:gd name="connsiteX0" fmla="*/ 398882 w 478648"/>
              <a:gd name="connsiteY0" fmla="*/ 641882 h 642000"/>
              <a:gd name="connsiteX1" fmla="*/ 398882 w 478648"/>
              <a:gd name="connsiteY1" fmla="*/ 240632 h 642000"/>
              <a:gd name="connsiteX2" fmla="*/ 478657 w 478648"/>
              <a:gd name="connsiteY2" fmla="*/ 240632 h 642000"/>
              <a:gd name="connsiteX3" fmla="*/ 239333 w 478648"/>
              <a:gd name="connsiteY3" fmla="*/ -118 h 642000"/>
              <a:gd name="connsiteX4" fmla="*/ 8 w 478648"/>
              <a:gd name="connsiteY4" fmla="*/ 240632 h 642000"/>
              <a:gd name="connsiteX5" fmla="*/ 79783 w 478648"/>
              <a:gd name="connsiteY5" fmla="*/ 240632 h 642000"/>
              <a:gd name="connsiteX6" fmla="*/ 79783 w 478648"/>
              <a:gd name="connsiteY6" fmla="*/ 641882 h 642000"/>
              <a:gd name="connsiteX7" fmla="*/ 398882 w 478648"/>
              <a:gd name="connsiteY7" fmla="*/ 641882 h 64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8648" h="642000">
                <a:moveTo>
                  <a:pt x="398882" y="641882"/>
                </a:moveTo>
                <a:lnTo>
                  <a:pt x="398882" y="240632"/>
                </a:lnTo>
                <a:lnTo>
                  <a:pt x="478657" y="240632"/>
                </a:lnTo>
                <a:lnTo>
                  <a:pt x="239333" y="-118"/>
                </a:lnTo>
                <a:lnTo>
                  <a:pt x="8" y="240632"/>
                </a:lnTo>
                <a:lnTo>
                  <a:pt x="79783" y="240632"/>
                </a:lnTo>
                <a:lnTo>
                  <a:pt x="79783" y="641882"/>
                </a:lnTo>
                <a:lnTo>
                  <a:pt x="398882" y="641882"/>
                </a:lnTo>
              </a:path>
            </a:pathLst>
          </a:custGeom>
          <a:solidFill>
            <a:srgbClr val="183859"/>
          </a:solidFill>
          <a:ln w="9881" cap="rnd">
            <a:noFill/>
            <a:prstDash val="solid"/>
            <a:miter/>
          </a:ln>
        </p:spPr>
        <p:txBody>
          <a:bodyPr rtlCol="0" anchor="ctr"/>
          <a:lstStyle/>
          <a:p>
            <a:endParaRPr lang="en-US" sz="1633"/>
          </a:p>
        </p:txBody>
      </p:sp>
      <p:sp>
        <p:nvSpPr>
          <p:cNvPr id="159" name="Freihandform: Form 158">
            <a:extLst>
              <a:ext uri="{FF2B5EF4-FFF2-40B4-BE49-F238E27FC236}">
                <a16:creationId xmlns:a16="http://schemas.microsoft.com/office/drawing/2014/main" id="{F26630E8-C19B-44C7-9E98-5BDF2AF9F69F}"/>
              </a:ext>
            </a:extLst>
          </p:cNvPr>
          <p:cNvSpPr/>
          <p:nvPr/>
        </p:nvSpPr>
        <p:spPr>
          <a:xfrm>
            <a:off x="2928632" y="4313838"/>
            <a:ext cx="18097" cy="63717"/>
          </a:xfrm>
          <a:custGeom>
            <a:avLst/>
            <a:gdLst>
              <a:gd name="connsiteX0" fmla="*/ 8 w 19943"/>
              <a:gd name="connsiteY0" fmla="*/ 40007 h 70218"/>
              <a:gd name="connsiteX1" fmla="*/ 8 w 19943"/>
              <a:gd name="connsiteY1" fmla="*/ -118 h 70218"/>
              <a:gd name="connsiteX2" fmla="*/ 19952 w 19943"/>
              <a:gd name="connsiteY2" fmla="*/ -118 h 70218"/>
              <a:gd name="connsiteX3" fmla="*/ 19952 w 19943"/>
              <a:gd name="connsiteY3" fmla="*/ 70101 h 70218"/>
            </a:gdLst>
            <a:ahLst/>
            <a:cxnLst>
              <a:cxn ang="0">
                <a:pos x="connsiteX0" y="connsiteY0"/>
              </a:cxn>
              <a:cxn ang="0">
                <a:pos x="connsiteX1" y="connsiteY1"/>
              </a:cxn>
              <a:cxn ang="0">
                <a:pos x="connsiteX2" y="connsiteY2"/>
              </a:cxn>
              <a:cxn ang="0">
                <a:pos x="connsiteX3" y="connsiteY3"/>
              </a:cxn>
            </a:cxnLst>
            <a:rect l="l" t="t" r="r" b="b"/>
            <a:pathLst>
              <a:path w="19943" h="70218">
                <a:moveTo>
                  <a:pt x="8" y="40007"/>
                </a:moveTo>
                <a:lnTo>
                  <a:pt x="8" y="-118"/>
                </a:lnTo>
                <a:lnTo>
                  <a:pt x="19952" y="-118"/>
                </a:lnTo>
                <a:lnTo>
                  <a:pt x="19952" y="70101"/>
                </a:lnTo>
                <a:close/>
              </a:path>
            </a:pathLst>
          </a:custGeom>
          <a:solidFill>
            <a:srgbClr val="183859"/>
          </a:solidFill>
          <a:ln w="9881" cap="rnd">
            <a:noFill/>
            <a:prstDash val="solid"/>
            <a:miter/>
          </a:ln>
        </p:spPr>
        <p:txBody>
          <a:bodyPr rtlCol="0" anchor="ctr"/>
          <a:lstStyle/>
          <a:p>
            <a:endParaRPr lang="en-US" sz="1633"/>
          </a:p>
        </p:txBody>
      </p:sp>
      <p:sp>
        <p:nvSpPr>
          <p:cNvPr id="160" name="Freihandform: Form 159">
            <a:extLst>
              <a:ext uri="{FF2B5EF4-FFF2-40B4-BE49-F238E27FC236}">
                <a16:creationId xmlns:a16="http://schemas.microsoft.com/office/drawing/2014/main" id="{72344F6A-EE32-47D5-B938-96CD478DE02C}"/>
              </a:ext>
            </a:extLst>
          </p:cNvPr>
          <p:cNvSpPr/>
          <p:nvPr/>
        </p:nvSpPr>
        <p:spPr>
          <a:xfrm>
            <a:off x="3037217" y="4004346"/>
            <a:ext cx="180973" cy="182052"/>
          </a:xfrm>
          <a:custGeom>
            <a:avLst/>
            <a:gdLst>
              <a:gd name="connsiteX0" fmla="*/ 199445 w 199437"/>
              <a:gd name="connsiteY0" fmla="*/ 100195 h 200625"/>
              <a:gd name="connsiteX1" fmla="*/ 99727 w 199437"/>
              <a:gd name="connsiteY1" fmla="*/ 200507 h 200625"/>
              <a:gd name="connsiteX2" fmla="*/ 8 w 199437"/>
              <a:gd name="connsiteY2" fmla="*/ 100195 h 200625"/>
              <a:gd name="connsiteX3" fmla="*/ 99727 w 199437"/>
              <a:gd name="connsiteY3" fmla="*/ -118 h 200625"/>
              <a:gd name="connsiteX4" fmla="*/ 199445 w 199437"/>
              <a:gd name="connsiteY4" fmla="*/ 100195 h 200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437" h="200625">
                <a:moveTo>
                  <a:pt x="199445" y="100195"/>
                </a:moveTo>
                <a:cubicBezTo>
                  <a:pt x="199445" y="155596"/>
                  <a:pt x="154800" y="200507"/>
                  <a:pt x="99727" y="200507"/>
                </a:cubicBezTo>
                <a:cubicBezTo>
                  <a:pt x="44654" y="200507"/>
                  <a:pt x="8" y="155596"/>
                  <a:pt x="8" y="100195"/>
                </a:cubicBezTo>
                <a:cubicBezTo>
                  <a:pt x="8" y="44794"/>
                  <a:pt x="44654" y="-118"/>
                  <a:pt x="99727" y="-118"/>
                </a:cubicBezTo>
                <a:cubicBezTo>
                  <a:pt x="154800" y="-118"/>
                  <a:pt x="199445" y="44794"/>
                  <a:pt x="199445" y="100195"/>
                </a:cubicBezTo>
                <a:close/>
              </a:path>
            </a:pathLst>
          </a:custGeom>
          <a:solidFill>
            <a:srgbClr val="183859"/>
          </a:solidFill>
          <a:ln w="9881" cap="rnd">
            <a:noFill/>
            <a:prstDash val="solid"/>
            <a:miter/>
          </a:ln>
        </p:spPr>
        <p:txBody>
          <a:bodyPr rtlCol="0" anchor="ctr"/>
          <a:lstStyle/>
          <a:p>
            <a:endParaRPr lang="en-US" sz="1633"/>
          </a:p>
        </p:txBody>
      </p:sp>
      <p:sp>
        <p:nvSpPr>
          <p:cNvPr id="161" name="Freihandform: Form 160">
            <a:extLst>
              <a:ext uri="{FF2B5EF4-FFF2-40B4-BE49-F238E27FC236}">
                <a16:creationId xmlns:a16="http://schemas.microsoft.com/office/drawing/2014/main" id="{28597F71-CAA1-4E65-918D-D908F4FBE535}"/>
              </a:ext>
            </a:extLst>
          </p:cNvPr>
          <p:cNvSpPr/>
          <p:nvPr/>
        </p:nvSpPr>
        <p:spPr>
          <a:xfrm>
            <a:off x="3145801" y="3858709"/>
            <a:ext cx="180973" cy="254871"/>
          </a:xfrm>
          <a:custGeom>
            <a:avLst/>
            <a:gdLst>
              <a:gd name="connsiteX0" fmla="*/ 199445 w 199437"/>
              <a:gd name="connsiteY0" fmla="*/ 140320 h 280874"/>
              <a:gd name="connsiteX1" fmla="*/ 99727 w 199437"/>
              <a:gd name="connsiteY1" fmla="*/ 280757 h 280874"/>
              <a:gd name="connsiteX2" fmla="*/ 8 w 199437"/>
              <a:gd name="connsiteY2" fmla="*/ 140320 h 280874"/>
              <a:gd name="connsiteX3" fmla="*/ 99727 w 199437"/>
              <a:gd name="connsiteY3" fmla="*/ -118 h 280874"/>
              <a:gd name="connsiteX4" fmla="*/ 199445 w 199437"/>
              <a:gd name="connsiteY4" fmla="*/ 140320 h 280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437" h="280874">
                <a:moveTo>
                  <a:pt x="199445" y="140320"/>
                </a:moveTo>
                <a:cubicBezTo>
                  <a:pt x="199445" y="217881"/>
                  <a:pt x="154800" y="280757"/>
                  <a:pt x="99727" y="280757"/>
                </a:cubicBezTo>
                <a:cubicBezTo>
                  <a:pt x="44654" y="280757"/>
                  <a:pt x="8" y="217881"/>
                  <a:pt x="8" y="140320"/>
                </a:cubicBezTo>
                <a:cubicBezTo>
                  <a:pt x="8" y="62758"/>
                  <a:pt x="44654" y="-118"/>
                  <a:pt x="99727" y="-118"/>
                </a:cubicBezTo>
                <a:cubicBezTo>
                  <a:pt x="154800" y="-118"/>
                  <a:pt x="199445" y="62758"/>
                  <a:pt x="199445" y="140320"/>
                </a:cubicBezTo>
                <a:close/>
              </a:path>
            </a:pathLst>
          </a:custGeom>
          <a:solidFill>
            <a:srgbClr val="183859"/>
          </a:solidFill>
          <a:ln w="9881" cap="rnd">
            <a:noFill/>
            <a:prstDash val="solid"/>
            <a:miter/>
          </a:ln>
        </p:spPr>
        <p:txBody>
          <a:bodyPr rtlCol="0" anchor="ctr"/>
          <a:lstStyle/>
          <a:p>
            <a:endParaRPr lang="en-US" sz="1633"/>
          </a:p>
        </p:txBody>
      </p:sp>
      <p:sp>
        <p:nvSpPr>
          <p:cNvPr id="162" name="Freihandform: Form 161">
            <a:extLst>
              <a:ext uri="{FF2B5EF4-FFF2-40B4-BE49-F238E27FC236}">
                <a16:creationId xmlns:a16="http://schemas.microsoft.com/office/drawing/2014/main" id="{5BB62ECD-B5AB-4CA5-8BEF-5CDCF8AAEF31}"/>
              </a:ext>
            </a:extLst>
          </p:cNvPr>
          <p:cNvSpPr/>
          <p:nvPr/>
        </p:nvSpPr>
        <p:spPr>
          <a:xfrm>
            <a:off x="3218188" y="4004350"/>
            <a:ext cx="253362" cy="254871"/>
          </a:xfrm>
          <a:custGeom>
            <a:avLst/>
            <a:gdLst>
              <a:gd name="connsiteX0" fmla="*/ 279220 w 279211"/>
              <a:gd name="connsiteY0" fmla="*/ 140320 h 280874"/>
              <a:gd name="connsiteX1" fmla="*/ 139614 w 279211"/>
              <a:gd name="connsiteY1" fmla="*/ 280757 h 280874"/>
              <a:gd name="connsiteX2" fmla="*/ 8 w 279211"/>
              <a:gd name="connsiteY2" fmla="*/ 140320 h 280874"/>
              <a:gd name="connsiteX3" fmla="*/ 139614 w 279211"/>
              <a:gd name="connsiteY3" fmla="*/ -118 h 280874"/>
              <a:gd name="connsiteX4" fmla="*/ 279220 w 279211"/>
              <a:gd name="connsiteY4" fmla="*/ 140320 h 280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211" h="280874">
                <a:moveTo>
                  <a:pt x="279220" y="140320"/>
                </a:moveTo>
                <a:cubicBezTo>
                  <a:pt x="279220" y="217881"/>
                  <a:pt x="216716" y="280757"/>
                  <a:pt x="139614" y="280757"/>
                </a:cubicBezTo>
                <a:cubicBezTo>
                  <a:pt x="62512" y="280757"/>
                  <a:pt x="8" y="217881"/>
                  <a:pt x="8" y="140320"/>
                </a:cubicBezTo>
                <a:cubicBezTo>
                  <a:pt x="8" y="62758"/>
                  <a:pt x="62512" y="-118"/>
                  <a:pt x="139614" y="-118"/>
                </a:cubicBezTo>
                <a:cubicBezTo>
                  <a:pt x="216716" y="-118"/>
                  <a:pt x="279220" y="62758"/>
                  <a:pt x="279220" y="140320"/>
                </a:cubicBezTo>
                <a:close/>
              </a:path>
            </a:pathLst>
          </a:custGeom>
          <a:solidFill>
            <a:srgbClr val="183859"/>
          </a:solidFill>
          <a:ln w="9881" cap="rnd">
            <a:noFill/>
            <a:prstDash val="solid"/>
            <a:miter/>
          </a:ln>
        </p:spPr>
        <p:txBody>
          <a:bodyPr rtlCol="0" anchor="ctr"/>
          <a:lstStyle/>
          <a:p>
            <a:endParaRPr lang="en-US" sz="1633"/>
          </a:p>
        </p:txBody>
      </p:sp>
      <p:sp>
        <p:nvSpPr>
          <p:cNvPr id="163" name="Freihandform: Form 162">
            <a:extLst>
              <a:ext uri="{FF2B5EF4-FFF2-40B4-BE49-F238E27FC236}">
                <a16:creationId xmlns:a16="http://schemas.microsoft.com/office/drawing/2014/main" id="{DB7652D1-A38E-4995-AFED-9743A2074762}"/>
              </a:ext>
            </a:extLst>
          </p:cNvPr>
          <p:cNvSpPr/>
          <p:nvPr/>
        </p:nvSpPr>
        <p:spPr>
          <a:xfrm>
            <a:off x="3073408" y="4113577"/>
            <a:ext cx="253362" cy="218462"/>
          </a:xfrm>
          <a:custGeom>
            <a:avLst/>
            <a:gdLst>
              <a:gd name="connsiteX0" fmla="*/ 279220 w 279211"/>
              <a:gd name="connsiteY0" fmla="*/ 120257 h 240750"/>
              <a:gd name="connsiteX1" fmla="*/ 139614 w 279211"/>
              <a:gd name="connsiteY1" fmla="*/ 240632 h 240750"/>
              <a:gd name="connsiteX2" fmla="*/ 8 w 279211"/>
              <a:gd name="connsiteY2" fmla="*/ 120257 h 240750"/>
              <a:gd name="connsiteX3" fmla="*/ 139614 w 279211"/>
              <a:gd name="connsiteY3" fmla="*/ -118 h 240750"/>
              <a:gd name="connsiteX4" fmla="*/ 279220 w 279211"/>
              <a:gd name="connsiteY4" fmla="*/ 120257 h 24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211" h="240750">
                <a:moveTo>
                  <a:pt x="279220" y="120257"/>
                </a:moveTo>
                <a:cubicBezTo>
                  <a:pt x="279220" y="186739"/>
                  <a:pt x="216716" y="240632"/>
                  <a:pt x="139614" y="240632"/>
                </a:cubicBezTo>
                <a:cubicBezTo>
                  <a:pt x="62512" y="240632"/>
                  <a:pt x="8" y="186739"/>
                  <a:pt x="8" y="120257"/>
                </a:cubicBezTo>
                <a:cubicBezTo>
                  <a:pt x="8" y="53776"/>
                  <a:pt x="62512" y="-118"/>
                  <a:pt x="139614" y="-118"/>
                </a:cubicBezTo>
                <a:cubicBezTo>
                  <a:pt x="216716" y="-118"/>
                  <a:pt x="279220" y="53776"/>
                  <a:pt x="279220" y="120257"/>
                </a:cubicBezTo>
                <a:close/>
              </a:path>
            </a:pathLst>
          </a:custGeom>
          <a:solidFill>
            <a:srgbClr val="183859"/>
          </a:solidFill>
          <a:ln w="9881" cap="rnd">
            <a:noFill/>
            <a:prstDash val="solid"/>
            <a:miter/>
          </a:ln>
        </p:spPr>
        <p:txBody>
          <a:bodyPr rtlCol="0" anchor="ctr"/>
          <a:lstStyle/>
          <a:p>
            <a:endParaRPr lang="en-US" sz="1633"/>
          </a:p>
        </p:txBody>
      </p:sp>
      <p:sp>
        <p:nvSpPr>
          <p:cNvPr id="164" name="Freihandform: Form 163">
            <a:extLst>
              <a:ext uri="{FF2B5EF4-FFF2-40B4-BE49-F238E27FC236}">
                <a16:creationId xmlns:a16="http://schemas.microsoft.com/office/drawing/2014/main" id="{943B2B1B-087F-4F8F-BA3A-251CCA429887}"/>
              </a:ext>
            </a:extLst>
          </p:cNvPr>
          <p:cNvSpPr/>
          <p:nvPr/>
        </p:nvSpPr>
        <p:spPr>
          <a:xfrm>
            <a:off x="3254381" y="4186397"/>
            <a:ext cx="217168" cy="218462"/>
          </a:xfrm>
          <a:custGeom>
            <a:avLst/>
            <a:gdLst>
              <a:gd name="connsiteX0" fmla="*/ 239333 w 239324"/>
              <a:gd name="connsiteY0" fmla="*/ 120257 h 240750"/>
              <a:gd name="connsiteX1" fmla="*/ 119670 w 239324"/>
              <a:gd name="connsiteY1" fmla="*/ 240632 h 240750"/>
              <a:gd name="connsiteX2" fmla="*/ 8 w 239324"/>
              <a:gd name="connsiteY2" fmla="*/ 120257 h 240750"/>
              <a:gd name="connsiteX3" fmla="*/ 119670 w 239324"/>
              <a:gd name="connsiteY3" fmla="*/ -118 h 240750"/>
              <a:gd name="connsiteX4" fmla="*/ 239333 w 239324"/>
              <a:gd name="connsiteY4" fmla="*/ 120257 h 240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324" h="240750">
                <a:moveTo>
                  <a:pt x="239333" y="120257"/>
                </a:moveTo>
                <a:cubicBezTo>
                  <a:pt x="239333" y="186739"/>
                  <a:pt x="185758" y="240632"/>
                  <a:pt x="119670" y="240632"/>
                </a:cubicBezTo>
                <a:cubicBezTo>
                  <a:pt x="53583" y="240632"/>
                  <a:pt x="8" y="186739"/>
                  <a:pt x="8" y="120257"/>
                </a:cubicBezTo>
                <a:cubicBezTo>
                  <a:pt x="8" y="53776"/>
                  <a:pt x="53583" y="-118"/>
                  <a:pt x="119670" y="-118"/>
                </a:cubicBezTo>
                <a:cubicBezTo>
                  <a:pt x="185758" y="-118"/>
                  <a:pt x="239333" y="53776"/>
                  <a:pt x="239333" y="120257"/>
                </a:cubicBezTo>
                <a:close/>
              </a:path>
            </a:pathLst>
          </a:custGeom>
          <a:solidFill>
            <a:srgbClr val="183859"/>
          </a:solidFill>
          <a:ln w="9881" cap="rnd">
            <a:noFill/>
            <a:prstDash val="solid"/>
            <a:miter/>
          </a:ln>
        </p:spPr>
        <p:txBody>
          <a:bodyPr rtlCol="0" anchor="ctr"/>
          <a:lstStyle/>
          <a:p>
            <a:endParaRPr lang="en-US" sz="1633"/>
          </a:p>
        </p:txBody>
      </p:sp>
      <p:sp>
        <p:nvSpPr>
          <p:cNvPr id="165" name="Freihandform: Form 164">
            <a:extLst>
              <a:ext uri="{FF2B5EF4-FFF2-40B4-BE49-F238E27FC236}">
                <a16:creationId xmlns:a16="http://schemas.microsoft.com/office/drawing/2014/main" id="{266569B4-1391-4302-A96E-03856EF201A7}"/>
              </a:ext>
            </a:extLst>
          </p:cNvPr>
          <p:cNvSpPr/>
          <p:nvPr/>
        </p:nvSpPr>
        <p:spPr>
          <a:xfrm>
            <a:off x="3073407" y="4295629"/>
            <a:ext cx="217168" cy="182052"/>
          </a:xfrm>
          <a:custGeom>
            <a:avLst/>
            <a:gdLst>
              <a:gd name="connsiteX0" fmla="*/ 239333 w 239324"/>
              <a:gd name="connsiteY0" fmla="*/ 100195 h 200625"/>
              <a:gd name="connsiteX1" fmla="*/ 119670 w 239324"/>
              <a:gd name="connsiteY1" fmla="*/ 200507 h 200625"/>
              <a:gd name="connsiteX2" fmla="*/ 8 w 239324"/>
              <a:gd name="connsiteY2" fmla="*/ 100195 h 200625"/>
              <a:gd name="connsiteX3" fmla="*/ 119670 w 239324"/>
              <a:gd name="connsiteY3" fmla="*/ -118 h 200625"/>
              <a:gd name="connsiteX4" fmla="*/ 239333 w 239324"/>
              <a:gd name="connsiteY4" fmla="*/ 100195 h 200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324" h="200625">
                <a:moveTo>
                  <a:pt x="239333" y="100195"/>
                </a:moveTo>
                <a:cubicBezTo>
                  <a:pt x="239333" y="155596"/>
                  <a:pt x="185758" y="200507"/>
                  <a:pt x="119670" y="200507"/>
                </a:cubicBezTo>
                <a:cubicBezTo>
                  <a:pt x="53583" y="200507"/>
                  <a:pt x="8" y="155596"/>
                  <a:pt x="8" y="100195"/>
                </a:cubicBezTo>
                <a:cubicBezTo>
                  <a:pt x="8" y="44794"/>
                  <a:pt x="53583" y="-118"/>
                  <a:pt x="119670" y="-118"/>
                </a:cubicBezTo>
                <a:cubicBezTo>
                  <a:pt x="185758" y="-118"/>
                  <a:pt x="239333" y="44794"/>
                  <a:pt x="239333" y="100195"/>
                </a:cubicBezTo>
                <a:close/>
              </a:path>
            </a:pathLst>
          </a:custGeom>
          <a:solidFill>
            <a:srgbClr val="183859"/>
          </a:solidFill>
          <a:ln w="9881" cap="rnd">
            <a:noFill/>
            <a:prstDash val="solid"/>
            <a:miter/>
          </a:ln>
        </p:spPr>
        <p:txBody>
          <a:bodyPr rtlCol="0" anchor="ctr"/>
          <a:lstStyle/>
          <a:p>
            <a:endParaRPr lang="en-US" sz="1633"/>
          </a:p>
        </p:txBody>
      </p:sp>
      <p:sp>
        <p:nvSpPr>
          <p:cNvPr id="166" name="Freihandform: Form 165">
            <a:extLst>
              <a:ext uri="{FF2B5EF4-FFF2-40B4-BE49-F238E27FC236}">
                <a16:creationId xmlns:a16="http://schemas.microsoft.com/office/drawing/2014/main" id="{6A71980F-B81F-4576-9B0E-1370A8F857CA}"/>
              </a:ext>
            </a:extLst>
          </p:cNvPr>
          <p:cNvSpPr/>
          <p:nvPr/>
        </p:nvSpPr>
        <p:spPr>
          <a:xfrm>
            <a:off x="3254385" y="4295633"/>
            <a:ext cx="72389" cy="546155"/>
          </a:xfrm>
          <a:custGeom>
            <a:avLst/>
            <a:gdLst>
              <a:gd name="connsiteX0" fmla="*/ 8 w 79774"/>
              <a:gd name="connsiteY0" fmla="*/ 601757 h 601875"/>
              <a:gd name="connsiteX1" fmla="*/ 8 w 79774"/>
              <a:gd name="connsiteY1" fmla="*/ -118 h 601875"/>
              <a:gd name="connsiteX2" fmla="*/ 79783 w 79774"/>
              <a:gd name="connsiteY2" fmla="*/ -118 h 601875"/>
              <a:gd name="connsiteX3" fmla="*/ 79783 w 79774"/>
              <a:gd name="connsiteY3" fmla="*/ 601757 h 601875"/>
            </a:gdLst>
            <a:ahLst/>
            <a:cxnLst>
              <a:cxn ang="0">
                <a:pos x="connsiteX0" y="connsiteY0"/>
              </a:cxn>
              <a:cxn ang="0">
                <a:pos x="connsiteX1" y="connsiteY1"/>
              </a:cxn>
              <a:cxn ang="0">
                <a:pos x="connsiteX2" y="connsiteY2"/>
              </a:cxn>
              <a:cxn ang="0">
                <a:pos x="connsiteX3" y="connsiteY3"/>
              </a:cxn>
            </a:cxnLst>
            <a:rect l="l" t="t" r="r" b="b"/>
            <a:pathLst>
              <a:path w="79774" h="601875">
                <a:moveTo>
                  <a:pt x="8" y="601757"/>
                </a:moveTo>
                <a:lnTo>
                  <a:pt x="8" y="-118"/>
                </a:lnTo>
                <a:lnTo>
                  <a:pt x="79783" y="-118"/>
                </a:lnTo>
                <a:lnTo>
                  <a:pt x="79783" y="601757"/>
                </a:lnTo>
                <a:close/>
              </a:path>
            </a:pathLst>
          </a:custGeom>
          <a:solidFill>
            <a:srgbClr val="183859"/>
          </a:solidFill>
          <a:ln w="9881" cap="rnd">
            <a:noFill/>
            <a:prstDash val="solid"/>
            <a:miter/>
          </a:ln>
        </p:spPr>
        <p:txBody>
          <a:bodyPr rtlCol="0" anchor="ctr"/>
          <a:lstStyle/>
          <a:p>
            <a:endParaRPr lang="en-US" sz="1633"/>
          </a:p>
        </p:txBody>
      </p:sp>
      <p:grpSp>
        <p:nvGrpSpPr>
          <p:cNvPr id="167" name="Grafik 3">
            <a:extLst>
              <a:ext uri="{FF2B5EF4-FFF2-40B4-BE49-F238E27FC236}">
                <a16:creationId xmlns:a16="http://schemas.microsoft.com/office/drawing/2014/main" id="{7187D6E7-EF1F-465D-B8C6-F7E7B3F63D76}"/>
              </a:ext>
            </a:extLst>
          </p:cNvPr>
          <p:cNvGrpSpPr/>
          <p:nvPr/>
        </p:nvGrpSpPr>
        <p:grpSpPr>
          <a:xfrm>
            <a:off x="2150448" y="3221516"/>
            <a:ext cx="253362" cy="1638475"/>
            <a:chOff x="2369841" y="3549360"/>
            <a:chExt cx="279211" cy="1805638"/>
          </a:xfrm>
          <a:solidFill>
            <a:srgbClr val="183859"/>
          </a:solidFill>
        </p:grpSpPr>
        <p:sp>
          <p:nvSpPr>
            <p:cNvPr id="168" name="Freihandform: Form 167">
              <a:extLst>
                <a:ext uri="{FF2B5EF4-FFF2-40B4-BE49-F238E27FC236}">
                  <a16:creationId xmlns:a16="http://schemas.microsoft.com/office/drawing/2014/main" id="{91C7B5DF-B61D-468F-9107-1252A63954C5}"/>
                </a:ext>
              </a:extLst>
            </p:cNvPr>
            <p:cNvSpPr/>
            <p:nvPr/>
          </p:nvSpPr>
          <p:spPr>
            <a:xfrm>
              <a:off x="2409720" y="3549360"/>
              <a:ext cx="199445" cy="1805638"/>
            </a:xfrm>
            <a:custGeom>
              <a:avLst/>
              <a:gdLst>
                <a:gd name="connsiteX0" fmla="*/ 79636 w 199445"/>
                <a:gd name="connsiteY0" fmla="*/ -13 h 1805638"/>
                <a:gd name="connsiteX1" fmla="*/ 79636 w 199445"/>
                <a:gd name="connsiteY1" fmla="*/ 441377 h 1805638"/>
                <a:gd name="connsiteX2" fmla="*/ -154 w 199445"/>
                <a:gd name="connsiteY2" fmla="*/ 441377 h 1805638"/>
                <a:gd name="connsiteX3" fmla="*/ -154 w 199445"/>
                <a:gd name="connsiteY3" fmla="*/ 641989 h 1805638"/>
                <a:gd name="connsiteX4" fmla="*/ 39751 w 199445"/>
                <a:gd name="connsiteY4" fmla="*/ 641989 h 1805638"/>
                <a:gd name="connsiteX5" fmla="*/ -154 w 199445"/>
                <a:gd name="connsiteY5" fmla="*/ 1805626 h 1805638"/>
                <a:gd name="connsiteX6" fmla="*/ 199291 w 199445"/>
                <a:gd name="connsiteY6" fmla="*/ 1805626 h 1805638"/>
                <a:gd name="connsiteX7" fmla="*/ 159407 w 199445"/>
                <a:gd name="connsiteY7" fmla="*/ 641989 h 1805638"/>
                <a:gd name="connsiteX8" fmla="*/ 199291 w 199445"/>
                <a:gd name="connsiteY8" fmla="*/ 641989 h 1805638"/>
                <a:gd name="connsiteX9" fmla="*/ 199291 w 199445"/>
                <a:gd name="connsiteY9" fmla="*/ 441377 h 1805638"/>
                <a:gd name="connsiteX10" fmla="*/ 119522 w 199445"/>
                <a:gd name="connsiteY10" fmla="*/ 441377 h 1805638"/>
                <a:gd name="connsiteX11" fmla="*/ 119522 w 199445"/>
                <a:gd name="connsiteY11" fmla="*/ -13 h 180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445" h="1805638">
                  <a:moveTo>
                    <a:pt x="79636" y="-13"/>
                  </a:moveTo>
                  <a:lnTo>
                    <a:pt x="79636" y="441377"/>
                  </a:lnTo>
                  <a:lnTo>
                    <a:pt x="-154" y="441377"/>
                  </a:lnTo>
                  <a:lnTo>
                    <a:pt x="-154" y="641989"/>
                  </a:lnTo>
                  <a:lnTo>
                    <a:pt x="39751" y="641989"/>
                  </a:lnTo>
                  <a:lnTo>
                    <a:pt x="-154" y="1805626"/>
                  </a:lnTo>
                  <a:lnTo>
                    <a:pt x="199291" y="1805626"/>
                  </a:lnTo>
                  <a:lnTo>
                    <a:pt x="159407" y="641989"/>
                  </a:lnTo>
                  <a:lnTo>
                    <a:pt x="199291" y="641989"/>
                  </a:lnTo>
                  <a:lnTo>
                    <a:pt x="199291" y="441377"/>
                  </a:lnTo>
                  <a:lnTo>
                    <a:pt x="119522" y="441377"/>
                  </a:lnTo>
                  <a:lnTo>
                    <a:pt x="119522" y="-13"/>
                  </a:lnTo>
                  <a:close/>
                </a:path>
              </a:pathLst>
            </a:custGeom>
            <a:solidFill>
              <a:srgbClr val="183859"/>
            </a:solidFill>
            <a:ln w="7968" cap="rnd">
              <a:noFill/>
              <a:prstDash val="solid"/>
              <a:miter/>
            </a:ln>
          </p:spPr>
          <p:txBody>
            <a:bodyPr rtlCol="0" anchor="ctr"/>
            <a:lstStyle/>
            <a:p>
              <a:endParaRPr lang="en-US" sz="1633"/>
            </a:p>
          </p:txBody>
        </p:sp>
        <p:sp>
          <p:nvSpPr>
            <p:cNvPr id="169" name="Freihandform: Form 168">
              <a:extLst>
                <a:ext uri="{FF2B5EF4-FFF2-40B4-BE49-F238E27FC236}">
                  <a16:creationId xmlns:a16="http://schemas.microsoft.com/office/drawing/2014/main" id="{9BA885C5-8E8D-40FA-AEAC-FEE8A2E8FA85}"/>
                </a:ext>
              </a:extLst>
            </p:cNvPr>
            <p:cNvSpPr/>
            <p:nvPr/>
          </p:nvSpPr>
          <p:spPr>
            <a:xfrm rot="5400000">
              <a:off x="2589221" y="4131183"/>
              <a:ext cx="79774" cy="40125"/>
            </a:xfrm>
            <a:custGeom>
              <a:avLst/>
              <a:gdLst>
                <a:gd name="connsiteX0" fmla="*/ 79704 w 79774"/>
                <a:gd name="connsiteY0" fmla="*/ 228 h 40125"/>
                <a:gd name="connsiteX1" fmla="*/ 59760 w 79774"/>
                <a:gd name="connsiteY1" fmla="*/ 34978 h 40125"/>
                <a:gd name="connsiteX2" fmla="*/ 19873 w 79774"/>
                <a:gd name="connsiteY2" fmla="*/ 34978 h 40125"/>
                <a:gd name="connsiteX3" fmla="*/ -71 w 79774"/>
                <a:gd name="connsiteY3" fmla="*/ 228 h 40125"/>
                <a:gd name="connsiteX4" fmla="*/ 39816 w 79774"/>
                <a:gd name="connsiteY4" fmla="*/ 228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74" h="40125">
                  <a:moveTo>
                    <a:pt x="79704" y="228"/>
                  </a:moveTo>
                  <a:cubicBezTo>
                    <a:pt x="79704" y="14564"/>
                    <a:pt x="72101" y="27810"/>
                    <a:pt x="59760" y="34978"/>
                  </a:cubicBezTo>
                  <a:cubicBezTo>
                    <a:pt x="47419" y="42146"/>
                    <a:pt x="32214" y="42146"/>
                    <a:pt x="19873" y="34978"/>
                  </a:cubicBezTo>
                  <a:cubicBezTo>
                    <a:pt x="7531" y="27810"/>
                    <a:pt x="-71" y="14564"/>
                    <a:pt x="-71" y="228"/>
                  </a:cubicBezTo>
                  <a:lnTo>
                    <a:pt x="39816" y="228"/>
                  </a:lnTo>
                  <a:close/>
                </a:path>
              </a:pathLst>
            </a:custGeom>
            <a:solidFill>
              <a:srgbClr val="183859"/>
            </a:solidFill>
            <a:ln w="7968" cap="rnd">
              <a:noFill/>
              <a:prstDash val="solid"/>
              <a:miter/>
            </a:ln>
          </p:spPr>
          <p:txBody>
            <a:bodyPr rtlCol="0" anchor="ctr"/>
            <a:lstStyle/>
            <a:p>
              <a:endParaRPr lang="en-US" sz="1633"/>
            </a:p>
          </p:txBody>
        </p:sp>
        <p:sp>
          <p:nvSpPr>
            <p:cNvPr id="170" name="Freihandform: Form 169">
              <a:extLst>
                <a:ext uri="{FF2B5EF4-FFF2-40B4-BE49-F238E27FC236}">
                  <a16:creationId xmlns:a16="http://schemas.microsoft.com/office/drawing/2014/main" id="{730E7AEC-3123-4390-8E04-85D150719CB3}"/>
                </a:ext>
              </a:extLst>
            </p:cNvPr>
            <p:cNvSpPr/>
            <p:nvPr/>
          </p:nvSpPr>
          <p:spPr>
            <a:xfrm rot="5400000">
              <a:off x="2589221" y="4010808"/>
              <a:ext cx="79774" cy="40125"/>
            </a:xfrm>
            <a:custGeom>
              <a:avLst/>
              <a:gdLst>
                <a:gd name="connsiteX0" fmla="*/ 79707 w 79774"/>
                <a:gd name="connsiteY0" fmla="*/ 225 h 40125"/>
                <a:gd name="connsiteX1" fmla="*/ 59763 w 79774"/>
                <a:gd name="connsiteY1" fmla="*/ 34975 h 40125"/>
                <a:gd name="connsiteX2" fmla="*/ 19876 w 79774"/>
                <a:gd name="connsiteY2" fmla="*/ 34975 h 40125"/>
                <a:gd name="connsiteX3" fmla="*/ -68 w 79774"/>
                <a:gd name="connsiteY3" fmla="*/ 225 h 40125"/>
                <a:gd name="connsiteX4" fmla="*/ 39819 w 79774"/>
                <a:gd name="connsiteY4" fmla="*/ 225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74" h="40125">
                  <a:moveTo>
                    <a:pt x="79707" y="225"/>
                  </a:moveTo>
                  <a:cubicBezTo>
                    <a:pt x="79707" y="14561"/>
                    <a:pt x="72104" y="27807"/>
                    <a:pt x="59763" y="34975"/>
                  </a:cubicBezTo>
                  <a:cubicBezTo>
                    <a:pt x="47422" y="42143"/>
                    <a:pt x="32217" y="42143"/>
                    <a:pt x="19876" y="34975"/>
                  </a:cubicBezTo>
                  <a:cubicBezTo>
                    <a:pt x="7534" y="27807"/>
                    <a:pt x="-68" y="14561"/>
                    <a:pt x="-68" y="225"/>
                  </a:cubicBezTo>
                  <a:lnTo>
                    <a:pt x="39819" y="225"/>
                  </a:lnTo>
                  <a:close/>
                </a:path>
              </a:pathLst>
            </a:custGeom>
            <a:solidFill>
              <a:srgbClr val="183859"/>
            </a:solidFill>
            <a:ln w="7968" cap="rnd">
              <a:noFill/>
              <a:prstDash val="solid"/>
              <a:miter/>
            </a:ln>
          </p:spPr>
          <p:txBody>
            <a:bodyPr rtlCol="0" anchor="ctr"/>
            <a:lstStyle/>
            <a:p>
              <a:endParaRPr lang="en-US" sz="1633"/>
            </a:p>
          </p:txBody>
        </p:sp>
        <p:sp>
          <p:nvSpPr>
            <p:cNvPr id="171" name="Freihandform: Form 170">
              <a:extLst>
                <a:ext uri="{FF2B5EF4-FFF2-40B4-BE49-F238E27FC236}">
                  <a16:creationId xmlns:a16="http://schemas.microsoft.com/office/drawing/2014/main" id="{47FD4529-D91B-41E1-AC23-91CFD07294DE}"/>
                </a:ext>
              </a:extLst>
            </p:cNvPr>
            <p:cNvSpPr/>
            <p:nvPr/>
          </p:nvSpPr>
          <p:spPr>
            <a:xfrm rot="5400000" flipV="1">
              <a:off x="2349897" y="4010808"/>
              <a:ext cx="79774" cy="40125"/>
            </a:xfrm>
            <a:custGeom>
              <a:avLst/>
              <a:gdLst>
                <a:gd name="connsiteX0" fmla="*/ 79701 w 79774"/>
                <a:gd name="connsiteY0" fmla="*/ -94 h 40125"/>
                <a:gd name="connsiteX1" fmla="*/ 59757 w 79774"/>
                <a:gd name="connsiteY1" fmla="*/ 34656 h 40125"/>
                <a:gd name="connsiteX2" fmla="*/ 19870 w 79774"/>
                <a:gd name="connsiteY2" fmla="*/ 34656 h 40125"/>
                <a:gd name="connsiteX3" fmla="*/ -74 w 79774"/>
                <a:gd name="connsiteY3" fmla="*/ -94 h 40125"/>
                <a:gd name="connsiteX4" fmla="*/ 39813 w 79774"/>
                <a:gd name="connsiteY4" fmla="*/ -94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74" h="40125">
                  <a:moveTo>
                    <a:pt x="79701" y="-94"/>
                  </a:moveTo>
                  <a:cubicBezTo>
                    <a:pt x="79701" y="14242"/>
                    <a:pt x="72098" y="27488"/>
                    <a:pt x="59757" y="34656"/>
                  </a:cubicBezTo>
                  <a:cubicBezTo>
                    <a:pt x="47416" y="41824"/>
                    <a:pt x="32211" y="41824"/>
                    <a:pt x="19870" y="34656"/>
                  </a:cubicBezTo>
                  <a:cubicBezTo>
                    <a:pt x="7528" y="27488"/>
                    <a:pt x="-74" y="14242"/>
                    <a:pt x="-74" y="-94"/>
                  </a:cubicBezTo>
                  <a:lnTo>
                    <a:pt x="39813" y="-94"/>
                  </a:lnTo>
                  <a:close/>
                </a:path>
              </a:pathLst>
            </a:custGeom>
            <a:solidFill>
              <a:srgbClr val="183859"/>
            </a:solidFill>
            <a:ln w="7968" cap="rnd">
              <a:noFill/>
              <a:prstDash val="solid"/>
              <a:miter/>
            </a:ln>
          </p:spPr>
          <p:txBody>
            <a:bodyPr rtlCol="0" anchor="ctr"/>
            <a:lstStyle/>
            <a:p>
              <a:endParaRPr lang="en-US" sz="1633"/>
            </a:p>
          </p:txBody>
        </p:sp>
        <p:sp>
          <p:nvSpPr>
            <p:cNvPr id="172" name="Freihandform: Form 171">
              <a:extLst>
                <a:ext uri="{FF2B5EF4-FFF2-40B4-BE49-F238E27FC236}">
                  <a16:creationId xmlns:a16="http://schemas.microsoft.com/office/drawing/2014/main" id="{A8161F35-1371-4FDD-80F4-A39743CB793C}"/>
                </a:ext>
              </a:extLst>
            </p:cNvPr>
            <p:cNvSpPr/>
            <p:nvPr/>
          </p:nvSpPr>
          <p:spPr>
            <a:xfrm rot="5400000" flipV="1">
              <a:off x="2349897" y="4131183"/>
              <a:ext cx="79774" cy="40125"/>
            </a:xfrm>
            <a:custGeom>
              <a:avLst/>
              <a:gdLst>
                <a:gd name="connsiteX0" fmla="*/ 79698 w 79774"/>
                <a:gd name="connsiteY0" fmla="*/ -91 h 40125"/>
                <a:gd name="connsiteX1" fmla="*/ 59754 w 79774"/>
                <a:gd name="connsiteY1" fmla="*/ 34659 h 40125"/>
                <a:gd name="connsiteX2" fmla="*/ 19867 w 79774"/>
                <a:gd name="connsiteY2" fmla="*/ 34659 h 40125"/>
                <a:gd name="connsiteX3" fmla="*/ -77 w 79774"/>
                <a:gd name="connsiteY3" fmla="*/ -91 h 40125"/>
                <a:gd name="connsiteX4" fmla="*/ 39810 w 79774"/>
                <a:gd name="connsiteY4" fmla="*/ -91 h 40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774" h="40125">
                  <a:moveTo>
                    <a:pt x="79698" y="-91"/>
                  </a:moveTo>
                  <a:cubicBezTo>
                    <a:pt x="79698" y="14245"/>
                    <a:pt x="72095" y="27491"/>
                    <a:pt x="59754" y="34659"/>
                  </a:cubicBezTo>
                  <a:cubicBezTo>
                    <a:pt x="47413" y="41827"/>
                    <a:pt x="32208" y="41827"/>
                    <a:pt x="19867" y="34659"/>
                  </a:cubicBezTo>
                  <a:cubicBezTo>
                    <a:pt x="7525" y="27491"/>
                    <a:pt x="-77" y="14245"/>
                    <a:pt x="-77" y="-91"/>
                  </a:cubicBezTo>
                  <a:lnTo>
                    <a:pt x="39810" y="-91"/>
                  </a:lnTo>
                  <a:close/>
                </a:path>
              </a:pathLst>
            </a:custGeom>
            <a:solidFill>
              <a:srgbClr val="183859"/>
            </a:solidFill>
            <a:ln w="7968" cap="rnd">
              <a:noFill/>
              <a:prstDash val="solid"/>
              <a:miter/>
            </a:ln>
          </p:spPr>
          <p:txBody>
            <a:bodyPr rtlCol="0" anchor="ctr"/>
            <a:lstStyle/>
            <a:p>
              <a:endParaRPr lang="en-US" sz="1633"/>
            </a:p>
          </p:txBody>
        </p:sp>
      </p:grpSp>
      <p:sp>
        <p:nvSpPr>
          <p:cNvPr id="173" name="Freihandform: Form 172">
            <a:extLst>
              <a:ext uri="{FF2B5EF4-FFF2-40B4-BE49-F238E27FC236}">
                <a16:creationId xmlns:a16="http://schemas.microsoft.com/office/drawing/2014/main" id="{042D9494-CCFA-4B94-B2CC-4F94550CF75E}"/>
              </a:ext>
            </a:extLst>
          </p:cNvPr>
          <p:cNvSpPr/>
          <p:nvPr/>
        </p:nvSpPr>
        <p:spPr>
          <a:xfrm>
            <a:off x="8140671" y="2483793"/>
            <a:ext cx="75959" cy="915502"/>
          </a:xfrm>
          <a:custGeom>
            <a:avLst/>
            <a:gdLst>
              <a:gd name="connsiteX0" fmla="*/ 8 w 2114032"/>
              <a:gd name="connsiteY0" fmla="*/ -118 h 1946721"/>
              <a:gd name="connsiteX1" fmla="*/ 2114041 w 2114032"/>
              <a:gd name="connsiteY1" fmla="*/ 1946604 h 1946721"/>
            </a:gdLst>
            <a:ahLst/>
            <a:cxnLst>
              <a:cxn ang="0">
                <a:pos x="connsiteX0" y="connsiteY0"/>
              </a:cxn>
              <a:cxn ang="0">
                <a:pos x="connsiteX1" y="connsiteY1"/>
              </a:cxn>
            </a:cxnLst>
            <a:rect l="l" t="t" r="r" b="b"/>
            <a:pathLst>
              <a:path w="2114032" h="1946721">
                <a:moveTo>
                  <a:pt x="8" y="-118"/>
                </a:moveTo>
                <a:lnTo>
                  <a:pt x="2114041" y="1946604"/>
                </a:lnTo>
              </a:path>
            </a:pathLst>
          </a:custGeom>
          <a:solidFill>
            <a:srgbClr val="000000"/>
          </a:solidFill>
          <a:ln w="19921" cap="rnd">
            <a:solidFill>
              <a:srgbClr val="000000"/>
            </a:solidFill>
            <a:prstDash val="solid"/>
            <a:miter/>
          </a:ln>
        </p:spPr>
        <p:txBody>
          <a:bodyPr rtlCol="0" anchor="ctr"/>
          <a:lstStyle/>
          <a:p>
            <a:endParaRPr lang="en-US" sz="1633"/>
          </a:p>
        </p:txBody>
      </p:sp>
      <p:pic>
        <p:nvPicPr>
          <p:cNvPr id="175" name="Grafik 174">
            <a:extLst>
              <a:ext uri="{FF2B5EF4-FFF2-40B4-BE49-F238E27FC236}">
                <a16:creationId xmlns:a16="http://schemas.microsoft.com/office/drawing/2014/main" id="{989C481F-3EF5-4D36-A53A-10B47FECA216}"/>
              </a:ext>
            </a:extLst>
          </p:cNvPr>
          <p:cNvPicPr>
            <a:picLocks noChangeAspect="1"/>
          </p:cNvPicPr>
          <p:nvPr/>
        </p:nvPicPr>
        <p:blipFill>
          <a:blip r:embed="rId3">
            <a:clrChange>
              <a:clrFrom>
                <a:srgbClr val="FFFFFF"/>
              </a:clrFrom>
              <a:clrTo>
                <a:srgbClr val="FFFFFF">
                  <a:alpha val="0"/>
                </a:srgbClr>
              </a:clrTo>
            </a:clrChange>
            <a:duotone>
              <a:prstClr val="black"/>
              <a:schemeClr val="accent1">
                <a:tint val="45000"/>
                <a:satMod val="400000"/>
              </a:schemeClr>
            </a:duotone>
          </a:blip>
          <a:stretch>
            <a:fillRect/>
          </a:stretch>
        </p:blipFill>
        <p:spPr>
          <a:xfrm>
            <a:off x="3245897" y="1900774"/>
            <a:ext cx="1021939" cy="404376"/>
          </a:xfrm>
          <a:prstGeom prst="rect">
            <a:avLst/>
          </a:prstGeom>
        </p:spPr>
      </p:pic>
      <p:pic>
        <p:nvPicPr>
          <p:cNvPr id="176" name="Grafik 175">
            <a:extLst>
              <a:ext uri="{FF2B5EF4-FFF2-40B4-BE49-F238E27FC236}">
                <a16:creationId xmlns:a16="http://schemas.microsoft.com/office/drawing/2014/main" id="{3C6761EC-5F34-4CB7-9E7A-3F0A2CD6091D}"/>
              </a:ext>
            </a:extLst>
          </p:cNvPr>
          <p:cNvPicPr>
            <a:picLocks noChangeAspect="1"/>
          </p:cNvPicPr>
          <p:nvPr/>
        </p:nvPicPr>
        <p:blipFill>
          <a:blip r:embed="rId4">
            <a:clrChange>
              <a:clrFrom>
                <a:srgbClr val="FFFFFF"/>
              </a:clrFrom>
              <a:clrTo>
                <a:srgbClr val="FFFFFF">
                  <a:alpha val="0"/>
                </a:srgbClr>
              </a:clrTo>
            </a:clrChange>
            <a:duotone>
              <a:prstClr val="black"/>
              <a:schemeClr val="accent1">
                <a:tint val="45000"/>
                <a:satMod val="400000"/>
              </a:schemeClr>
            </a:duotone>
          </a:blip>
          <a:stretch>
            <a:fillRect/>
          </a:stretch>
        </p:blipFill>
        <p:spPr>
          <a:xfrm>
            <a:off x="4707264" y="3857440"/>
            <a:ext cx="428742" cy="273843"/>
          </a:xfrm>
          <a:prstGeom prst="rect">
            <a:avLst/>
          </a:prstGeom>
        </p:spPr>
      </p:pic>
      <p:sp>
        <p:nvSpPr>
          <p:cNvPr id="3" name="Pfeil: nach rechts 2">
            <a:extLst>
              <a:ext uri="{FF2B5EF4-FFF2-40B4-BE49-F238E27FC236}">
                <a16:creationId xmlns:a16="http://schemas.microsoft.com/office/drawing/2014/main" id="{A59E8CE5-4311-4897-B3DC-CC2E7EDC2D6A}"/>
              </a:ext>
            </a:extLst>
          </p:cNvPr>
          <p:cNvSpPr/>
          <p:nvPr/>
        </p:nvSpPr>
        <p:spPr>
          <a:xfrm>
            <a:off x="499866" y="5296447"/>
            <a:ext cx="606464" cy="27762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3"/>
          </a:p>
        </p:txBody>
      </p:sp>
      <p:sp>
        <p:nvSpPr>
          <p:cNvPr id="174" name="Textplatzhalter 15">
            <a:extLst>
              <a:ext uri="{FF2B5EF4-FFF2-40B4-BE49-F238E27FC236}">
                <a16:creationId xmlns:a16="http://schemas.microsoft.com/office/drawing/2014/main" id="{2D8E2F8C-B15D-4DD5-A6B1-636C382C8BB1}"/>
              </a:ext>
            </a:extLst>
          </p:cNvPr>
          <p:cNvSpPr txBox="1">
            <a:spLocks/>
          </p:cNvSpPr>
          <p:nvPr/>
        </p:nvSpPr>
        <p:spPr>
          <a:xfrm>
            <a:off x="499868" y="936272"/>
            <a:ext cx="9997295" cy="351404"/>
          </a:xfrm>
          <a:prstGeom prst="rect">
            <a:avLst/>
          </a:prstGeom>
        </p:spPr>
        <p:txBody>
          <a:bodyPr vert="horz" lIns="0" tIns="41487" rIns="82975" bIns="41487"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a:solidFill>
                  <a:srgbClr val="222B4C"/>
                </a:solidFill>
                <a:latin typeface="Roboto" panose="02000000000000000000" pitchFamily="2" charset="0"/>
                <a:ea typeface="Roboto" panose="02000000000000000000" pitchFamily="2" charset="0"/>
                <a:cs typeface="Roboto" panose="02000000000000000000" pitchFamily="2" charset="0"/>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rgbClr val="222B4C"/>
                </a:solidFill>
                <a:latin typeface="Roboto" panose="02000000000000000000" pitchFamily="2" charset="0"/>
                <a:ea typeface="Roboto" panose="02000000000000000000" pitchFamily="2" charset="0"/>
                <a:cs typeface="Roboto" panose="02000000000000000000"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rgbClr val="222B4C"/>
                </a:solidFill>
                <a:latin typeface="Roboto" panose="02000000000000000000" pitchFamily="2" charset="0"/>
                <a:ea typeface="Roboto" panose="02000000000000000000" pitchFamily="2" charset="0"/>
                <a:cs typeface="Roboto" panose="02000000000000000000" pitchFamily="2" charset="0"/>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rgbClr val="222B4C"/>
                </a:solidFill>
                <a:latin typeface="Roboto" panose="02000000000000000000" pitchFamily="2" charset="0"/>
                <a:ea typeface="Roboto" panose="02000000000000000000" pitchFamily="2" charset="0"/>
                <a:cs typeface="Roboto" panose="02000000000000000000"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rgbClr val="222B4C"/>
                </a:solidFill>
                <a:latin typeface="Roboto" panose="02000000000000000000" pitchFamily="2" charset="0"/>
                <a:ea typeface="Roboto" panose="02000000000000000000" pitchFamily="2" charset="0"/>
                <a:cs typeface="Roboto" panose="02000000000000000000"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2178"/>
              <a:t>Combining mobile communication sector, aerospace sector</a:t>
            </a:r>
          </a:p>
        </p:txBody>
      </p:sp>
      <p:sp>
        <p:nvSpPr>
          <p:cNvPr id="179" name="Textplatzhalter 15">
            <a:extLst>
              <a:ext uri="{FF2B5EF4-FFF2-40B4-BE49-F238E27FC236}">
                <a16:creationId xmlns:a16="http://schemas.microsoft.com/office/drawing/2014/main" id="{EFB250E9-8718-4C73-BCDA-1A1B41A1FB02}"/>
              </a:ext>
            </a:extLst>
          </p:cNvPr>
          <p:cNvSpPr txBox="1">
            <a:spLocks/>
          </p:cNvSpPr>
          <p:nvPr/>
        </p:nvSpPr>
        <p:spPr>
          <a:xfrm>
            <a:off x="499868" y="936272"/>
            <a:ext cx="9997295" cy="351404"/>
          </a:xfrm>
          <a:prstGeom prst="rect">
            <a:avLst/>
          </a:prstGeom>
        </p:spPr>
        <p:txBody>
          <a:bodyPr vert="horz" lIns="0" tIns="41487" rIns="82975" bIns="41487"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a:solidFill>
                  <a:srgbClr val="222B4C"/>
                </a:solidFill>
                <a:latin typeface="Roboto" panose="02000000000000000000" pitchFamily="2" charset="0"/>
                <a:ea typeface="Roboto" panose="02000000000000000000" pitchFamily="2" charset="0"/>
                <a:cs typeface="Roboto" panose="02000000000000000000" pitchFamily="2" charset="0"/>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rgbClr val="222B4C"/>
                </a:solidFill>
                <a:latin typeface="Roboto" panose="02000000000000000000" pitchFamily="2" charset="0"/>
                <a:ea typeface="Roboto" panose="02000000000000000000" pitchFamily="2" charset="0"/>
                <a:cs typeface="Roboto" panose="02000000000000000000"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rgbClr val="222B4C"/>
                </a:solidFill>
                <a:latin typeface="Roboto" panose="02000000000000000000" pitchFamily="2" charset="0"/>
                <a:ea typeface="Roboto" panose="02000000000000000000" pitchFamily="2" charset="0"/>
                <a:cs typeface="Roboto" panose="02000000000000000000" pitchFamily="2" charset="0"/>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rgbClr val="222B4C"/>
                </a:solidFill>
                <a:latin typeface="Roboto" panose="02000000000000000000" pitchFamily="2" charset="0"/>
                <a:ea typeface="Roboto" panose="02000000000000000000" pitchFamily="2" charset="0"/>
                <a:cs typeface="Roboto" panose="02000000000000000000"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rgbClr val="222B4C"/>
                </a:solidFill>
                <a:latin typeface="Roboto" panose="02000000000000000000" pitchFamily="2" charset="0"/>
                <a:ea typeface="Roboto" panose="02000000000000000000" pitchFamily="2" charset="0"/>
                <a:cs typeface="Roboto" panose="02000000000000000000"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2178"/>
              <a:t>Combining mobile communication sector, aerospace sector, and space sector</a:t>
            </a:r>
          </a:p>
        </p:txBody>
      </p:sp>
      <p:sp>
        <p:nvSpPr>
          <p:cNvPr id="177" name="Textplatzhalter 15">
            <a:extLst>
              <a:ext uri="{FF2B5EF4-FFF2-40B4-BE49-F238E27FC236}">
                <a16:creationId xmlns:a16="http://schemas.microsoft.com/office/drawing/2014/main" id="{D2DA4255-B8FC-4813-BE5D-BC73A3AB8A4E}"/>
              </a:ext>
            </a:extLst>
          </p:cNvPr>
          <p:cNvSpPr txBox="1">
            <a:spLocks/>
          </p:cNvSpPr>
          <p:nvPr/>
        </p:nvSpPr>
        <p:spPr>
          <a:xfrm>
            <a:off x="499868" y="936272"/>
            <a:ext cx="9997295" cy="351404"/>
          </a:xfrm>
          <a:prstGeom prst="rect">
            <a:avLst/>
          </a:prstGeom>
        </p:spPr>
        <p:txBody>
          <a:bodyPr vert="horz" lIns="0" tIns="41487" rIns="82975" bIns="41487"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a:solidFill>
                  <a:srgbClr val="222B4C"/>
                </a:solidFill>
                <a:latin typeface="Roboto" panose="02000000000000000000" pitchFamily="2" charset="0"/>
                <a:ea typeface="Roboto" panose="02000000000000000000" pitchFamily="2" charset="0"/>
                <a:cs typeface="Roboto" panose="02000000000000000000" pitchFamily="2" charset="0"/>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rgbClr val="222B4C"/>
                </a:solidFill>
                <a:latin typeface="Roboto" panose="02000000000000000000" pitchFamily="2" charset="0"/>
                <a:ea typeface="Roboto" panose="02000000000000000000" pitchFamily="2" charset="0"/>
                <a:cs typeface="Roboto" panose="02000000000000000000"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rgbClr val="222B4C"/>
                </a:solidFill>
                <a:latin typeface="Roboto" panose="02000000000000000000" pitchFamily="2" charset="0"/>
                <a:ea typeface="Roboto" panose="02000000000000000000" pitchFamily="2" charset="0"/>
                <a:cs typeface="Roboto" panose="02000000000000000000" pitchFamily="2" charset="0"/>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rgbClr val="222B4C"/>
                </a:solidFill>
                <a:latin typeface="Roboto" panose="02000000000000000000" pitchFamily="2" charset="0"/>
                <a:ea typeface="Roboto" panose="02000000000000000000" pitchFamily="2" charset="0"/>
                <a:cs typeface="Roboto" panose="02000000000000000000"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rgbClr val="222B4C"/>
                </a:solidFill>
                <a:latin typeface="Roboto" panose="02000000000000000000" pitchFamily="2" charset="0"/>
                <a:ea typeface="Roboto" panose="02000000000000000000" pitchFamily="2" charset="0"/>
                <a:cs typeface="Roboto" panose="02000000000000000000" pitchFamily="2"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2178"/>
              <a:t>Combining mobile communication sector</a:t>
            </a:r>
          </a:p>
        </p:txBody>
      </p:sp>
    </p:spTree>
    <p:extLst>
      <p:ext uri="{BB962C8B-B14F-4D97-AF65-F5344CB8AC3E}">
        <p14:creationId xmlns:p14="http://schemas.microsoft.com/office/powerpoint/2010/main" val="18779260"/>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7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7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4"/>
                                        </p:tgtEl>
                                        <p:attrNameLst>
                                          <p:attrName>style.visibility</p:attrName>
                                        </p:attrNameLst>
                                      </p:cBhvr>
                                      <p:to>
                                        <p:strVal val="visible"/>
                                      </p:to>
                                    </p:set>
                                  </p:childTnLst>
                                </p:cTn>
                              </p:par>
                              <p:par>
                                <p:cTn id="31" presetID="1" presetClass="exit" presetSubtype="0" fill="hold" grpId="0" nodeType="withEffect">
                                  <p:stCondLst>
                                    <p:cond delay="0"/>
                                  </p:stCondLst>
                                  <p:childTnLst>
                                    <p:set>
                                      <p:cBhvr>
                                        <p:cTn id="32" dur="1" fill="hold">
                                          <p:stCondLst>
                                            <p:cond delay="0"/>
                                          </p:stCondLst>
                                        </p:cTn>
                                        <p:tgtEl>
                                          <p:spTgt spid="177"/>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5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8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7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8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83"/>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79"/>
                                        </p:tgtEl>
                                        <p:attrNameLst>
                                          <p:attrName>style.visibility</p:attrName>
                                        </p:attrNameLst>
                                      </p:cBhvr>
                                      <p:to>
                                        <p:strVal val="visible"/>
                                      </p:to>
                                    </p:set>
                                  </p:childTnLst>
                                </p:cTn>
                              </p:par>
                              <p:par>
                                <p:cTn id="53" presetID="1" presetClass="exit" presetSubtype="0" fill="hold" grpId="1" nodeType="withEffect">
                                  <p:stCondLst>
                                    <p:cond delay="0"/>
                                  </p:stCondLst>
                                  <p:childTnLst>
                                    <p:set>
                                      <p:cBhvr>
                                        <p:cTn id="54" dur="1" fill="hold">
                                          <p:stCondLst>
                                            <p:cond delay="0"/>
                                          </p:stCondLst>
                                        </p:cTn>
                                        <p:tgtEl>
                                          <p:spTgt spid="17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2" grpId="0" animBg="1"/>
      <p:bldP spid="14" grpId="0" animBg="1"/>
      <p:bldP spid="78" grpId="0" animBg="1"/>
      <p:bldP spid="79" grpId="0" animBg="1"/>
      <p:bldP spid="80" grpId="0" animBg="1"/>
      <p:bldP spid="81" grpId="0" animBg="1"/>
      <p:bldP spid="82" grpId="0" animBg="1"/>
      <p:bldP spid="83" grpId="0" animBg="1"/>
      <p:bldP spid="85" grpId="0" animBg="1"/>
      <p:bldP spid="86" grpId="0" animBg="1"/>
      <p:bldP spid="87" grpId="0" animBg="1"/>
      <p:bldP spid="142" grpId="0" animBg="1"/>
      <p:bldP spid="173" grpId="0" animBg="1"/>
      <p:bldP spid="174" grpId="0"/>
      <p:bldP spid="174" grpId="1"/>
      <p:bldP spid="179" grpId="0"/>
      <p:bldP spid="17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F37D34-2907-4CEF-B5C0-76F80398E4A7}"/>
              </a:ext>
            </a:extLst>
          </p:cNvPr>
          <p:cNvSpPr>
            <a:spLocks noGrp="1"/>
          </p:cNvSpPr>
          <p:nvPr>
            <p:ph type="title"/>
          </p:nvPr>
        </p:nvSpPr>
        <p:spPr/>
        <p:txBody>
          <a:bodyPr/>
          <a:lstStyle/>
          <a:p>
            <a:r>
              <a:rPr lang="en-US"/>
              <a:t>Connecting the Unconnected: Global Coverage</a:t>
            </a:r>
          </a:p>
        </p:txBody>
      </p:sp>
      <p:sp>
        <p:nvSpPr>
          <p:cNvPr id="3" name="Textplatzhalter 2">
            <a:extLst>
              <a:ext uri="{FF2B5EF4-FFF2-40B4-BE49-F238E27FC236}">
                <a16:creationId xmlns:a16="http://schemas.microsoft.com/office/drawing/2014/main" id="{24A987B4-8126-4C6A-9ECA-CBE476367B4B}"/>
              </a:ext>
            </a:extLst>
          </p:cNvPr>
          <p:cNvSpPr>
            <a:spLocks noGrp="1"/>
          </p:cNvSpPr>
          <p:nvPr>
            <p:ph type="body" sz="quarter" idx="13"/>
          </p:nvPr>
        </p:nvSpPr>
        <p:spPr/>
        <p:txBody>
          <a:bodyPr>
            <a:normAutofit fontScale="92500" lnSpcReduction="10000"/>
          </a:bodyPr>
          <a:lstStyle/>
          <a:p>
            <a:r>
              <a:rPr lang="en-US"/>
              <a:t>Terrestrial Base Station</a:t>
            </a:r>
          </a:p>
        </p:txBody>
      </p:sp>
      <p:pic>
        <p:nvPicPr>
          <p:cNvPr id="17" name="Picture Placeholder 16">
            <a:extLst>
              <a:ext uri="{FF2B5EF4-FFF2-40B4-BE49-F238E27FC236}">
                <a16:creationId xmlns:a16="http://schemas.microsoft.com/office/drawing/2014/main" id="{730B9062-C161-F173-9837-E2C9ECB7E97E}"/>
              </a:ext>
            </a:extLst>
          </p:cNvPr>
          <p:cNvPicPr>
            <a:picLocks noGrp="1" noChangeAspect="1"/>
          </p:cNvPicPr>
          <p:nvPr>
            <p:ph type="pic" sz="quarter" idx="14"/>
          </p:nvPr>
        </p:nvPicPr>
        <p:blipFill>
          <a:blip r:embed="rId3"/>
          <a:srcRect l="172" r="172"/>
          <a:stretch/>
        </p:blipFill>
        <p:spPr>
          <a:prstGeom prst="rect">
            <a:avLst/>
          </a:prstGeom>
        </p:spPr>
      </p:pic>
      <p:sp>
        <p:nvSpPr>
          <p:cNvPr id="5" name="Textplatzhalter 4">
            <a:extLst>
              <a:ext uri="{FF2B5EF4-FFF2-40B4-BE49-F238E27FC236}">
                <a16:creationId xmlns:a16="http://schemas.microsoft.com/office/drawing/2014/main" id="{6A2776D3-E035-4D67-8166-CB3F8F2F7BE1}"/>
              </a:ext>
            </a:extLst>
          </p:cNvPr>
          <p:cNvSpPr>
            <a:spLocks noGrp="1"/>
          </p:cNvSpPr>
          <p:nvPr>
            <p:ph type="body" sz="quarter" idx="15"/>
          </p:nvPr>
        </p:nvSpPr>
        <p:spPr/>
        <p:txBody>
          <a:bodyPr>
            <a:normAutofit fontScale="92500" lnSpcReduction="10000"/>
          </a:bodyPr>
          <a:lstStyle/>
          <a:p>
            <a:r>
              <a:rPr lang="en-US"/>
              <a:t>Base Station on Drones</a:t>
            </a:r>
          </a:p>
        </p:txBody>
      </p:sp>
      <p:pic>
        <p:nvPicPr>
          <p:cNvPr id="14" name="Bildplatzhalter 13">
            <a:extLst>
              <a:ext uri="{FF2B5EF4-FFF2-40B4-BE49-F238E27FC236}">
                <a16:creationId xmlns:a16="http://schemas.microsoft.com/office/drawing/2014/main" id="{55DD648F-5D75-4E38-BBAD-182206B8BC4E}"/>
              </a:ext>
            </a:extLst>
          </p:cNvPr>
          <p:cNvPicPr>
            <a:picLocks noGrp="1" noChangeAspect="1"/>
          </p:cNvPicPr>
          <p:nvPr>
            <p:ph type="pic" sz="quarter" idx="16"/>
          </p:nvPr>
        </p:nvPicPr>
        <p:blipFill rotWithShape="1">
          <a:blip r:embed="rId4">
            <a:extLst>
              <a:ext uri="{28A0092B-C50C-407E-A947-70E740481C1C}">
                <a14:useLocalDpi xmlns:a14="http://schemas.microsoft.com/office/drawing/2010/main" val="0"/>
              </a:ext>
            </a:extLst>
          </a:blip>
          <a:srcRect t="8632" b="8632"/>
          <a:stretch/>
        </p:blipFill>
        <p:spPr/>
      </p:pic>
      <p:sp>
        <p:nvSpPr>
          <p:cNvPr id="7" name="Textplatzhalter 6">
            <a:extLst>
              <a:ext uri="{FF2B5EF4-FFF2-40B4-BE49-F238E27FC236}">
                <a16:creationId xmlns:a16="http://schemas.microsoft.com/office/drawing/2014/main" id="{22FE73DD-8DEC-4C0D-80AE-75316F5E2052}"/>
              </a:ext>
            </a:extLst>
          </p:cNvPr>
          <p:cNvSpPr>
            <a:spLocks noGrp="1"/>
          </p:cNvSpPr>
          <p:nvPr>
            <p:ph type="body" sz="quarter" idx="17"/>
          </p:nvPr>
        </p:nvSpPr>
        <p:spPr/>
        <p:txBody>
          <a:bodyPr>
            <a:normAutofit fontScale="92500" lnSpcReduction="10000"/>
          </a:bodyPr>
          <a:lstStyle/>
          <a:p>
            <a:r>
              <a:rPr lang="en-US"/>
              <a:t>High-Altitude Platforms</a:t>
            </a:r>
          </a:p>
        </p:txBody>
      </p:sp>
      <p:sp>
        <p:nvSpPr>
          <p:cNvPr id="9" name="Textplatzhalter 8">
            <a:extLst>
              <a:ext uri="{FF2B5EF4-FFF2-40B4-BE49-F238E27FC236}">
                <a16:creationId xmlns:a16="http://schemas.microsoft.com/office/drawing/2014/main" id="{555721A3-B5F3-48DA-A706-93023FAEB371}"/>
              </a:ext>
            </a:extLst>
          </p:cNvPr>
          <p:cNvSpPr>
            <a:spLocks noGrp="1"/>
          </p:cNvSpPr>
          <p:nvPr>
            <p:ph type="body" sz="quarter" idx="19"/>
          </p:nvPr>
        </p:nvSpPr>
        <p:spPr/>
        <p:txBody>
          <a:bodyPr>
            <a:normAutofit fontScale="92500" lnSpcReduction="10000"/>
          </a:bodyPr>
          <a:lstStyle/>
          <a:p>
            <a:r>
              <a:rPr lang="en-US"/>
              <a:t>Satellites</a:t>
            </a:r>
          </a:p>
        </p:txBody>
      </p:sp>
      <p:pic>
        <p:nvPicPr>
          <p:cNvPr id="13" name="Picture Placeholder 12" descr="A satellite in space above earth&#10;&#10;AI-generated content may be incorrect.">
            <a:extLst>
              <a:ext uri="{FF2B5EF4-FFF2-40B4-BE49-F238E27FC236}">
                <a16:creationId xmlns:a16="http://schemas.microsoft.com/office/drawing/2014/main" id="{863F9D80-8321-30C0-F635-EDD210CE9AE5}"/>
              </a:ext>
            </a:extLst>
          </p:cNvPr>
          <p:cNvPicPr>
            <a:picLocks noGrp="1" noChangeAspect="1"/>
          </p:cNvPicPr>
          <p:nvPr>
            <p:ph type="pic" sz="quarter" idx="20"/>
          </p:nvPr>
        </p:nvPicPr>
        <p:blipFill>
          <a:blip r:embed="rId5">
            <a:extLst>
              <a:ext uri="{28A0092B-C50C-407E-A947-70E740481C1C}">
                <a14:useLocalDpi xmlns:a14="http://schemas.microsoft.com/office/drawing/2010/main" val="0"/>
              </a:ext>
            </a:extLst>
          </a:blip>
          <a:srcRect t="8588" b="8588"/>
          <a:stretch/>
        </p:blipFill>
        <p:spPr/>
      </p:pic>
      <p:pic>
        <p:nvPicPr>
          <p:cNvPr id="22" name="Picture Placeholder 21" descr="A satellite flying over the earth&#10;&#10;AI-generated content may be incorrect.">
            <a:extLst>
              <a:ext uri="{FF2B5EF4-FFF2-40B4-BE49-F238E27FC236}">
                <a16:creationId xmlns:a16="http://schemas.microsoft.com/office/drawing/2014/main" id="{1997A303-6AF6-3C8D-B3D0-3A00680DE064}"/>
              </a:ext>
            </a:extLst>
          </p:cNvPr>
          <p:cNvPicPr>
            <a:picLocks noGrp="1" noChangeAspect="1"/>
          </p:cNvPicPr>
          <p:nvPr>
            <p:ph type="pic" sz="quarter" idx="18"/>
          </p:nvPr>
        </p:nvPicPr>
        <p:blipFill>
          <a:blip r:embed="rId6">
            <a:extLst>
              <a:ext uri="{28A0092B-C50C-407E-A947-70E740481C1C}">
                <a14:useLocalDpi xmlns:a14="http://schemas.microsoft.com/office/drawing/2010/main" val="0"/>
              </a:ext>
            </a:extLst>
          </a:blip>
          <a:srcRect t="15027" b="15027"/>
          <a:stretch>
            <a:fillRect/>
          </a:stretch>
        </p:blipFill>
        <p:spPr/>
      </p:pic>
    </p:spTree>
    <p:extLst>
      <p:ext uri="{BB962C8B-B14F-4D97-AF65-F5344CB8AC3E}">
        <p14:creationId xmlns:p14="http://schemas.microsoft.com/office/powerpoint/2010/main" val="1641422220"/>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AEF842-2E55-22D8-2812-EC1433FB9CDE}"/>
            </a:ext>
          </a:extLst>
        </p:cNvPr>
        <p:cNvGrpSpPr/>
        <p:nvPr/>
      </p:nvGrpSpPr>
      <p:grpSpPr>
        <a:xfrm>
          <a:off x="0" y="0"/>
          <a:ext cx="0" cy="0"/>
          <a:chOff x="0" y="0"/>
          <a:chExt cx="0" cy="0"/>
        </a:xfrm>
      </p:grpSpPr>
      <p:sp>
        <p:nvSpPr>
          <p:cNvPr id="11" name="Titel 10">
            <a:extLst>
              <a:ext uri="{FF2B5EF4-FFF2-40B4-BE49-F238E27FC236}">
                <a16:creationId xmlns:a16="http://schemas.microsoft.com/office/drawing/2014/main" id="{3C5D87B2-817D-7EDF-7E92-230322892500}"/>
              </a:ext>
            </a:extLst>
          </p:cNvPr>
          <p:cNvSpPr>
            <a:spLocks noGrp="1"/>
          </p:cNvSpPr>
          <p:nvPr>
            <p:ph type="title"/>
          </p:nvPr>
        </p:nvSpPr>
        <p:spPr/>
        <p:txBody>
          <a:bodyPr/>
          <a:lstStyle/>
          <a:p>
            <a:r>
              <a:rPr lang="en-US">
                <a:ea typeface="Calibri Light"/>
                <a:cs typeface="Calibri Light"/>
              </a:rPr>
              <a:t>One Device Only</a:t>
            </a:r>
            <a:endParaRPr lang="en-US"/>
          </a:p>
        </p:txBody>
      </p:sp>
      <p:sp>
        <p:nvSpPr>
          <p:cNvPr id="12" name="Inhaltsplatzhalter 11">
            <a:extLst>
              <a:ext uri="{FF2B5EF4-FFF2-40B4-BE49-F238E27FC236}">
                <a16:creationId xmlns:a16="http://schemas.microsoft.com/office/drawing/2014/main" id="{A61FD536-DD76-8B1A-D5B2-4843E4B4351E}"/>
              </a:ext>
            </a:extLst>
          </p:cNvPr>
          <p:cNvSpPr>
            <a:spLocks noGrp="1"/>
          </p:cNvSpPr>
          <p:nvPr>
            <p:ph sz="half" idx="1"/>
          </p:nvPr>
        </p:nvSpPr>
        <p:spPr/>
        <p:txBody>
          <a:bodyPr lIns="0" tIns="0" rIns="0" bIns="0" anchor="t">
            <a:noAutofit/>
          </a:bodyPr>
          <a:lstStyle/>
          <a:p>
            <a:pPr marL="251460" indent="-251460"/>
            <a:endParaRPr lang="en-US" sz="3200">
              <a:ea typeface="Microsoft YaHei"/>
              <a:cs typeface="Arial"/>
            </a:endParaRPr>
          </a:p>
          <a:p>
            <a:pPr marL="251460" indent="-251460">
              <a:spcBef>
                <a:spcPts val="1800"/>
              </a:spcBef>
            </a:pPr>
            <a:r>
              <a:rPr lang="en-US">
                <a:ea typeface="Microsoft YaHei"/>
                <a:cs typeface="Arial"/>
              </a:rPr>
              <a:t>No need for multiple user terminals</a:t>
            </a:r>
          </a:p>
          <a:p>
            <a:pPr marL="251460" indent="-251460">
              <a:spcBef>
                <a:spcPts val="1800"/>
              </a:spcBef>
            </a:pPr>
            <a:r>
              <a:rPr lang="en-US">
                <a:ea typeface="Microsoft YaHei"/>
                <a:cs typeface="Arial"/>
              </a:rPr>
              <a:t>Low terminal complexity and cost </a:t>
            </a:r>
            <a:br>
              <a:rPr lang="en-US">
                <a:ea typeface="Microsoft YaHei"/>
                <a:cs typeface="Arial"/>
              </a:rPr>
            </a:br>
            <a:r>
              <a:rPr lang="en-US">
                <a:ea typeface="Microsoft YaHei"/>
                <a:cs typeface="Arial"/>
              </a:rPr>
              <a:t>by unified network technology</a:t>
            </a:r>
          </a:p>
          <a:p>
            <a:pPr marL="251460" indent="-251460">
              <a:spcBef>
                <a:spcPts val="1800"/>
              </a:spcBef>
            </a:pPr>
            <a:r>
              <a:rPr lang="en-US">
                <a:ea typeface="Microsoft YaHei"/>
                <a:cs typeface="Arial"/>
              </a:rPr>
              <a:t>Cost reduction by larger customer base for terminal manufacturers </a:t>
            </a:r>
          </a:p>
          <a:p>
            <a:pPr marL="251460" indent="-251460">
              <a:spcBef>
                <a:spcPts val="1800"/>
              </a:spcBef>
            </a:pPr>
            <a:r>
              <a:rPr lang="en-US">
                <a:ea typeface="Microsoft YaHei"/>
                <a:cs typeface="Arial"/>
              </a:rPr>
              <a:t>No customer lock-in to proprietary networks</a:t>
            </a:r>
          </a:p>
        </p:txBody>
      </p:sp>
      <p:sp>
        <p:nvSpPr>
          <p:cNvPr id="13" name="Textfeld 12">
            <a:extLst>
              <a:ext uri="{FF2B5EF4-FFF2-40B4-BE49-F238E27FC236}">
                <a16:creationId xmlns:a16="http://schemas.microsoft.com/office/drawing/2014/main" id="{8CE6C24F-AB29-415B-A839-DFD147B03B5F}"/>
              </a:ext>
            </a:extLst>
          </p:cNvPr>
          <p:cNvSpPr txBox="1"/>
          <p:nvPr/>
        </p:nvSpPr>
        <p:spPr>
          <a:xfrm>
            <a:off x="490537" y="955274"/>
            <a:ext cx="10082209" cy="461665"/>
          </a:xfrm>
          <a:prstGeom prst="rect">
            <a:avLst/>
          </a:prstGeom>
          <a:noFill/>
        </p:spPr>
        <p:txBody>
          <a:bodyPr wrap="square">
            <a:spAutoFit/>
          </a:bodyPr>
          <a:lstStyle/>
          <a:p>
            <a:r>
              <a:rPr lang="en-US" sz="2400" b="1">
                <a:solidFill>
                  <a:srgbClr val="183859"/>
                </a:solidFill>
                <a:ea typeface="Calibri Light"/>
                <a:cs typeface="Calibri Light"/>
              </a:rPr>
              <a:t>Single User Device for all Network Types</a:t>
            </a:r>
            <a:endParaRPr lang="en-US" sz="2400" b="1">
              <a:solidFill>
                <a:srgbClr val="183859"/>
              </a:solidFill>
            </a:endParaRPr>
          </a:p>
        </p:txBody>
      </p:sp>
      <p:sp>
        <p:nvSpPr>
          <p:cNvPr id="14" name="Sprechblase: rechteckig mit abgerundeten Ecken 13">
            <a:extLst>
              <a:ext uri="{FF2B5EF4-FFF2-40B4-BE49-F238E27FC236}">
                <a16:creationId xmlns:a16="http://schemas.microsoft.com/office/drawing/2014/main" id="{6494957E-A328-42C9-A152-2417E09B380C}"/>
              </a:ext>
            </a:extLst>
          </p:cNvPr>
          <p:cNvSpPr/>
          <p:nvPr/>
        </p:nvSpPr>
        <p:spPr>
          <a:xfrm>
            <a:off x="5531644" y="1300246"/>
            <a:ext cx="3433233" cy="2053167"/>
          </a:xfrm>
          <a:prstGeom prst="wedgeRoundRectCallout">
            <a:avLst>
              <a:gd name="adj1" fmla="val 58822"/>
              <a:gd name="adj2" fmla="val 79228"/>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7" descr="Communication icon set. Containing speak, phone, mail, contact, chat, website, satellite, radio, antenna, message and more. Solid icons collection, vector illustration.">
            <a:extLst>
              <a:ext uri="{FF2B5EF4-FFF2-40B4-BE49-F238E27FC236}">
                <a16:creationId xmlns:a16="http://schemas.microsoft.com/office/drawing/2014/main" id="{8D04C293-CAD8-496D-8FDB-CD1E2922AFFE}"/>
              </a:ext>
            </a:extLst>
          </p:cNvPr>
          <p:cNvPicPr>
            <a:picLocks noChangeAspect="1"/>
          </p:cNvPicPr>
          <p:nvPr/>
        </p:nvPicPr>
        <p:blipFill>
          <a:blip r:embed="rId3"/>
          <a:srcRect l="25762" r="138" b="-707"/>
          <a:stretch/>
        </p:blipFill>
        <p:spPr>
          <a:xfrm>
            <a:off x="5671303" y="1484503"/>
            <a:ext cx="3195197" cy="1704594"/>
          </a:xfrm>
          <a:prstGeom prst="rect">
            <a:avLst/>
          </a:prstGeom>
        </p:spPr>
      </p:pic>
      <p:grpSp>
        <p:nvGrpSpPr>
          <p:cNvPr id="3" name="Gruppieren 19">
            <a:extLst>
              <a:ext uri="{FF2B5EF4-FFF2-40B4-BE49-F238E27FC236}">
                <a16:creationId xmlns:a16="http://schemas.microsoft.com/office/drawing/2014/main" id="{E80BEE7D-F8DE-719A-7C00-74C7AD66F72B}"/>
              </a:ext>
            </a:extLst>
          </p:cNvPr>
          <p:cNvGrpSpPr/>
          <p:nvPr/>
        </p:nvGrpSpPr>
        <p:grpSpPr>
          <a:xfrm rot="592485">
            <a:off x="8711699" y="2237906"/>
            <a:ext cx="1844359" cy="3857105"/>
            <a:chOff x="9060949" y="2260706"/>
            <a:chExt cx="1844359" cy="3857105"/>
          </a:xfrm>
        </p:grpSpPr>
        <p:sp>
          <p:nvSpPr>
            <p:cNvPr id="4" name="Rechteck: abgerundete Ecken 8">
              <a:extLst>
                <a:ext uri="{FF2B5EF4-FFF2-40B4-BE49-F238E27FC236}">
                  <a16:creationId xmlns:a16="http://schemas.microsoft.com/office/drawing/2014/main" id="{3D2CF760-8952-C6C8-7FC7-62D271413ABB}"/>
                </a:ext>
              </a:extLst>
            </p:cNvPr>
            <p:cNvSpPr/>
            <p:nvPr/>
          </p:nvSpPr>
          <p:spPr>
            <a:xfrm rot="287695">
              <a:off x="9206761" y="2594447"/>
              <a:ext cx="1463816" cy="3147914"/>
            </a:xfrm>
            <a:prstGeom prst="roundRect">
              <a:avLst>
                <a:gd name="adj" fmla="val 13269"/>
              </a:avLst>
            </a:prstGeom>
            <a:gradFill>
              <a:gsLst>
                <a:gs pos="0">
                  <a:schemeClr val="accent5">
                    <a:lumMod val="20000"/>
                    <a:lumOff val="80000"/>
                    <a:alpha val="40000"/>
                  </a:schemeClr>
                </a:gs>
                <a:gs pos="100000">
                  <a:schemeClr val="accent5">
                    <a:lumMod val="20000"/>
                    <a:lumOff val="8000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9" descr="Ein Bild, das Screenshot, Schwarz, Schwarzweiß, Design enthält.&#10;&#10;KI-generierte Inhalte können fehlerhaft sein.">
              <a:extLst>
                <a:ext uri="{FF2B5EF4-FFF2-40B4-BE49-F238E27FC236}">
                  <a16:creationId xmlns:a16="http://schemas.microsoft.com/office/drawing/2014/main" id="{0EB52FA3-0DC6-0C51-9982-B819B972F688}"/>
                </a:ext>
              </a:extLst>
            </p:cNvPr>
            <p:cNvPicPr>
              <a:picLocks noChangeAspect="1"/>
            </p:cNvPicPr>
            <p:nvPr/>
          </p:nvPicPr>
          <p:blipFill>
            <a:blip r:embed="rId4">
              <a:extLst>
                <a:ext uri="{28A0092B-C50C-407E-A947-70E740481C1C}">
                  <a14:useLocalDpi xmlns:a14="http://schemas.microsoft.com/office/drawing/2010/main" val="0"/>
                </a:ext>
              </a:extLst>
            </a:blip>
            <a:srcRect l="35716" r="34399"/>
            <a:stretch/>
          </p:blipFill>
          <p:spPr>
            <a:xfrm rot="287695">
              <a:off x="9060949" y="2260706"/>
              <a:ext cx="1844359" cy="3857105"/>
            </a:xfrm>
            <a:prstGeom prst="rect">
              <a:avLst/>
            </a:prstGeom>
          </p:spPr>
        </p:pic>
      </p:grpSp>
    </p:spTree>
    <p:extLst>
      <p:ext uri="{BB962C8B-B14F-4D97-AF65-F5344CB8AC3E}">
        <p14:creationId xmlns:p14="http://schemas.microsoft.com/office/powerpoint/2010/main" val="484452169"/>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2D5F6B-5BF0-B37C-D70B-86AB33F51D08}"/>
              </a:ext>
            </a:extLst>
          </p:cNvPr>
          <p:cNvSpPr>
            <a:spLocks noGrp="1"/>
          </p:cNvSpPr>
          <p:nvPr>
            <p:ph type="title"/>
          </p:nvPr>
        </p:nvSpPr>
        <p:spPr/>
        <p:txBody>
          <a:bodyPr/>
          <a:lstStyle/>
          <a:p>
            <a:r>
              <a:rPr lang="de-DE" b="0">
                <a:latin typeface="Rubik"/>
                <a:ea typeface="Microsoft YaHei"/>
                <a:cs typeface="Arial"/>
              </a:rPr>
              <a:t>Architecture</a:t>
            </a:r>
            <a:endParaRPr lang="de-DE" b="0"/>
          </a:p>
        </p:txBody>
      </p:sp>
      <p:sp>
        <p:nvSpPr>
          <p:cNvPr id="3" name="Textplatzhalter 2">
            <a:extLst>
              <a:ext uri="{FF2B5EF4-FFF2-40B4-BE49-F238E27FC236}">
                <a16:creationId xmlns:a16="http://schemas.microsoft.com/office/drawing/2014/main" id="{C363908A-4267-394E-3BE5-35C19668102A}"/>
              </a:ext>
            </a:extLst>
          </p:cNvPr>
          <p:cNvSpPr>
            <a:spLocks noGrp="1"/>
          </p:cNvSpPr>
          <p:nvPr>
            <p:ph type="body" idx="1"/>
          </p:nvPr>
        </p:nvSpPr>
        <p:spPr/>
        <p:txBody>
          <a:bodyPr/>
          <a:lstStyle/>
          <a:p>
            <a:endParaRPr lang="de-DE"/>
          </a:p>
        </p:txBody>
      </p:sp>
      <p:pic>
        <p:nvPicPr>
          <p:cNvPr id="4" name="Grafik 3">
            <a:extLst>
              <a:ext uri="{FF2B5EF4-FFF2-40B4-BE49-F238E27FC236}">
                <a16:creationId xmlns:a16="http://schemas.microsoft.com/office/drawing/2014/main" id="{5E8F2DC2-4C5E-48A8-9AA9-BFD31E65AA80}"/>
              </a:ext>
            </a:extLst>
          </p:cNvPr>
          <p:cNvPicPr>
            <a:picLocks noChangeAspect="1"/>
          </p:cNvPicPr>
          <p:nvPr/>
        </p:nvPicPr>
        <p:blipFill>
          <a:blip r:embed="rId2"/>
          <a:stretch>
            <a:fillRect/>
          </a:stretch>
        </p:blipFill>
        <p:spPr>
          <a:xfrm>
            <a:off x="5553085" y="3212935"/>
            <a:ext cx="5019665" cy="2399589"/>
          </a:xfrm>
          <a:prstGeom prst="rect">
            <a:avLst/>
          </a:prstGeom>
        </p:spPr>
      </p:pic>
    </p:spTree>
    <p:extLst>
      <p:ext uri="{BB962C8B-B14F-4D97-AF65-F5344CB8AC3E}">
        <p14:creationId xmlns:p14="http://schemas.microsoft.com/office/powerpoint/2010/main" val="1981480036"/>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D0E87ED1-70E3-4D35-ACFC-3EE713554E15}"/>
              </a:ext>
            </a:extLst>
          </p:cNvPr>
          <p:cNvSpPr>
            <a:spLocks noGrp="1"/>
          </p:cNvSpPr>
          <p:nvPr>
            <p:ph type="body" idx="1"/>
          </p:nvPr>
        </p:nvSpPr>
        <p:spPr/>
        <p:txBody>
          <a:bodyPr/>
          <a:lstStyle/>
          <a:p>
            <a:r>
              <a:rPr lang="en-US">
                <a:ea typeface="Microsoft YaHei"/>
                <a:cs typeface="Arial"/>
              </a:rPr>
              <a:t>Holistic design approach with terrestrial nodes, drones, airplanes, and satellites</a:t>
            </a:r>
          </a:p>
        </p:txBody>
      </p:sp>
      <p:sp>
        <p:nvSpPr>
          <p:cNvPr id="2" name="Titel 1">
            <a:extLst>
              <a:ext uri="{FF2B5EF4-FFF2-40B4-BE49-F238E27FC236}">
                <a16:creationId xmlns:a16="http://schemas.microsoft.com/office/drawing/2014/main" id="{58E55EC5-5969-4CF0-B48D-80FC9FD5DC30}"/>
              </a:ext>
            </a:extLst>
          </p:cNvPr>
          <p:cNvSpPr>
            <a:spLocks noGrp="1"/>
          </p:cNvSpPr>
          <p:nvPr>
            <p:ph type="title"/>
          </p:nvPr>
        </p:nvSpPr>
        <p:spPr/>
        <p:txBody>
          <a:bodyPr>
            <a:normAutofit/>
          </a:bodyPr>
          <a:lstStyle/>
          <a:p>
            <a:r>
              <a:rPr lang="en-US">
                <a:ea typeface="Microsoft YaHei"/>
                <a:cs typeface="Arial"/>
              </a:rPr>
              <a:t>Unification towards a Common 3GPP Standard</a:t>
            </a:r>
          </a:p>
        </p:txBody>
      </p:sp>
      <p:pic>
        <p:nvPicPr>
          <p:cNvPr id="17" name="Grafik 16">
            <a:extLst>
              <a:ext uri="{FF2B5EF4-FFF2-40B4-BE49-F238E27FC236}">
                <a16:creationId xmlns:a16="http://schemas.microsoft.com/office/drawing/2014/main" id="{15E2019C-297D-40E9-86AE-889F6B392B09}"/>
              </a:ext>
            </a:extLst>
          </p:cNvPr>
          <p:cNvPicPr>
            <a:picLocks noChangeAspect="1"/>
          </p:cNvPicPr>
          <p:nvPr/>
        </p:nvPicPr>
        <p:blipFill rotWithShape="1">
          <a:blip r:embed="rId2"/>
          <a:srcRect l="1570" t="30795" r="3046"/>
          <a:stretch/>
        </p:blipFill>
        <p:spPr>
          <a:xfrm>
            <a:off x="501894" y="1722884"/>
            <a:ext cx="10561394" cy="3462593"/>
          </a:xfrm>
          <a:custGeom>
            <a:avLst/>
            <a:gdLst>
              <a:gd name="connsiteX0" fmla="*/ 0 w 11051932"/>
              <a:gd name="connsiteY0" fmla="*/ 0 h 3623418"/>
              <a:gd name="connsiteX1" fmla="*/ 11051932 w 11051932"/>
              <a:gd name="connsiteY1" fmla="*/ 0 h 3623418"/>
              <a:gd name="connsiteX2" fmla="*/ 11051932 w 11051932"/>
              <a:gd name="connsiteY2" fmla="*/ 3623418 h 3623418"/>
              <a:gd name="connsiteX3" fmla="*/ 7038258 w 11051932"/>
              <a:gd name="connsiteY3" fmla="*/ 3623418 h 3623418"/>
              <a:gd name="connsiteX4" fmla="*/ 7038258 w 11051932"/>
              <a:gd name="connsiteY4" fmla="*/ 3412662 h 3623418"/>
              <a:gd name="connsiteX5" fmla="*/ 5958138 w 11051932"/>
              <a:gd name="connsiteY5" fmla="*/ 3412662 h 3623418"/>
              <a:gd name="connsiteX6" fmla="*/ 5958138 w 11051932"/>
              <a:gd name="connsiteY6" fmla="*/ 3623418 h 3623418"/>
              <a:gd name="connsiteX7" fmla="*/ 0 w 11051932"/>
              <a:gd name="connsiteY7" fmla="*/ 3623418 h 362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1932" h="3623418">
                <a:moveTo>
                  <a:pt x="0" y="0"/>
                </a:moveTo>
                <a:lnTo>
                  <a:pt x="11051932" y="0"/>
                </a:lnTo>
                <a:lnTo>
                  <a:pt x="11051932" y="3623418"/>
                </a:lnTo>
                <a:lnTo>
                  <a:pt x="7038258" y="3623418"/>
                </a:lnTo>
                <a:lnTo>
                  <a:pt x="7038258" y="3412662"/>
                </a:lnTo>
                <a:lnTo>
                  <a:pt x="5958138" y="3412662"/>
                </a:lnTo>
                <a:lnTo>
                  <a:pt x="5958138" y="3623418"/>
                </a:lnTo>
                <a:lnTo>
                  <a:pt x="0" y="3623418"/>
                </a:lnTo>
                <a:close/>
              </a:path>
            </a:pathLst>
          </a:custGeom>
        </p:spPr>
      </p:pic>
      <p:sp>
        <p:nvSpPr>
          <p:cNvPr id="3" name="Fußzeilenplatzhalter 4">
            <a:extLst>
              <a:ext uri="{FF2B5EF4-FFF2-40B4-BE49-F238E27FC236}">
                <a16:creationId xmlns:a16="http://schemas.microsoft.com/office/drawing/2014/main" id="{D3F864B4-9B59-75C8-F475-28C18FCAE30B}"/>
              </a:ext>
            </a:extLst>
          </p:cNvPr>
          <p:cNvSpPr txBox="1">
            <a:spLocks/>
          </p:cNvSpPr>
          <p:nvPr/>
        </p:nvSpPr>
        <p:spPr bwMode="black">
          <a:xfrm>
            <a:off x="168488" y="5988313"/>
            <a:ext cx="2482982" cy="182985"/>
          </a:xfrm>
          <a:prstGeom prst="rect">
            <a:avLst/>
          </a:prstGeom>
        </p:spPr>
        <p:txBody>
          <a:bodyPr vert="horz" lIns="0" tIns="0" rIns="0" bIns="0" rtlCol="0" anchor="ctr">
            <a:noAutofit/>
          </a:bodyPr>
          <a:lstStyle>
            <a:defPPr>
              <a:defRPr lang="de-DE"/>
            </a:defPPr>
            <a:lvl1pPr marL="0" algn="l" defTabSz="914400" rtl="0" eaLnBrk="1" latinLnBrk="0" hangingPunct="1">
              <a:defRPr sz="9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9727">
              <a:defRPr/>
            </a:pPr>
            <a:r>
              <a:rPr lang="en-GB" sz="817">
                <a:solidFill>
                  <a:prstClr val="black"/>
                </a:solidFill>
              </a:rPr>
              <a:t>© Copyright Airbus Defence and Space GmbH 2022</a:t>
            </a:r>
          </a:p>
        </p:txBody>
      </p:sp>
      <p:sp>
        <p:nvSpPr>
          <p:cNvPr id="4" name="Flèche droite 4">
            <a:extLst>
              <a:ext uri="{FF2B5EF4-FFF2-40B4-BE49-F238E27FC236}">
                <a16:creationId xmlns:a16="http://schemas.microsoft.com/office/drawing/2014/main" id="{C6E632BA-E18A-EB7E-FAEF-695293B59F59}"/>
              </a:ext>
            </a:extLst>
          </p:cNvPr>
          <p:cNvSpPr/>
          <p:nvPr/>
        </p:nvSpPr>
        <p:spPr>
          <a:xfrm>
            <a:off x="24419" y="5419725"/>
            <a:ext cx="10602221" cy="428055"/>
          </a:xfrm>
          <a:prstGeom prst="rightArrow">
            <a:avLst>
              <a:gd name="adj1" fmla="val 59715"/>
              <a:gd name="adj2" fmla="val 61788"/>
            </a:avLst>
          </a:prstGeom>
          <a:gradFill flip="none" rotWithShape="1">
            <a:gsLst>
              <a:gs pos="0">
                <a:schemeClr val="accent1"/>
              </a:gs>
              <a:gs pos="100000">
                <a:sysClr val="window" lastClr="FFFFFF"/>
              </a:gs>
              <a:gs pos="29000">
                <a:schemeClr val="accent1">
                  <a:lumMod val="40000"/>
                  <a:lumOff val="60000"/>
                </a:schemeClr>
              </a:gs>
              <a:gs pos="59000">
                <a:schemeClr val="accent2">
                  <a:lumMod val="20000"/>
                  <a:lumOff val="80000"/>
                </a:schemeClr>
              </a:gs>
            </a:gsLst>
            <a:lin ang="10800000" scaled="1"/>
            <a:tileRect/>
          </a:gradFill>
          <a:ln w="9525" cap="flat" cmpd="sng" algn="ctr">
            <a:noFill/>
            <a:prstDash val="solid"/>
            <a:round/>
            <a:headEnd type="none" w="med" len="med"/>
            <a:tailEnd type="none" w="med" len="med"/>
          </a:ln>
          <a:effectLst/>
        </p:spPr>
        <p:txBody>
          <a:bodyPr vert="horz" wrap="square" lIns="82975" tIns="41487" rIns="82975" bIns="41487" numCol="1" rtlCol="0" anchor="ctr" anchorCtr="0" compatLnSpc="1">
            <a:prstTxWarp prst="textNoShape">
              <a:avLst/>
            </a:prstTxWarp>
          </a:bodyPr>
          <a:lstStyle/>
          <a:p>
            <a:pPr defTabSz="946407">
              <a:defRPr/>
            </a:pPr>
            <a:endParaRPr lang="fr-FR" sz="544" kern="0">
              <a:solidFill>
                <a:prstClr val="black"/>
              </a:solidFill>
              <a:latin typeface="Arial" pitchFamily="34" charset="0"/>
              <a:cs typeface="Arial" pitchFamily="34" charset="0"/>
            </a:endParaRPr>
          </a:p>
        </p:txBody>
      </p:sp>
      <p:sp>
        <p:nvSpPr>
          <p:cNvPr id="5" name="ZoneTexte 33">
            <a:extLst>
              <a:ext uri="{FF2B5EF4-FFF2-40B4-BE49-F238E27FC236}">
                <a16:creationId xmlns:a16="http://schemas.microsoft.com/office/drawing/2014/main" id="{BC7A01D8-0453-F774-5B9F-6806329D22D7}"/>
              </a:ext>
            </a:extLst>
          </p:cNvPr>
          <p:cNvSpPr txBox="1"/>
          <p:nvPr/>
        </p:nvSpPr>
        <p:spPr>
          <a:xfrm>
            <a:off x="774993" y="5456707"/>
            <a:ext cx="2240225" cy="327462"/>
          </a:xfrm>
          <a:prstGeom prst="rect">
            <a:avLst/>
          </a:prstGeom>
          <a:noFill/>
        </p:spPr>
        <p:txBody>
          <a:bodyPr wrap="square" rtlCol="0">
            <a:spAutoFit/>
          </a:bodyPr>
          <a:lstStyle>
            <a:defPPr>
              <a:defRPr lang="de-DE"/>
            </a:defPPr>
            <a:lvl1pPr algn="ctr" rtl="0" fontAlgn="base">
              <a:lnSpc>
                <a:spcPct val="115000"/>
              </a:lnSpc>
              <a:spcBef>
                <a:spcPct val="0"/>
              </a:spcBef>
              <a:spcAft>
                <a:spcPct val="0"/>
              </a:spcAft>
              <a:defRPr sz="1600" kern="1200">
                <a:solidFill>
                  <a:schemeClr val="tx1"/>
                </a:solidFill>
                <a:latin typeface="Arial" pitchFamily="34" charset="0"/>
                <a:ea typeface="+mn-ea"/>
                <a:cs typeface="Arial" pitchFamily="34" charset="0"/>
              </a:defRPr>
            </a:lvl1pPr>
            <a:lvl2pPr marL="487847" algn="ctr" rtl="0" fontAlgn="base">
              <a:lnSpc>
                <a:spcPct val="115000"/>
              </a:lnSpc>
              <a:spcBef>
                <a:spcPct val="0"/>
              </a:spcBef>
              <a:spcAft>
                <a:spcPct val="0"/>
              </a:spcAft>
              <a:defRPr sz="1600" kern="1200">
                <a:solidFill>
                  <a:schemeClr val="tx1"/>
                </a:solidFill>
                <a:latin typeface="Arial" pitchFamily="34" charset="0"/>
                <a:ea typeface="+mn-ea"/>
                <a:cs typeface="Arial" pitchFamily="34" charset="0"/>
              </a:defRPr>
            </a:lvl2pPr>
            <a:lvl3pPr marL="975694" algn="ctr" rtl="0" fontAlgn="base">
              <a:lnSpc>
                <a:spcPct val="115000"/>
              </a:lnSpc>
              <a:spcBef>
                <a:spcPct val="0"/>
              </a:spcBef>
              <a:spcAft>
                <a:spcPct val="0"/>
              </a:spcAft>
              <a:defRPr sz="1600" kern="1200">
                <a:solidFill>
                  <a:schemeClr val="tx1"/>
                </a:solidFill>
                <a:latin typeface="Arial" pitchFamily="34" charset="0"/>
                <a:ea typeface="+mn-ea"/>
                <a:cs typeface="Arial" pitchFamily="34" charset="0"/>
              </a:defRPr>
            </a:lvl3pPr>
            <a:lvl4pPr marL="1463543" algn="ctr" rtl="0" fontAlgn="base">
              <a:lnSpc>
                <a:spcPct val="115000"/>
              </a:lnSpc>
              <a:spcBef>
                <a:spcPct val="0"/>
              </a:spcBef>
              <a:spcAft>
                <a:spcPct val="0"/>
              </a:spcAft>
              <a:defRPr sz="1600" kern="1200">
                <a:solidFill>
                  <a:schemeClr val="tx1"/>
                </a:solidFill>
                <a:latin typeface="Arial" pitchFamily="34" charset="0"/>
                <a:ea typeface="+mn-ea"/>
                <a:cs typeface="Arial" pitchFamily="34" charset="0"/>
              </a:defRPr>
            </a:lvl4pPr>
            <a:lvl5pPr marL="1951390" algn="ctr" rtl="0" fontAlgn="base">
              <a:lnSpc>
                <a:spcPct val="115000"/>
              </a:lnSpc>
              <a:spcBef>
                <a:spcPct val="0"/>
              </a:spcBef>
              <a:spcAft>
                <a:spcPct val="0"/>
              </a:spcAft>
              <a:defRPr sz="1600" kern="1200">
                <a:solidFill>
                  <a:schemeClr val="tx1"/>
                </a:solidFill>
                <a:latin typeface="Arial" pitchFamily="34" charset="0"/>
                <a:ea typeface="+mn-ea"/>
                <a:cs typeface="Arial" pitchFamily="34" charset="0"/>
              </a:defRPr>
            </a:lvl5pPr>
            <a:lvl6pPr marL="2439237" algn="l" defTabSz="975694" rtl="0" eaLnBrk="1" latinLnBrk="0" hangingPunct="1">
              <a:defRPr sz="1600" kern="1200">
                <a:solidFill>
                  <a:schemeClr val="tx1"/>
                </a:solidFill>
                <a:latin typeface="Arial" pitchFamily="34" charset="0"/>
                <a:ea typeface="+mn-ea"/>
                <a:cs typeface="Arial" pitchFamily="34" charset="0"/>
              </a:defRPr>
            </a:lvl6pPr>
            <a:lvl7pPr marL="2927086" algn="l" defTabSz="975694" rtl="0" eaLnBrk="1" latinLnBrk="0" hangingPunct="1">
              <a:defRPr sz="1600" kern="1200">
                <a:solidFill>
                  <a:schemeClr val="tx1"/>
                </a:solidFill>
                <a:latin typeface="Arial" pitchFamily="34" charset="0"/>
                <a:ea typeface="+mn-ea"/>
                <a:cs typeface="Arial" pitchFamily="34" charset="0"/>
              </a:defRPr>
            </a:lvl7pPr>
            <a:lvl8pPr marL="3414934" algn="l" defTabSz="975694" rtl="0" eaLnBrk="1" latinLnBrk="0" hangingPunct="1">
              <a:defRPr sz="1600" kern="1200">
                <a:solidFill>
                  <a:schemeClr val="tx1"/>
                </a:solidFill>
                <a:latin typeface="Arial" pitchFamily="34" charset="0"/>
                <a:ea typeface="+mn-ea"/>
                <a:cs typeface="Arial" pitchFamily="34" charset="0"/>
              </a:defRPr>
            </a:lvl8pPr>
            <a:lvl9pPr marL="3902781" algn="l" defTabSz="975694" rtl="0" eaLnBrk="1" latinLnBrk="0" hangingPunct="1">
              <a:defRPr sz="1600" kern="1200">
                <a:solidFill>
                  <a:schemeClr val="tx1"/>
                </a:solidFill>
                <a:latin typeface="Arial" pitchFamily="34" charset="0"/>
                <a:ea typeface="+mn-ea"/>
                <a:cs typeface="Arial" pitchFamily="34" charset="0"/>
              </a:defRPr>
            </a:lvl9pPr>
          </a:lstStyle>
          <a:p>
            <a:pPr defTabSz="829727">
              <a:defRPr/>
            </a:pPr>
            <a:r>
              <a:rPr lang="en-US" sz="1452" b="1">
                <a:solidFill>
                  <a:schemeClr val="accent1">
                    <a:lumMod val="75000"/>
                  </a:schemeClr>
                </a:solidFill>
              </a:rPr>
              <a:t>4G &amp; Before </a:t>
            </a:r>
          </a:p>
        </p:txBody>
      </p:sp>
      <p:sp>
        <p:nvSpPr>
          <p:cNvPr id="6" name="ZoneTexte 23">
            <a:extLst>
              <a:ext uri="{FF2B5EF4-FFF2-40B4-BE49-F238E27FC236}">
                <a16:creationId xmlns:a16="http://schemas.microsoft.com/office/drawing/2014/main" id="{D02812DE-2A38-1D67-2C42-2EB914AA6DA3}"/>
              </a:ext>
            </a:extLst>
          </p:cNvPr>
          <p:cNvSpPr txBox="1"/>
          <p:nvPr/>
        </p:nvSpPr>
        <p:spPr>
          <a:xfrm>
            <a:off x="4037321" y="5456707"/>
            <a:ext cx="2955200" cy="327462"/>
          </a:xfrm>
          <a:prstGeom prst="rect">
            <a:avLst/>
          </a:prstGeom>
          <a:noFill/>
        </p:spPr>
        <p:txBody>
          <a:bodyPr wrap="square" rtlCol="0">
            <a:spAutoFit/>
          </a:bodyPr>
          <a:lstStyle>
            <a:defPPr>
              <a:defRPr lang="de-DE"/>
            </a:defPPr>
            <a:lvl1pPr algn="ctr" rtl="0" fontAlgn="base">
              <a:lnSpc>
                <a:spcPct val="115000"/>
              </a:lnSpc>
              <a:spcBef>
                <a:spcPct val="0"/>
              </a:spcBef>
              <a:spcAft>
                <a:spcPct val="0"/>
              </a:spcAft>
              <a:defRPr sz="1600" kern="1200">
                <a:solidFill>
                  <a:schemeClr val="tx1"/>
                </a:solidFill>
                <a:latin typeface="Arial" pitchFamily="34" charset="0"/>
                <a:ea typeface="+mn-ea"/>
                <a:cs typeface="Arial" pitchFamily="34" charset="0"/>
              </a:defRPr>
            </a:lvl1pPr>
            <a:lvl2pPr marL="487847" algn="ctr" rtl="0" fontAlgn="base">
              <a:lnSpc>
                <a:spcPct val="115000"/>
              </a:lnSpc>
              <a:spcBef>
                <a:spcPct val="0"/>
              </a:spcBef>
              <a:spcAft>
                <a:spcPct val="0"/>
              </a:spcAft>
              <a:defRPr sz="1600" kern="1200">
                <a:solidFill>
                  <a:schemeClr val="tx1"/>
                </a:solidFill>
                <a:latin typeface="Arial" pitchFamily="34" charset="0"/>
                <a:ea typeface="+mn-ea"/>
                <a:cs typeface="Arial" pitchFamily="34" charset="0"/>
              </a:defRPr>
            </a:lvl2pPr>
            <a:lvl3pPr marL="975694" algn="ctr" rtl="0" fontAlgn="base">
              <a:lnSpc>
                <a:spcPct val="115000"/>
              </a:lnSpc>
              <a:spcBef>
                <a:spcPct val="0"/>
              </a:spcBef>
              <a:spcAft>
                <a:spcPct val="0"/>
              </a:spcAft>
              <a:defRPr sz="1600" kern="1200">
                <a:solidFill>
                  <a:schemeClr val="tx1"/>
                </a:solidFill>
                <a:latin typeface="Arial" pitchFamily="34" charset="0"/>
                <a:ea typeface="+mn-ea"/>
                <a:cs typeface="Arial" pitchFamily="34" charset="0"/>
              </a:defRPr>
            </a:lvl3pPr>
            <a:lvl4pPr marL="1463543" algn="ctr" rtl="0" fontAlgn="base">
              <a:lnSpc>
                <a:spcPct val="115000"/>
              </a:lnSpc>
              <a:spcBef>
                <a:spcPct val="0"/>
              </a:spcBef>
              <a:spcAft>
                <a:spcPct val="0"/>
              </a:spcAft>
              <a:defRPr sz="1600" kern="1200">
                <a:solidFill>
                  <a:schemeClr val="tx1"/>
                </a:solidFill>
                <a:latin typeface="Arial" pitchFamily="34" charset="0"/>
                <a:ea typeface="+mn-ea"/>
                <a:cs typeface="Arial" pitchFamily="34" charset="0"/>
              </a:defRPr>
            </a:lvl4pPr>
            <a:lvl5pPr marL="1951390" algn="ctr" rtl="0" fontAlgn="base">
              <a:lnSpc>
                <a:spcPct val="115000"/>
              </a:lnSpc>
              <a:spcBef>
                <a:spcPct val="0"/>
              </a:spcBef>
              <a:spcAft>
                <a:spcPct val="0"/>
              </a:spcAft>
              <a:defRPr sz="1600" kern="1200">
                <a:solidFill>
                  <a:schemeClr val="tx1"/>
                </a:solidFill>
                <a:latin typeface="Arial" pitchFamily="34" charset="0"/>
                <a:ea typeface="+mn-ea"/>
                <a:cs typeface="Arial" pitchFamily="34" charset="0"/>
              </a:defRPr>
            </a:lvl5pPr>
            <a:lvl6pPr marL="2439237" algn="l" defTabSz="975694" rtl="0" eaLnBrk="1" latinLnBrk="0" hangingPunct="1">
              <a:defRPr sz="1600" kern="1200">
                <a:solidFill>
                  <a:schemeClr val="tx1"/>
                </a:solidFill>
                <a:latin typeface="Arial" pitchFamily="34" charset="0"/>
                <a:ea typeface="+mn-ea"/>
                <a:cs typeface="Arial" pitchFamily="34" charset="0"/>
              </a:defRPr>
            </a:lvl6pPr>
            <a:lvl7pPr marL="2927086" algn="l" defTabSz="975694" rtl="0" eaLnBrk="1" latinLnBrk="0" hangingPunct="1">
              <a:defRPr sz="1600" kern="1200">
                <a:solidFill>
                  <a:schemeClr val="tx1"/>
                </a:solidFill>
                <a:latin typeface="Arial" pitchFamily="34" charset="0"/>
                <a:ea typeface="+mn-ea"/>
                <a:cs typeface="Arial" pitchFamily="34" charset="0"/>
              </a:defRPr>
            </a:lvl7pPr>
            <a:lvl8pPr marL="3414934" algn="l" defTabSz="975694" rtl="0" eaLnBrk="1" latinLnBrk="0" hangingPunct="1">
              <a:defRPr sz="1600" kern="1200">
                <a:solidFill>
                  <a:schemeClr val="tx1"/>
                </a:solidFill>
                <a:latin typeface="Arial" pitchFamily="34" charset="0"/>
                <a:ea typeface="+mn-ea"/>
                <a:cs typeface="Arial" pitchFamily="34" charset="0"/>
              </a:defRPr>
            </a:lvl8pPr>
            <a:lvl9pPr marL="3902781" algn="l" defTabSz="975694" rtl="0" eaLnBrk="1" latinLnBrk="0" hangingPunct="1">
              <a:defRPr sz="1600" kern="1200">
                <a:solidFill>
                  <a:schemeClr val="tx1"/>
                </a:solidFill>
                <a:latin typeface="Arial" pitchFamily="34" charset="0"/>
                <a:ea typeface="+mn-ea"/>
                <a:cs typeface="Arial" pitchFamily="34" charset="0"/>
              </a:defRPr>
            </a:lvl9pPr>
          </a:lstStyle>
          <a:p>
            <a:pPr defTabSz="829727">
              <a:defRPr/>
            </a:pPr>
            <a:r>
              <a:rPr lang="en-US" sz="1452" b="1">
                <a:solidFill>
                  <a:schemeClr val="accent1">
                    <a:lumMod val="75000"/>
                  </a:schemeClr>
                </a:solidFill>
              </a:rPr>
              <a:t>5G &amp; B5G</a:t>
            </a:r>
          </a:p>
        </p:txBody>
      </p:sp>
      <p:sp>
        <p:nvSpPr>
          <p:cNvPr id="7" name="ZoneTexte 34">
            <a:extLst>
              <a:ext uri="{FF2B5EF4-FFF2-40B4-BE49-F238E27FC236}">
                <a16:creationId xmlns:a16="http://schemas.microsoft.com/office/drawing/2014/main" id="{E99C0065-2D4B-F11F-453E-2C26EF3B286C}"/>
              </a:ext>
            </a:extLst>
          </p:cNvPr>
          <p:cNvSpPr txBox="1"/>
          <p:nvPr/>
        </p:nvSpPr>
        <p:spPr>
          <a:xfrm>
            <a:off x="8014630" y="5442056"/>
            <a:ext cx="2286957" cy="356764"/>
          </a:xfrm>
          <a:prstGeom prst="rect">
            <a:avLst/>
          </a:prstGeom>
          <a:noFill/>
        </p:spPr>
        <p:txBody>
          <a:bodyPr wrap="square" rtlCol="0">
            <a:spAutoFit/>
          </a:bodyPr>
          <a:lstStyle>
            <a:defPPr>
              <a:defRPr lang="de-DE"/>
            </a:defPPr>
            <a:lvl1pPr algn="ctr" rtl="0" fontAlgn="base">
              <a:lnSpc>
                <a:spcPct val="115000"/>
              </a:lnSpc>
              <a:spcBef>
                <a:spcPct val="0"/>
              </a:spcBef>
              <a:spcAft>
                <a:spcPct val="0"/>
              </a:spcAft>
              <a:defRPr sz="1600" kern="1200">
                <a:solidFill>
                  <a:schemeClr val="tx1"/>
                </a:solidFill>
                <a:latin typeface="Arial" pitchFamily="34" charset="0"/>
                <a:ea typeface="+mn-ea"/>
                <a:cs typeface="Arial" pitchFamily="34" charset="0"/>
              </a:defRPr>
            </a:lvl1pPr>
            <a:lvl2pPr marL="487847" algn="ctr" rtl="0" fontAlgn="base">
              <a:lnSpc>
                <a:spcPct val="115000"/>
              </a:lnSpc>
              <a:spcBef>
                <a:spcPct val="0"/>
              </a:spcBef>
              <a:spcAft>
                <a:spcPct val="0"/>
              </a:spcAft>
              <a:defRPr sz="1600" kern="1200">
                <a:solidFill>
                  <a:schemeClr val="tx1"/>
                </a:solidFill>
                <a:latin typeface="Arial" pitchFamily="34" charset="0"/>
                <a:ea typeface="+mn-ea"/>
                <a:cs typeface="Arial" pitchFamily="34" charset="0"/>
              </a:defRPr>
            </a:lvl2pPr>
            <a:lvl3pPr marL="975694" algn="ctr" rtl="0" fontAlgn="base">
              <a:lnSpc>
                <a:spcPct val="115000"/>
              </a:lnSpc>
              <a:spcBef>
                <a:spcPct val="0"/>
              </a:spcBef>
              <a:spcAft>
                <a:spcPct val="0"/>
              </a:spcAft>
              <a:defRPr sz="1600" kern="1200">
                <a:solidFill>
                  <a:schemeClr val="tx1"/>
                </a:solidFill>
                <a:latin typeface="Arial" pitchFamily="34" charset="0"/>
                <a:ea typeface="+mn-ea"/>
                <a:cs typeface="Arial" pitchFamily="34" charset="0"/>
              </a:defRPr>
            </a:lvl3pPr>
            <a:lvl4pPr marL="1463543" algn="ctr" rtl="0" fontAlgn="base">
              <a:lnSpc>
                <a:spcPct val="115000"/>
              </a:lnSpc>
              <a:spcBef>
                <a:spcPct val="0"/>
              </a:spcBef>
              <a:spcAft>
                <a:spcPct val="0"/>
              </a:spcAft>
              <a:defRPr sz="1600" kern="1200">
                <a:solidFill>
                  <a:schemeClr val="tx1"/>
                </a:solidFill>
                <a:latin typeface="Arial" pitchFamily="34" charset="0"/>
                <a:ea typeface="+mn-ea"/>
                <a:cs typeface="Arial" pitchFamily="34" charset="0"/>
              </a:defRPr>
            </a:lvl4pPr>
            <a:lvl5pPr marL="1951390" algn="ctr" rtl="0" fontAlgn="base">
              <a:lnSpc>
                <a:spcPct val="115000"/>
              </a:lnSpc>
              <a:spcBef>
                <a:spcPct val="0"/>
              </a:spcBef>
              <a:spcAft>
                <a:spcPct val="0"/>
              </a:spcAft>
              <a:defRPr sz="1600" kern="1200">
                <a:solidFill>
                  <a:schemeClr val="tx1"/>
                </a:solidFill>
                <a:latin typeface="Arial" pitchFamily="34" charset="0"/>
                <a:ea typeface="+mn-ea"/>
                <a:cs typeface="Arial" pitchFamily="34" charset="0"/>
              </a:defRPr>
            </a:lvl5pPr>
            <a:lvl6pPr marL="2439237" algn="l" defTabSz="975694" rtl="0" eaLnBrk="1" latinLnBrk="0" hangingPunct="1">
              <a:defRPr sz="1600" kern="1200">
                <a:solidFill>
                  <a:schemeClr val="tx1"/>
                </a:solidFill>
                <a:latin typeface="Arial" pitchFamily="34" charset="0"/>
                <a:ea typeface="+mn-ea"/>
                <a:cs typeface="Arial" pitchFamily="34" charset="0"/>
              </a:defRPr>
            </a:lvl6pPr>
            <a:lvl7pPr marL="2927086" algn="l" defTabSz="975694" rtl="0" eaLnBrk="1" latinLnBrk="0" hangingPunct="1">
              <a:defRPr sz="1600" kern="1200">
                <a:solidFill>
                  <a:schemeClr val="tx1"/>
                </a:solidFill>
                <a:latin typeface="Arial" pitchFamily="34" charset="0"/>
                <a:ea typeface="+mn-ea"/>
                <a:cs typeface="Arial" pitchFamily="34" charset="0"/>
              </a:defRPr>
            </a:lvl7pPr>
            <a:lvl8pPr marL="3414934" algn="l" defTabSz="975694" rtl="0" eaLnBrk="1" latinLnBrk="0" hangingPunct="1">
              <a:defRPr sz="1600" kern="1200">
                <a:solidFill>
                  <a:schemeClr val="tx1"/>
                </a:solidFill>
                <a:latin typeface="Arial" pitchFamily="34" charset="0"/>
                <a:ea typeface="+mn-ea"/>
                <a:cs typeface="Arial" pitchFamily="34" charset="0"/>
              </a:defRPr>
            </a:lvl8pPr>
            <a:lvl9pPr marL="3902781" algn="l" defTabSz="975694" rtl="0" eaLnBrk="1" latinLnBrk="0" hangingPunct="1">
              <a:defRPr sz="1600" kern="1200">
                <a:solidFill>
                  <a:schemeClr val="tx1"/>
                </a:solidFill>
                <a:latin typeface="Arial" pitchFamily="34" charset="0"/>
                <a:ea typeface="+mn-ea"/>
                <a:cs typeface="Arial" pitchFamily="34" charset="0"/>
              </a:defRPr>
            </a:lvl9pPr>
          </a:lstStyle>
          <a:p>
            <a:pPr defTabSz="829727">
              <a:defRPr/>
            </a:pPr>
            <a:r>
              <a:rPr lang="en-US" sz="1633" b="1">
                <a:solidFill>
                  <a:schemeClr val="accent1">
                    <a:lumMod val="75000"/>
                  </a:schemeClr>
                </a:solidFill>
              </a:rPr>
              <a:t>6G &amp; beyond</a:t>
            </a:r>
          </a:p>
        </p:txBody>
      </p:sp>
    </p:spTree>
    <p:extLst>
      <p:ext uri="{BB962C8B-B14F-4D97-AF65-F5344CB8AC3E}">
        <p14:creationId xmlns:p14="http://schemas.microsoft.com/office/powerpoint/2010/main" val="4096211898"/>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F37D34-2907-4CEF-B5C0-76F80398E4A7}"/>
              </a:ext>
            </a:extLst>
          </p:cNvPr>
          <p:cNvSpPr>
            <a:spLocks noGrp="1"/>
          </p:cNvSpPr>
          <p:nvPr>
            <p:ph type="title"/>
          </p:nvPr>
        </p:nvSpPr>
        <p:spPr/>
        <p:txBody>
          <a:bodyPr/>
          <a:lstStyle/>
          <a:p>
            <a:r>
              <a:rPr lang="en-US">
                <a:ea typeface="Calibri Light"/>
                <a:cs typeface="Calibri Light"/>
              </a:rPr>
              <a:t>Physical Challenges for 3D Networks</a:t>
            </a:r>
            <a:endParaRPr lang="en-US"/>
          </a:p>
        </p:txBody>
      </p:sp>
      <p:sp>
        <p:nvSpPr>
          <p:cNvPr id="3" name="Textplatzhalter 2">
            <a:extLst>
              <a:ext uri="{FF2B5EF4-FFF2-40B4-BE49-F238E27FC236}">
                <a16:creationId xmlns:a16="http://schemas.microsoft.com/office/drawing/2014/main" id="{24A987B4-8126-4C6A-9ECA-CBE476367B4B}"/>
              </a:ext>
            </a:extLst>
          </p:cNvPr>
          <p:cNvSpPr>
            <a:spLocks noGrp="1"/>
          </p:cNvSpPr>
          <p:nvPr>
            <p:ph type="body" sz="quarter" idx="13"/>
          </p:nvPr>
        </p:nvSpPr>
        <p:spPr/>
        <p:txBody>
          <a:bodyPr>
            <a:normAutofit fontScale="92500" lnSpcReduction="10000"/>
          </a:bodyPr>
          <a:lstStyle/>
          <a:p>
            <a:r>
              <a:rPr lang="en-US"/>
              <a:t>Latency and low data throughput</a:t>
            </a:r>
          </a:p>
        </p:txBody>
      </p:sp>
      <p:sp>
        <p:nvSpPr>
          <p:cNvPr id="5" name="Textplatzhalter 4">
            <a:extLst>
              <a:ext uri="{FF2B5EF4-FFF2-40B4-BE49-F238E27FC236}">
                <a16:creationId xmlns:a16="http://schemas.microsoft.com/office/drawing/2014/main" id="{6A2776D3-E035-4D67-8166-CB3F8F2F7BE1}"/>
              </a:ext>
            </a:extLst>
          </p:cNvPr>
          <p:cNvSpPr>
            <a:spLocks noGrp="1"/>
          </p:cNvSpPr>
          <p:nvPr>
            <p:ph type="body" sz="quarter" idx="15"/>
          </p:nvPr>
        </p:nvSpPr>
        <p:spPr/>
        <p:txBody>
          <a:bodyPr>
            <a:normAutofit fontScale="92500" lnSpcReduction="10000"/>
          </a:bodyPr>
          <a:lstStyle/>
          <a:p>
            <a:r>
              <a:rPr lang="en-US"/>
              <a:t>Harsh space environment</a:t>
            </a:r>
          </a:p>
        </p:txBody>
      </p:sp>
      <p:sp>
        <p:nvSpPr>
          <p:cNvPr id="7" name="Textplatzhalter 6">
            <a:extLst>
              <a:ext uri="{FF2B5EF4-FFF2-40B4-BE49-F238E27FC236}">
                <a16:creationId xmlns:a16="http://schemas.microsoft.com/office/drawing/2014/main" id="{22FE73DD-8DEC-4C0D-80AE-75316F5E2052}"/>
              </a:ext>
            </a:extLst>
          </p:cNvPr>
          <p:cNvSpPr>
            <a:spLocks noGrp="1"/>
          </p:cNvSpPr>
          <p:nvPr>
            <p:ph type="body" sz="quarter" idx="17"/>
          </p:nvPr>
        </p:nvSpPr>
        <p:spPr/>
        <p:txBody>
          <a:bodyPr>
            <a:normAutofit fontScale="92500" lnSpcReduction="10000"/>
          </a:bodyPr>
          <a:lstStyle/>
          <a:p>
            <a:r>
              <a:rPr lang="en-US"/>
              <a:t>Power Generation and Storage</a:t>
            </a:r>
          </a:p>
        </p:txBody>
      </p:sp>
      <p:sp>
        <p:nvSpPr>
          <p:cNvPr id="9" name="Textplatzhalter 8">
            <a:extLst>
              <a:ext uri="{FF2B5EF4-FFF2-40B4-BE49-F238E27FC236}">
                <a16:creationId xmlns:a16="http://schemas.microsoft.com/office/drawing/2014/main" id="{555721A3-B5F3-48DA-A706-93023FAEB371}"/>
              </a:ext>
            </a:extLst>
          </p:cNvPr>
          <p:cNvSpPr>
            <a:spLocks noGrp="1"/>
          </p:cNvSpPr>
          <p:nvPr>
            <p:ph type="body" sz="quarter" idx="19"/>
          </p:nvPr>
        </p:nvSpPr>
        <p:spPr/>
        <p:txBody>
          <a:bodyPr>
            <a:normAutofit fontScale="92500" lnSpcReduction="10000"/>
          </a:bodyPr>
          <a:lstStyle/>
          <a:p>
            <a:r>
              <a:rPr lang="en-US"/>
              <a:t>Crowded satellite spectrum</a:t>
            </a:r>
          </a:p>
        </p:txBody>
      </p:sp>
      <p:pic>
        <p:nvPicPr>
          <p:cNvPr id="29" name="Picture 28" descr="A light in the sky&#10;&#10;AI-generated content may be incorrect.">
            <a:extLst>
              <a:ext uri="{FF2B5EF4-FFF2-40B4-BE49-F238E27FC236}">
                <a16:creationId xmlns:a16="http://schemas.microsoft.com/office/drawing/2014/main" id="{84418582-92A9-B8D9-99C3-CD3ACD770F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0538" y="3772933"/>
            <a:ext cx="4427925" cy="2062849"/>
          </a:xfrm>
          <a:prstGeom prst="rect">
            <a:avLst/>
          </a:prstGeom>
        </p:spPr>
      </p:pic>
      <p:pic>
        <p:nvPicPr>
          <p:cNvPr id="39" name="Picture 38" descr="A graph of blue lines and dots&#10;&#10;AI-generated content may be incorrect.">
            <a:extLst>
              <a:ext uri="{FF2B5EF4-FFF2-40B4-BE49-F238E27FC236}">
                <a16:creationId xmlns:a16="http://schemas.microsoft.com/office/drawing/2014/main" id="{CD4D448C-02BF-1EDC-7BDC-30417078BAAF}"/>
              </a:ext>
            </a:extLst>
          </p:cNvPr>
          <p:cNvPicPr>
            <a:picLocks noChangeAspect="1"/>
          </p:cNvPicPr>
          <p:nvPr/>
        </p:nvPicPr>
        <p:blipFill>
          <a:blip r:embed="rId4">
            <a:extLst>
              <a:ext uri="{28A0092B-C50C-407E-A947-70E740481C1C}">
                <a14:useLocalDpi xmlns:a14="http://schemas.microsoft.com/office/drawing/2010/main" val="0"/>
              </a:ext>
            </a:extLst>
          </a:blip>
          <a:srcRect t="7238" b="10031"/>
          <a:stretch/>
        </p:blipFill>
        <p:spPr>
          <a:xfrm>
            <a:off x="6039617" y="3786725"/>
            <a:ext cx="4427924" cy="2058959"/>
          </a:xfrm>
          <a:prstGeom prst="rect">
            <a:avLst/>
          </a:prstGeom>
        </p:spPr>
      </p:pic>
      <p:pic>
        <p:nvPicPr>
          <p:cNvPr id="22" name="Picture Placeholder 21">
            <a:extLst>
              <a:ext uri="{FF2B5EF4-FFF2-40B4-BE49-F238E27FC236}">
                <a16:creationId xmlns:a16="http://schemas.microsoft.com/office/drawing/2014/main" id="{B15019FF-6743-AC9C-36FD-076F6E371BF3}"/>
              </a:ext>
            </a:extLst>
          </p:cNvPr>
          <p:cNvPicPr>
            <a:picLocks noGrp="1" noChangeAspect="1"/>
          </p:cNvPicPr>
          <p:nvPr>
            <p:ph type="pic" sz="quarter" idx="14"/>
          </p:nvPr>
        </p:nvPicPr>
        <p:blipFill>
          <a:blip r:embed="rId5"/>
          <a:srcRect t="11322" b="11322"/>
          <a:stretch/>
        </p:blipFill>
        <p:spPr>
          <a:xfrm>
            <a:off x="509172" y="1413327"/>
            <a:ext cx="4400892" cy="2062849"/>
          </a:xfrm>
        </p:spPr>
      </p:pic>
      <p:pic>
        <p:nvPicPr>
          <p:cNvPr id="23" name="Picture Placeholder 22" descr="A satellite in space above a planet&#10;&#10;AI-generated content may be incorrect.">
            <a:extLst>
              <a:ext uri="{FF2B5EF4-FFF2-40B4-BE49-F238E27FC236}">
                <a16:creationId xmlns:a16="http://schemas.microsoft.com/office/drawing/2014/main" id="{14F957D9-3D49-742F-8246-C26C2711BC1B}"/>
              </a:ext>
            </a:extLst>
          </p:cNvPr>
          <p:cNvPicPr>
            <a:picLocks noGrp="1" noChangeAspect="1"/>
          </p:cNvPicPr>
          <p:nvPr>
            <p:ph type="pic" sz="quarter" idx="18"/>
          </p:nvPr>
        </p:nvPicPr>
        <p:blipFill>
          <a:blip r:embed="rId6"/>
          <a:srcRect t="8471" b="8471"/>
          <a:stretch/>
        </p:blipFill>
        <p:spPr>
          <a:xfrm>
            <a:off x="6043030" y="1413327"/>
            <a:ext cx="4421173" cy="2062849"/>
          </a:xfrm>
        </p:spPr>
      </p:pic>
    </p:spTree>
    <p:extLst>
      <p:ext uri="{BB962C8B-B14F-4D97-AF65-F5344CB8AC3E}">
        <p14:creationId xmlns:p14="http://schemas.microsoft.com/office/powerpoint/2010/main" val="2673052505"/>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1F264-59A0-F9BA-9798-4C40E2DD34F6}"/>
              </a:ext>
            </a:extLst>
          </p:cNvPr>
          <p:cNvSpPr>
            <a:spLocks noGrp="1"/>
          </p:cNvSpPr>
          <p:nvPr>
            <p:ph type="title"/>
          </p:nvPr>
        </p:nvSpPr>
        <p:spPr/>
        <p:txBody>
          <a:bodyPr/>
          <a:lstStyle/>
          <a:p>
            <a:r>
              <a:rPr lang="en-US">
                <a:ea typeface="Microsoft YaHei"/>
                <a:cs typeface="Arial"/>
              </a:rPr>
              <a:t>Expanding the Internet into Space</a:t>
            </a:r>
            <a:endParaRPr lang="en-US"/>
          </a:p>
        </p:txBody>
      </p:sp>
      <p:sp>
        <p:nvSpPr>
          <p:cNvPr id="3" name="Content Placeholder 2">
            <a:extLst>
              <a:ext uri="{FF2B5EF4-FFF2-40B4-BE49-F238E27FC236}">
                <a16:creationId xmlns:a16="http://schemas.microsoft.com/office/drawing/2014/main" id="{01DC8F7F-EF4A-4149-6294-169080EFC927}"/>
              </a:ext>
            </a:extLst>
          </p:cNvPr>
          <p:cNvSpPr>
            <a:spLocks noGrp="1"/>
          </p:cNvSpPr>
          <p:nvPr>
            <p:ph sz="half" idx="1"/>
          </p:nvPr>
        </p:nvSpPr>
        <p:spPr/>
        <p:txBody>
          <a:bodyPr lIns="0" tIns="0" rIns="0" bIns="0" anchor="t">
            <a:noAutofit/>
          </a:bodyPr>
          <a:lstStyle/>
          <a:p>
            <a:pPr marL="0" indent="0">
              <a:spcBef>
                <a:spcPts val="1800"/>
              </a:spcBef>
              <a:buNone/>
            </a:pPr>
            <a:r>
              <a:rPr lang="en-US" b="1">
                <a:ea typeface="Microsoft YaHei"/>
                <a:cs typeface="Arial"/>
              </a:rPr>
              <a:t>Satellites cross Germany is less than 5 minutes</a:t>
            </a:r>
          </a:p>
          <a:p>
            <a:pPr marL="251460" indent="-251460">
              <a:spcBef>
                <a:spcPts val="1800"/>
              </a:spcBef>
            </a:pPr>
            <a:r>
              <a:rPr lang="en-US">
                <a:ea typeface="Microsoft YaHei"/>
                <a:cs typeface="Arial"/>
              </a:rPr>
              <a:t>High network dynamic requires rapid adaptation of network routes</a:t>
            </a:r>
          </a:p>
          <a:p>
            <a:pPr marL="251460" indent="-251460">
              <a:spcBef>
                <a:spcPts val="1800"/>
              </a:spcBef>
            </a:pPr>
            <a:r>
              <a:rPr lang="en-US">
                <a:ea typeface="Microsoft YaHei"/>
                <a:cs typeface="Arial"/>
              </a:rPr>
              <a:t>Approach: Virtualization allows to separate network functionality from satellites</a:t>
            </a:r>
          </a:p>
          <a:p>
            <a:pPr marL="445548" lvl="1" indent="-251460">
              <a:spcBef>
                <a:spcPts val="1800"/>
              </a:spcBef>
            </a:pPr>
            <a:r>
              <a:rPr lang="en-US">
                <a:ea typeface="Microsoft YaHei"/>
                <a:cs typeface="Arial"/>
              </a:rPr>
              <a:t>Virtual network functionality practically stationary</a:t>
            </a:r>
          </a:p>
          <a:p>
            <a:pPr marL="445548" lvl="1" indent="-251460">
              <a:spcBef>
                <a:spcPts val="1800"/>
              </a:spcBef>
            </a:pPr>
            <a:r>
              <a:rPr lang="en-US">
                <a:ea typeface="Microsoft YaHei"/>
                <a:cs typeface="Arial"/>
              </a:rPr>
              <a:t>Relocation of base stations on satellites as virtual machines preserving transport network connections for 3GPP interfaces</a:t>
            </a:r>
          </a:p>
        </p:txBody>
      </p:sp>
      <p:pic>
        <p:nvPicPr>
          <p:cNvPr id="5" name="Picture 7">
            <a:extLst>
              <a:ext uri="{FF2B5EF4-FFF2-40B4-BE49-F238E27FC236}">
                <a16:creationId xmlns:a16="http://schemas.microsoft.com/office/drawing/2014/main" id="{5F289EE8-2A54-E197-A45E-C2AA9FC6B8E3}"/>
              </a:ext>
            </a:extLst>
          </p:cNvPr>
          <p:cNvPicPr>
            <a:picLocks noChangeAspect="1"/>
          </p:cNvPicPr>
          <p:nvPr/>
        </p:nvPicPr>
        <p:blipFill>
          <a:blip r:embed="rId3">
            <a:extLst>
              <a:ext uri="{28A0092B-C50C-407E-A947-70E740481C1C}">
                <a14:useLocalDpi xmlns:a14="http://schemas.microsoft.com/office/drawing/2010/main" val="0"/>
              </a:ext>
            </a:extLst>
          </a:blip>
          <a:srcRect l="3584" r="3584"/>
          <a:stretch/>
        </p:blipFill>
        <p:spPr>
          <a:xfrm>
            <a:off x="5705358" y="1520442"/>
            <a:ext cx="4971617" cy="3362845"/>
          </a:xfrm>
          <a:prstGeom prst="rect">
            <a:avLst/>
          </a:prstGeom>
          <a:ln>
            <a:noFill/>
          </a:ln>
        </p:spPr>
      </p:pic>
    </p:spTree>
    <p:extLst>
      <p:ext uri="{BB962C8B-B14F-4D97-AF65-F5344CB8AC3E}">
        <p14:creationId xmlns:p14="http://schemas.microsoft.com/office/powerpoint/2010/main" val="1092017827"/>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1F3F7C-A2FC-6AAA-8E03-910C4A7B23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67FF8C-9AC0-1A9C-8242-AD7D6EBAC22B}"/>
              </a:ext>
            </a:extLst>
          </p:cNvPr>
          <p:cNvSpPr>
            <a:spLocks noGrp="1"/>
          </p:cNvSpPr>
          <p:nvPr>
            <p:ph type="title"/>
          </p:nvPr>
        </p:nvSpPr>
        <p:spPr/>
        <p:txBody>
          <a:bodyPr/>
          <a:lstStyle/>
          <a:p>
            <a:r>
              <a:rPr lang="en-US">
                <a:ea typeface="Microsoft YaHei"/>
                <a:cs typeface="Arial"/>
              </a:rPr>
              <a:t>3D Network</a:t>
            </a:r>
            <a:endParaRPr lang="en-US"/>
          </a:p>
        </p:txBody>
      </p:sp>
      <p:grpSp>
        <p:nvGrpSpPr>
          <p:cNvPr id="21" name="Group 20">
            <a:extLst>
              <a:ext uri="{FF2B5EF4-FFF2-40B4-BE49-F238E27FC236}">
                <a16:creationId xmlns:a16="http://schemas.microsoft.com/office/drawing/2014/main" id="{41B809CC-7EE4-6822-D049-5EE583B1026F}"/>
              </a:ext>
            </a:extLst>
          </p:cNvPr>
          <p:cNvGrpSpPr/>
          <p:nvPr/>
        </p:nvGrpSpPr>
        <p:grpSpPr>
          <a:xfrm>
            <a:off x="9008484" y="4424393"/>
            <a:ext cx="363940" cy="581068"/>
            <a:chOff x="8397385" y="4381221"/>
            <a:chExt cx="363940" cy="581068"/>
          </a:xfrm>
        </p:grpSpPr>
        <p:pic>
          <p:nvPicPr>
            <p:cNvPr id="9" name="Grafik 72">
              <a:extLst>
                <a:ext uri="{FF2B5EF4-FFF2-40B4-BE49-F238E27FC236}">
                  <a16:creationId xmlns:a16="http://schemas.microsoft.com/office/drawing/2014/main" id="{61E57458-4F77-33CB-83D9-D38BBEB6B4FC}"/>
                </a:ext>
              </a:extLst>
            </p:cNvPr>
            <p:cNvPicPr>
              <a:picLocks noChangeAspect="1"/>
            </p:cNvPicPr>
            <p:nvPr/>
          </p:nvPicPr>
          <p:blipFill rotWithShape="1">
            <a:blip r:embed="rId3" cstate="print">
              <a:duotone>
                <a:srgbClr val="4472C4">
                  <a:shade val="45000"/>
                  <a:satMod val="135000"/>
                </a:srgbClr>
                <a:prstClr val="white"/>
              </a:duotone>
              <a:extLst>
                <a:ext uri="{28A0092B-C50C-407E-A947-70E740481C1C}">
                  <a14:useLocalDpi xmlns:a14="http://schemas.microsoft.com/office/drawing/2010/main" val="0"/>
                </a:ext>
              </a:extLst>
            </a:blip>
            <a:srcRect l="28161" r="29513"/>
            <a:stretch/>
          </p:blipFill>
          <p:spPr>
            <a:xfrm>
              <a:off x="8397385" y="4381221"/>
              <a:ext cx="363940" cy="581068"/>
            </a:xfrm>
            <a:prstGeom prst="rect">
              <a:avLst/>
            </a:prstGeom>
          </p:spPr>
        </p:pic>
        <p:sp>
          <p:nvSpPr>
            <p:cNvPr id="16" name="TextBox 15">
              <a:extLst>
                <a:ext uri="{FF2B5EF4-FFF2-40B4-BE49-F238E27FC236}">
                  <a16:creationId xmlns:a16="http://schemas.microsoft.com/office/drawing/2014/main" id="{11C3565A-622B-F833-797E-032C893E8B2D}"/>
                </a:ext>
              </a:extLst>
            </p:cNvPr>
            <p:cNvSpPr txBox="1"/>
            <p:nvPr/>
          </p:nvSpPr>
          <p:spPr>
            <a:xfrm>
              <a:off x="8401931" y="4533255"/>
              <a:ext cx="359394" cy="276999"/>
            </a:xfrm>
            <a:prstGeom prst="rect">
              <a:avLst/>
            </a:prstGeom>
            <a:noFill/>
          </p:spPr>
          <p:txBody>
            <a:bodyPr wrap="none" rtlCol="0">
              <a:spAutoFit/>
            </a:bodyPr>
            <a:lstStyle/>
            <a:p>
              <a:r>
                <a:rPr lang="de-DE" sz="1200">
                  <a:solidFill>
                    <a:schemeClr val="accent1">
                      <a:lumMod val="75000"/>
                    </a:schemeClr>
                  </a:solidFill>
                </a:rPr>
                <a:t>UE</a:t>
              </a:r>
              <a:endParaRPr lang="de-DE" sz="1400">
                <a:solidFill>
                  <a:schemeClr val="accent1">
                    <a:lumMod val="75000"/>
                  </a:schemeClr>
                </a:solidFill>
              </a:endParaRPr>
            </a:p>
          </p:txBody>
        </p:sp>
      </p:grpSp>
      <p:pic>
        <p:nvPicPr>
          <p:cNvPr id="45" name="Inhaltsplatzhalter 11">
            <a:extLst>
              <a:ext uri="{FF2B5EF4-FFF2-40B4-BE49-F238E27FC236}">
                <a16:creationId xmlns:a16="http://schemas.microsoft.com/office/drawing/2014/main" id="{AA90E40B-4932-D329-F1BE-FFEB4726137B}"/>
              </a:ext>
            </a:extLst>
          </p:cNvPr>
          <p:cNvPicPr>
            <a:picLocks noChangeAspect="1"/>
          </p:cNvPicPr>
          <p:nvPr/>
        </p:nvPicPr>
        <p:blipFill rotWithShape="1">
          <a:blip r:embed="rId4">
            <a:duotone>
              <a:srgbClr val="4472C4">
                <a:shade val="45000"/>
                <a:satMod val="135000"/>
              </a:srgbClr>
              <a:prstClr val="white"/>
            </a:duotone>
            <a:extLst>
              <a:ext uri="{28A0092B-C50C-407E-A947-70E740481C1C}">
                <a14:useLocalDpi xmlns:a14="http://schemas.microsoft.com/office/drawing/2010/main" val="0"/>
              </a:ext>
            </a:extLst>
          </a:blip>
          <a:srcRect l="9403" t="2699" r="54756" b="8802"/>
          <a:stretch/>
        </p:blipFill>
        <p:spPr>
          <a:xfrm>
            <a:off x="824913" y="4118476"/>
            <a:ext cx="413382" cy="1169819"/>
          </a:xfrm>
          <a:prstGeom prst="rect">
            <a:avLst/>
          </a:prstGeom>
        </p:spPr>
      </p:pic>
      <p:pic>
        <p:nvPicPr>
          <p:cNvPr id="46" name="Inhaltsplatzhalter 11">
            <a:extLst>
              <a:ext uri="{FF2B5EF4-FFF2-40B4-BE49-F238E27FC236}">
                <a16:creationId xmlns:a16="http://schemas.microsoft.com/office/drawing/2014/main" id="{D80DE753-D09F-7991-A54F-1F1EF94FE000}"/>
              </a:ext>
            </a:extLst>
          </p:cNvPr>
          <p:cNvPicPr>
            <a:picLocks noChangeAspect="1"/>
          </p:cNvPicPr>
          <p:nvPr/>
        </p:nvPicPr>
        <p:blipFill rotWithShape="1">
          <a:blip r:embed="rId4">
            <a:duotone>
              <a:srgbClr val="4472C4">
                <a:shade val="45000"/>
                <a:satMod val="135000"/>
              </a:srgbClr>
              <a:prstClr val="white"/>
            </a:duotone>
            <a:extLst>
              <a:ext uri="{28A0092B-C50C-407E-A947-70E740481C1C}">
                <a14:useLocalDpi xmlns:a14="http://schemas.microsoft.com/office/drawing/2010/main" val="0"/>
              </a:ext>
            </a:extLst>
          </a:blip>
          <a:srcRect l="9403" t="2699" r="54756" b="8802"/>
          <a:stretch/>
        </p:blipFill>
        <p:spPr>
          <a:xfrm>
            <a:off x="9696855" y="4005776"/>
            <a:ext cx="413382" cy="1169819"/>
          </a:xfrm>
          <a:prstGeom prst="rect">
            <a:avLst/>
          </a:prstGeom>
        </p:spPr>
      </p:pic>
      <p:sp>
        <p:nvSpPr>
          <p:cNvPr id="47" name="Textfeld 79">
            <a:extLst>
              <a:ext uri="{FF2B5EF4-FFF2-40B4-BE49-F238E27FC236}">
                <a16:creationId xmlns:a16="http://schemas.microsoft.com/office/drawing/2014/main" id="{9CC0FF43-66C4-DB6D-39B8-4B09F02EBDBD}"/>
              </a:ext>
            </a:extLst>
          </p:cNvPr>
          <p:cNvSpPr txBox="1"/>
          <p:nvPr/>
        </p:nvSpPr>
        <p:spPr>
          <a:xfrm>
            <a:off x="9477788" y="5092508"/>
            <a:ext cx="851515" cy="253916"/>
          </a:xfrm>
          <a:prstGeom prst="rect">
            <a:avLst/>
          </a:prstGeom>
          <a:noFill/>
        </p:spPr>
        <p:txBody>
          <a:bodyPr wrap="none" rtlCol="0">
            <a:spAutoFit/>
          </a:bodyPr>
          <a:lstStyle/>
          <a:p>
            <a:pPr>
              <a:defRPr/>
            </a:pPr>
            <a:r>
              <a:rPr lang="en-US" sz="1050" kern="0">
                <a:solidFill>
                  <a:schemeClr val="accent1">
                    <a:lumMod val="75000"/>
                  </a:schemeClr>
                </a:solidFill>
              </a:rPr>
              <a:t>Base station</a:t>
            </a:r>
          </a:p>
        </p:txBody>
      </p:sp>
      <p:pic>
        <p:nvPicPr>
          <p:cNvPr id="49" name="Grafik 29">
            <a:extLst>
              <a:ext uri="{FF2B5EF4-FFF2-40B4-BE49-F238E27FC236}">
                <a16:creationId xmlns:a16="http://schemas.microsoft.com/office/drawing/2014/main" id="{5F75BBAE-319D-B189-6CFA-6A5DCBFE22AB}"/>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7999054" y="4427861"/>
            <a:ext cx="272343" cy="574347"/>
          </a:xfrm>
          <a:prstGeom prst="rect">
            <a:avLst/>
          </a:prstGeom>
        </p:spPr>
      </p:pic>
      <p:pic>
        <p:nvPicPr>
          <p:cNvPr id="50" name="Grafik 30">
            <a:extLst>
              <a:ext uri="{FF2B5EF4-FFF2-40B4-BE49-F238E27FC236}">
                <a16:creationId xmlns:a16="http://schemas.microsoft.com/office/drawing/2014/main" id="{E88D777D-8E04-4E77-2B39-18313900D663}"/>
              </a:ext>
            </a:extLst>
          </p:cNvPr>
          <p:cNvPicPr>
            <a:picLocks noChangeAspect="1"/>
          </p:cNvPicPr>
          <p:nvPr/>
        </p:nvPicPr>
        <p:blipFill>
          <a:blip r:embed="rId6">
            <a:clrChange>
              <a:clrFrom>
                <a:srgbClr val="FFFFFA"/>
              </a:clrFrom>
              <a:clrTo>
                <a:srgbClr val="FFFFFA">
                  <a:alpha val="0"/>
                </a:srgbClr>
              </a:clrTo>
            </a:clrChange>
          </a:blip>
          <a:stretch>
            <a:fillRect/>
          </a:stretch>
        </p:blipFill>
        <p:spPr>
          <a:xfrm>
            <a:off x="6780863" y="4013391"/>
            <a:ext cx="303582" cy="783758"/>
          </a:xfrm>
          <a:prstGeom prst="rect">
            <a:avLst/>
          </a:prstGeom>
        </p:spPr>
      </p:pic>
      <p:pic>
        <p:nvPicPr>
          <p:cNvPr id="51" name="Grafik 31">
            <a:extLst>
              <a:ext uri="{FF2B5EF4-FFF2-40B4-BE49-F238E27FC236}">
                <a16:creationId xmlns:a16="http://schemas.microsoft.com/office/drawing/2014/main" id="{F57CD184-8E5A-DFAC-5BB1-E3FB207B932A}"/>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7255472" y="3913185"/>
            <a:ext cx="417071" cy="852147"/>
          </a:xfrm>
          <a:prstGeom prst="rect">
            <a:avLst/>
          </a:prstGeom>
        </p:spPr>
      </p:pic>
      <p:pic>
        <p:nvPicPr>
          <p:cNvPr id="52" name="Grafik 32">
            <a:extLst>
              <a:ext uri="{FF2B5EF4-FFF2-40B4-BE49-F238E27FC236}">
                <a16:creationId xmlns:a16="http://schemas.microsoft.com/office/drawing/2014/main" id="{26546C5C-89CF-9E22-B10F-152CC7DD525E}"/>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7033369" y="4285937"/>
            <a:ext cx="304132" cy="582960"/>
          </a:xfrm>
          <a:prstGeom prst="rect">
            <a:avLst/>
          </a:prstGeom>
        </p:spPr>
      </p:pic>
      <p:pic>
        <p:nvPicPr>
          <p:cNvPr id="53" name="Grafik 34">
            <a:extLst>
              <a:ext uri="{FF2B5EF4-FFF2-40B4-BE49-F238E27FC236}">
                <a16:creationId xmlns:a16="http://schemas.microsoft.com/office/drawing/2014/main" id="{8DC3F20C-D774-7636-4EF4-6254B6AA4801}"/>
              </a:ext>
            </a:extLst>
          </p:cNvPr>
          <p:cNvPicPr>
            <a:picLocks noChangeAspect="1"/>
          </p:cNvPicPr>
          <p:nvPr/>
        </p:nvPicPr>
        <p:blipFill>
          <a:blip r:embed="rId6">
            <a:clrChange>
              <a:clrFrom>
                <a:srgbClr val="FFFFFA"/>
              </a:clrFrom>
              <a:clrTo>
                <a:srgbClr val="FFFFFA">
                  <a:alpha val="0"/>
                </a:srgbClr>
              </a:clrTo>
            </a:clrChange>
          </a:blip>
          <a:stretch>
            <a:fillRect/>
          </a:stretch>
        </p:blipFill>
        <p:spPr>
          <a:xfrm>
            <a:off x="7601164" y="3874159"/>
            <a:ext cx="303582" cy="783758"/>
          </a:xfrm>
          <a:prstGeom prst="rect">
            <a:avLst/>
          </a:prstGeom>
        </p:spPr>
      </p:pic>
      <p:pic>
        <p:nvPicPr>
          <p:cNvPr id="54" name="Grafik 35">
            <a:extLst>
              <a:ext uri="{FF2B5EF4-FFF2-40B4-BE49-F238E27FC236}">
                <a16:creationId xmlns:a16="http://schemas.microsoft.com/office/drawing/2014/main" id="{47A1F454-2A5A-8B7E-CA73-E71EC99EA613}"/>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8440782" y="4725422"/>
            <a:ext cx="523687" cy="395966"/>
          </a:xfrm>
          <a:prstGeom prst="rect">
            <a:avLst/>
          </a:prstGeom>
        </p:spPr>
      </p:pic>
      <p:pic>
        <p:nvPicPr>
          <p:cNvPr id="55" name="Grafik 63">
            <a:extLst>
              <a:ext uri="{FF2B5EF4-FFF2-40B4-BE49-F238E27FC236}">
                <a16:creationId xmlns:a16="http://schemas.microsoft.com/office/drawing/2014/main" id="{F41014DA-A800-D5A8-E25E-913926505BB1}"/>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7820601" y="4369271"/>
            <a:ext cx="219249" cy="447962"/>
          </a:xfrm>
          <a:prstGeom prst="rect">
            <a:avLst/>
          </a:prstGeom>
        </p:spPr>
      </p:pic>
      <p:pic>
        <p:nvPicPr>
          <p:cNvPr id="56" name="Inhaltsplatzhalter 11">
            <a:extLst>
              <a:ext uri="{FF2B5EF4-FFF2-40B4-BE49-F238E27FC236}">
                <a16:creationId xmlns:a16="http://schemas.microsoft.com/office/drawing/2014/main" id="{4BAAAB70-FF03-AD50-39FC-984BD485E994}"/>
              </a:ext>
            </a:extLst>
          </p:cNvPr>
          <p:cNvPicPr>
            <a:picLocks noChangeAspect="1"/>
          </p:cNvPicPr>
          <p:nvPr/>
        </p:nvPicPr>
        <p:blipFill rotWithShape="1">
          <a:blip r:embed="rId4">
            <a:duotone>
              <a:srgbClr val="4472C4">
                <a:shade val="45000"/>
                <a:satMod val="135000"/>
              </a:srgbClr>
              <a:prstClr val="white"/>
            </a:duotone>
            <a:extLst>
              <a:ext uri="{28A0092B-C50C-407E-A947-70E740481C1C}">
                <a14:useLocalDpi xmlns:a14="http://schemas.microsoft.com/office/drawing/2010/main" val="0"/>
              </a:ext>
            </a:extLst>
          </a:blip>
          <a:srcRect l="9403" t="2699" r="54756" b="8802"/>
          <a:stretch/>
        </p:blipFill>
        <p:spPr>
          <a:xfrm>
            <a:off x="9703117" y="4001501"/>
            <a:ext cx="413382" cy="1169819"/>
          </a:xfrm>
          <a:prstGeom prst="rect">
            <a:avLst/>
          </a:prstGeom>
        </p:spPr>
      </p:pic>
      <p:sp>
        <p:nvSpPr>
          <p:cNvPr id="57" name="Textfeld 79">
            <a:extLst>
              <a:ext uri="{FF2B5EF4-FFF2-40B4-BE49-F238E27FC236}">
                <a16:creationId xmlns:a16="http://schemas.microsoft.com/office/drawing/2014/main" id="{0A7E8AC4-CF14-58B7-9BB8-2626E8864B1F}"/>
              </a:ext>
            </a:extLst>
          </p:cNvPr>
          <p:cNvSpPr txBox="1"/>
          <p:nvPr/>
        </p:nvSpPr>
        <p:spPr>
          <a:xfrm>
            <a:off x="9477788" y="5092508"/>
            <a:ext cx="851515" cy="253916"/>
          </a:xfrm>
          <a:prstGeom prst="rect">
            <a:avLst/>
          </a:prstGeom>
          <a:noFill/>
        </p:spPr>
        <p:txBody>
          <a:bodyPr wrap="none" rtlCol="0">
            <a:spAutoFit/>
          </a:bodyPr>
          <a:lstStyle/>
          <a:p>
            <a:pPr>
              <a:defRPr/>
            </a:pPr>
            <a:r>
              <a:rPr lang="en-US" sz="1050" kern="0">
                <a:solidFill>
                  <a:schemeClr val="accent1">
                    <a:lumMod val="75000"/>
                  </a:schemeClr>
                </a:solidFill>
              </a:rPr>
              <a:t>Base station</a:t>
            </a:r>
          </a:p>
        </p:txBody>
      </p:sp>
      <p:cxnSp>
        <p:nvCxnSpPr>
          <p:cNvPr id="58" name="Gerader Verbinder 45">
            <a:extLst>
              <a:ext uri="{FF2B5EF4-FFF2-40B4-BE49-F238E27FC236}">
                <a16:creationId xmlns:a16="http://schemas.microsoft.com/office/drawing/2014/main" id="{7D93899F-2DCB-7815-86A5-B30979216D58}"/>
              </a:ext>
            </a:extLst>
          </p:cNvPr>
          <p:cNvCxnSpPr>
            <a:cxnSpLocks/>
          </p:cNvCxnSpPr>
          <p:nvPr/>
        </p:nvCxnSpPr>
        <p:spPr>
          <a:xfrm flipV="1">
            <a:off x="8392678" y="4006371"/>
            <a:ext cx="1404057" cy="71905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Gerader Verbinder 46">
            <a:extLst>
              <a:ext uri="{FF2B5EF4-FFF2-40B4-BE49-F238E27FC236}">
                <a16:creationId xmlns:a16="http://schemas.microsoft.com/office/drawing/2014/main" id="{E4BE94F8-AC44-7798-1E3B-D2810D5C373D}"/>
              </a:ext>
            </a:extLst>
          </p:cNvPr>
          <p:cNvCxnSpPr>
            <a:cxnSpLocks/>
          </p:cNvCxnSpPr>
          <p:nvPr/>
        </p:nvCxnSpPr>
        <p:spPr>
          <a:xfrm>
            <a:off x="10077481" y="4019441"/>
            <a:ext cx="765142" cy="511790"/>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60" name="Freihandform: Form 25">
            <a:extLst>
              <a:ext uri="{FF2B5EF4-FFF2-40B4-BE49-F238E27FC236}">
                <a16:creationId xmlns:a16="http://schemas.microsoft.com/office/drawing/2014/main" id="{8247928A-2F22-AB69-8066-6579055732CF}"/>
              </a:ext>
            </a:extLst>
          </p:cNvPr>
          <p:cNvSpPr/>
          <p:nvPr/>
        </p:nvSpPr>
        <p:spPr>
          <a:xfrm>
            <a:off x="5426493" y="3991947"/>
            <a:ext cx="5434628" cy="1453919"/>
          </a:xfrm>
          <a:custGeom>
            <a:avLst/>
            <a:gdLst>
              <a:gd name="connsiteX0" fmla="*/ 354439 w 6305329"/>
              <a:gd name="connsiteY0" fmla="*/ 1307886 h 1602253"/>
              <a:gd name="connsiteX1" fmla="*/ 685179 w 6305329"/>
              <a:gd name="connsiteY1" fmla="*/ 1230065 h 1602253"/>
              <a:gd name="connsiteX2" fmla="*/ 1054830 w 6305329"/>
              <a:gd name="connsiteY2" fmla="*/ 481035 h 1602253"/>
              <a:gd name="connsiteX3" fmla="*/ 1278566 w 6305329"/>
              <a:gd name="connsiteY3" fmla="*/ 4380 h 1602253"/>
              <a:gd name="connsiteX4" fmla="*/ 1570396 w 6305329"/>
              <a:gd name="connsiteY4" fmla="*/ 753409 h 1602253"/>
              <a:gd name="connsiteX5" fmla="*/ 2134600 w 6305329"/>
              <a:gd name="connsiteY5" fmla="*/ 918780 h 1602253"/>
              <a:gd name="connsiteX6" fmla="*/ 2562617 w 6305329"/>
              <a:gd name="connsiteY6" fmla="*/ 665860 h 1602253"/>
              <a:gd name="connsiteX7" fmla="*/ 3019817 w 6305329"/>
              <a:gd name="connsiteY7" fmla="*/ 977146 h 1602253"/>
              <a:gd name="connsiteX8" fmla="*/ 3807758 w 6305329"/>
              <a:gd name="connsiteY8" fmla="*/ 1220337 h 1602253"/>
              <a:gd name="connsiteX9" fmla="*/ 5850566 w 6305329"/>
              <a:gd name="connsiteY9" fmla="*/ 1278703 h 1602253"/>
              <a:gd name="connsiteX10" fmla="*/ 5801928 w 6305329"/>
              <a:gd name="connsiteY10" fmla="*/ 1580260 h 1602253"/>
              <a:gd name="connsiteX11" fmla="*/ 432260 w 6305329"/>
              <a:gd name="connsiteY11" fmla="*/ 1551077 h 1602253"/>
              <a:gd name="connsiteX12" fmla="*/ 354439 w 6305329"/>
              <a:gd name="connsiteY12" fmla="*/ 1307886 h 160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5329" h="1602253">
                <a:moveTo>
                  <a:pt x="354439" y="1307886"/>
                </a:moveTo>
                <a:cubicBezTo>
                  <a:pt x="396592" y="1254384"/>
                  <a:pt x="568447" y="1367874"/>
                  <a:pt x="685179" y="1230065"/>
                </a:cubicBezTo>
                <a:cubicBezTo>
                  <a:pt x="801911" y="1092256"/>
                  <a:pt x="955932" y="685316"/>
                  <a:pt x="1054830" y="481035"/>
                </a:cubicBezTo>
                <a:cubicBezTo>
                  <a:pt x="1153728" y="276754"/>
                  <a:pt x="1192638" y="-41016"/>
                  <a:pt x="1278566" y="4380"/>
                </a:cubicBezTo>
                <a:cubicBezTo>
                  <a:pt x="1364494" y="49776"/>
                  <a:pt x="1427724" y="601009"/>
                  <a:pt x="1570396" y="753409"/>
                </a:cubicBezTo>
                <a:cubicBezTo>
                  <a:pt x="1713068" y="905809"/>
                  <a:pt x="1969230" y="933371"/>
                  <a:pt x="2134600" y="918780"/>
                </a:cubicBezTo>
                <a:cubicBezTo>
                  <a:pt x="2299970" y="904189"/>
                  <a:pt x="2415081" y="656132"/>
                  <a:pt x="2562617" y="665860"/>
                </a:cubicBezTo>
                <a:cubicBezTo>
                  <a:pt x="2710153" y="675588"/>
                  <a:pt x="2812294" y="884733"/>
                  <a:pt x="3019817" y="977146"/>
                </a:cubicBezTo>
                <a:cubicBezTo>
                  <a:pt x="3227341" y="1069559"/>
                  <a:pt x="3335967" y="1170078"/>
                  <a:pt x="3807758" y="1220337"/>
                </a:cubicBezTo>
                <a:cubicBezTo>
                  <a:pt x="4279549" y="1270596"/>
                  <a:pt x="5518204" y="1218716"/>
                  <a:pt x="5850566" y="1278703"/>
                </a:cubicBezTo>
                <a:cubicBezTo>
                  <a:pt x="6182928" y="1338690"/>
                  <a:pt x="6704979" y="1534864"/>
                  <a:pt x="5801928" y="1580260"/>
                </a:cubicBezTo>
                <a:cubicBezTo>
                  <a:pt x="4898877" y="1625656"/>
                  <a:pt x="1333690" y="1593230"/>
                  <a:pt x="432260" y="1551077"/>
                </a:cubicBezTo>
                <a:cubicBezTo>
                  <a:pt x="-469170" y="1508924"/>
                  <a:pt x="312286" y="1361388"/>
                  <a:pt x="354439" y="1307886"/>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3"/>
          </a:p>
        </p:txBody>
      </p:sp>
      <p:pic>
        <p:nvPicPr>
          <p:cNvPr id="61" name="Grafik 30">
            <a:extLst>
              <a:ext uri="{FF2B5EF4-FFF2-40B4-BE49-F238E27FC236}">
                <a16:creationId xmlns:a16="http://schemas.microsoft.com/office/drawing/2014/main" id="{3C1DB4A8-9DBA-A9D6-021A-CA02AFF86241}"/>
              </a:ext>
            </a:extLst>
          </p:cNvPr>
          <p:cNvPicPr>
            <a:picLocks noChangeAspect="1"/>
          </p:cNvPicPr>
          <p:nvPr/>
        </p:nvPicPr>
        <p:blipFill>
          <a:blip r:embed="rId6">
            <a:clrChange>
              <a:clrFrom>
                <a:srgbClr val="FFFFFA"/>
              </a:clrFrom>
              <a:clrTo>
                <a:srgbClr val="FFFFFA">
                  <a:alpha val="0"/>
                </a:srgbClr>
              </a:clrTo>
            </a:clrChange>
          </a:blip>
          <a:stretch>
            <a:fillRect/>
          </a:stretch>
        </p:blipFill>
        <p:spPr>
          <a:xfrm>
            <a:off x="5275242" y="4013391"/>
            <a:ext cx="303582" cy="783758"/>
          </a:xfrm>
          <a:prstGeom prst="rect">
            <a:avLst/>
          </a:prstGeom>
        </p:spPr>
      </p:pic>
      <p:pic>
        <p:nvPicPr>
          <p:cNvPr id="62" name="Grafik 31">
            <a:extLst>
              <a:ext uri="{FF2B5EF4-FFF2-40B4-BE49-F238E27FC236}">
                <a16:creationId xmlns:a16="http://schemas.microsoft.com/office/drawing/2014/main" id="{C57BE8E4-1DCA-93FC-6505-79A4C5F39D5F}"/>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5749851" y="3913185"/>
            <a:ext cx="417071" cy="852147"/>
          </a:xfrm>
          <a:prstGeom prst="rect">
            <a:avLst/>
          </a:prstGeom>
        </p:spPr>
      </p:pic>
      <p:pic>
        <p:nvPicPr>
          <p:cNvPr id="63" name="Grafik 32">
            <a:extLst>
              <a:ext uri="{FF2B5EF4-FFF2-40B4-BE49-F238E27FC236}">
                <a16:creationId xmlns:a16="http://schemas.microsoft.com/office/drawing/2014/main" id="{3495C7B0-5BE9-F35B-E746-808FAA6E6850}"/>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5527748" y="4285937"/>
            <a:ext cx="304132" cy="582960"/>
          </a:xfrm>
          <a:prstGeom prst="rect">
            <a:avLst/>
          </a:prstGeom>
        </p:spPr>
      </p:pic>
      <p:sp>
        <p:nvSpPr>
          <p:cNvPr id="1024" name="Freihandform: Form 25">
            <a:extLst>
              <a:ext uri="{FF2B5EF4-FFF2-40B4-BE49-F238E27FC236}">
                <a16:creationId xmlns:a16="http://schemas.microsoft.com/office/drawing/2014/main" id="{F0C2A847-AE22-D464-EB65-908AA8666083}"/>
              </a:ext>
            </a:extLst>
          </p:cNvPr>
          <p:cNvSpPr/>
          <p:nvPr/>
        </p:nvSpPr>
        <p:spPr>
          <a:xfrm>
            <a:off x="3920872" y="3991947"/>
            <a:ext cx="5434628" cy="1453919"/>
          </a:xfrm>
          <a:custGeom>
            <a:avLst/>
            <a:gdLst>
              <a:gd name="connsiteX0" fmla="*/ 354439 w 6305329"/>
              <a:gd name="connsiteY0" fmla="*/ 1307886 h 1602253"/>
              <a:gd name="connsiteX1" fmla="*/ 685179 w 6305329"/>
              <a:gd name="connsiteY1" fmla="*/ 1230065 h 1602253"/>
              <a:gd name="connsiteX2" fmla="*/ 1054830 w 6305329"/>
              <a:gd name="connsiteY2" fmla="*/ 481035 h 1602253"/>
              <a:gd name="connsiteX3" fmla="*/ 1278566 w 6305329"/>
              <a:gd name="connsiteY3" fmla="*/ 4380 h 1602253"/>
              <a:gd name="connsiteX4" fmla="*/ 1570396 w 6305329"/>
              <a:gd name="connsiteY4" fmla="*/ 753409 h 1602253"/>
              <a:gd name="connsiteX5" fmla="*/ 2134600 w 6305329"/>
              <a:gd name="connsiteY5" fmla="*/ 918780 h 1602253"/>
              <a:gd name="connsiteX6" fmla="*/ 2562617 w 6305329"/>
              <a:gd name="connsiteY6" fmla="*/ 665860 h 1602253"/>
              <a:gd name="connsiteX7" fmla="*/ 3019817 w 6305329"/>
              <a:gd name="connsiteY7" fmla="*/ 977146 h 1602253"/>
              <a:gd name="connsiteX8" fmla="*/ 3807758 w 6305329"/>
              <a:gd name="connsiteY8" fmla="*/ 1220337 h 1602253"/>
              <a:gd name="connsiteX9" fmla="*/ 5850566 w 6305329"/>
              <a:gd name="connsiteY9" fmla="*/ 1278703 h 1602253"/>
              <a:gd name="connsiteX10" fmla="*/ 5801928 w 6305329"/>
              <a:gd name="connsiteY10" fmla="*/ 1580260 h 1602253"/>
              <a:gd name="connsiteX11" fmla="*/ 432260 w 6305329"/>
              <a:gd name="connsiteY11" fmla="*/ 1551077 h 1602253"/>
              <a:gd name="connsiteX12" fmla="*/ 354439 w 6305329"/>
              <a:gd name="connsiteY12" fmla="*/ 1307886 h 160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5329" h="1602253">
                <a:moveTo>
                  <a:pt x="354439" y="1307886"/>
                </a:moveTo>
                <a:cubicBezTo>
                  <a:pt x="396592" y="1254384"/>
                  <a:pt x="568447" y="1367874"/>
                  <a:pt x="685179" y="1230065"/>
                </a:cubicBezTo>
                <a:cubicBezTo>
                  <a:pt x="801911" y="1092256"/>
                  <a:pt x="955932" y="685316"/>
                  <a:pt x="1054830" y="481035"/>
                </a:cubicBezTo>
                <a:cubicBezTo>
                  <a:pt x="1153728" y="276754"/>
                  <a:pt x="1192638" y="-41016"/>
                  <a:pt x="1278566" y="4380"/>
                </a:cubicBezTo>
                <a:cubicBezTo>
                  <a:pt x="1364494" y="49776"/>
                  <a:pt x="1427724" y="601009"/>
                  <a:pt x="1570396" y="753409"/>
                </a:cubicBezTo>
                <a:cubicBezTo>
                  <a:pt x="1713068" y="905809"/>
                  <a:pt x="1969230" y="933371"/>
                  <a:pt x="2134600" y="918780"/>
                </a:cubicBezTo>
                <a:cubicBezTo>
                  <a:pt x="2299970" y="904189"/>
                  <a:pt x="2415081" y="656132"/>
                  <a:pt x="2562617" y="665860"/>
                </a:cubicBezTo>
                <a:cubicBezTo>
                  <a:pt x="2710153" y="675588"/>
                  <a:pt x="2812294" y="884733"/>
                  <a:pt x="3019817" y="977146"/>
                </a:cubicBezTo>
                <a:cubicBezTo>
                  <a:pt x="3227341" y="1069559"/>
                  <a:pt x="3335967" y="1170078"/>
                  <a:pt x="3807758" y="1220337"/>
                </a:cubicBezTo>
                <a:cubicBezTo>
                  <a:pt x="4279549" y="1270596"/>
                  <a:pt x="5518204" y="1218716"/>
                  <a:pt x="5850566" y="1278703"/>
                </a:cubicBezTo>
                <a:cubicBezTo>
                  <a:pt x="6182928" y="1338690"/>
                  <a:pt x="6704979" y="1534864"/>
                  <a:pt x="5801928" y="1580260"/>
                </a:cubicBezTo>
                <a:cubicBezTo>
                  <a:pt x="4898877" y="1625656"/>
                  <a:pt x="1333690" y="1593230"/>
                  <a:pt x="432260" y="1551077"/>
                </a:cubicBezTo>
                <a:cubicBezTo>
                  <a:pt x="-469170" y="1508924"/>
                  <a:pt x="312286" y="1361388"/>
                  <a:pt x="354439" y="1307886"/>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3"/>
          </a:p>
        </p:txBody>
      </p:sp>
      <p:sp>
        <p:nvSpPr>
          <p:cNvPr id="1025" name="Freihandform: Form 25">
            <a:extLst>
              <a:ext uri="{FF2B5EF4-FFF2-40B4-BE49-F238E27FC236}">
                <a16:creationId xmlns:a16="http://schemas.microsoft.com/office/drawing/2014/main" id="{A33B4510-382C-5C64-78B6-9A9D04736BA3}"/>
              </a:ext>
            </a:extLst>
          </p:cNvPr>
          <p:cNvSpPr/>
          <p:nvPr/>
        </p:nvSpPr>
        <p:spPr>
          <a:xfrm flipH="1">
            <a:off x="202165" y="4466837"/>
            <a:ext cx="5476321" cy="985544"/>
          </a:xfrm>
          <a:custGeom>
            <a:avLst/>
            <a:gdLst>
              <a:gd name="connsiteX0" fmla="*/ 354439 w 6305329"/>
              <a:gd name="connsiteY0" fmla="*/ 1307886 h 1602253"/>
              <a:gd name="connsiteX1" fmla="*/ 685179 w 6305329"/>
              <a:gd name="connsiteY1" fmla="*/ 1230065 h 1602253"/>
              <a:gd name="connsiteX2" fmla="*/ 1054830 w 6305329"/>
              <a:gd name="connsiteY2" fmla="*/ 481035 h 1602253"/>
              <a:gd name="connsiteX3" fmla="*/ 1278566 w 6305329"/>
              <a:gd name="connsiteY3" fmla="*/ 4380 h 1602253"/>
              <a:gd name="connsiteX4" fmla="*/ 1570396 w 6305329"/>
              <a:gd name="connsiteY4" fmla="*/ 753409 h 1602253"/>
              <a:gd name="connsiteX5" fmla="*/ 2134600 w 6305329"/>
              <a:gd name="connsiteY5" fmla="*/ 918780 h 1602253"/>
              <a:gd name="connsiteX6" fmla="*/ 2562617 w 6305329"/>
              <a:gd name="connsiteY6" fmla="*/ 665860 h 1602253"/>
              <a:gd name="connsiteX7" fmla="*/ 3019817 w 6305329"/>
              <a:gd name="connsiteY7" fmla="*/ 977146 h 1602253"/>
              <a:gd name="connsiteX8" fmla="*/ 3807758 w 6305329"/>
              <a:gd name="connsiteY8" fmla="*/ 1220337 h 1602253"/>
              <a:gd name="connsiteX9" fmla="*/ 5850566 w 6305329"/>
              <a:gd name="connsiteY9" fmla="*/ 1278703 h 1602253"/>
              <a:gd name="connsiteX10" fmla="*/ 5801928 w 6305329"/>
              <a:gd name="connsiteY10" fmla="*/ 1580260 h 1602253"/>
              <a:gd name="connsiteX11" fmla="*/ 432260 w 6305329"/>
              <a:gd name="connsiteY11" fmla="*/ 1551077 h 1602253"/>
              <a:gd name="connsiteX12" fmla="*/ 354439 w 6305329"/>
              <a:gd name="connsiteY12" fmla="*/ 1307886 h 160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5329" h="1602253">
                <a:moveTo>
                  <a:pt x="354439" y="1307886"/>
                </a:moveTo>
                <a:cubicBezTo>
                  <a:pt x="396592" y="1254384"/>
                  <a:pt x="568447" y="1367874"/>
                  <a:pt x="685179" y="1230065"/>
                </a:cubicBezTo>
                <a:cubicBezTo>
                  <a:pt x="801911" y="1092256"/>
                  <a:pt x="955932" y="685316"/>
                  <a:pt x="1054830" y="481035"/>
                </a:cubicBezTo>
                <a:cubicBezTo>
                  <a:pt x="1153728" y="276754"/>
                  <a:pt x="1192638" y="-41016"/>
                  <a:pt x="1278566" y="4380"/>
                </a:cubicBezTo>
                <a:cubicBezTo>
                  <a:pt x="1364494" y="49776"/>
                  <a:pt x="1427724" y="601009"/>
                  <a:pt x="1570396" y="753409"/>
                </a:cubicBezTo>
                <a:cubicBezTo>
                  <a:pt x="1713068" y="905809"/>
                  <a:pt x="1969230" y="933371"/>
                  <a:pt x="2134600" y="918780"/>
                </a:cubicBezTo>
                <a:cubicBezTo>
                  <a:pt x="2299970" y="904189"/>
                  <a:pt x="2415081" y="656132"/>
                  <a:pt x="2562617" y="665860"/>
                </a:cubicBezTo>
                <a:cubicBezTo>
                  <a:pt x="2710153" y="675588"/>
                  <a:pt x="2812294" y="884733"/>
                  <a:pt x="3019817" y="977146"/>
                </a:cubicBezTo>
                <a:cubicBezTo>
                  <a:pt x="3227341" y="1069559"/>
                  <a:pt x="3335967" y="1170078"/>
                  <a:pt x="3807758" y="1220337"/>
                </a:cubicBezTo>
                <a:cubicBezTo>
                  <a:pt x="4279549" y="1270596"/>
                  <a:pt x="5518204" y="1218716"/>
                  <a:pt x="5850566" y="1278703"/>
                </a:cubicBezTo>
                <a:cubicBezTo>
                  <a:pt x="6182928" y="1338690"/>
                  <a:pt x="6704979" y="1534864"/>
                  <a:pt x="5801928" y="1580260"/>
                </a:cubicBezTo>
                <a:cubicBezTo>
                  <a:pt x="4898877" y="1625656"/>
                  <a:pt x="1333690" y="1593230"/>
                  <a:pt x="432260" y="1551077"/>
                </a:cubicBezTo>
                <a:cubicBezTo>
                  <a:pt x="-469170" y="1508924"/>
                  <a:pt x="312286" y="1361388"/>
                  <a:pt x="354439" y="1307886"/>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3"/>
          </a:p>
        </p:txBody>
      </p:sp>
      <p:sp>
        <p:nvSpPr>
          <p:cNvPr id="1028" name="Textfeld 79">
            <a:extLst>
              <a:ext uri="{FF2B5EF4-FFF2-40B4-BE49-F238E27FC236}">
                <a16:creationId xmlns:a16="http://schemas.microsoft.com/office/drawing/2014/main" id="{0DE490B6-6C4D-6755-C9BC-4D88705F9E44}"/>
              </a:ext>
            </a:extLst>
          </p:cNvPr>
          <p:cNvSpPr txBox="1"/>
          <p:nvPr/>
        </p:nvSpPr>
        <p:spPr>
          <a:xfrm>
            <a:off x="563207" y="3890360"/>
            <a:ext cx="1004195" cy="230832"/>
          </a:xfrm>
          <a:prstGeom prst="rect">
            <a:avLst/>
          </a:prstGeom>
          <a:noFill/>
        </p:spPr>
        <p:txBody>
          <a:bodyPr wrap="square" rtlCol="0">
            <a:spAutoFit/>
          </a:bodyPr>
          <a:lstStyle/>
          <a:p>
            <a:pPr>
              <a:defRPr/>
            </a:pPr>
            <a:r>
              <a:rPr lang="en-US" sz="900" kern="0">
                <a:solidFill>
                  <a:schemeClr val="accent1">
                    <a:lumMod val="75000"/>
                  </a:schemeClr>
                </a:solidFill>
              </a:rPr>
              <a:t>Base Station-TN</a:t>
            </a:r>
          </a:p>
        </p:txBody>
      </p:sp>
      <p:cxnSp>
        <p:nvCxnSpPr>
          <p:cNvPr id="1029" name="Gerader Verbinder 45">
            <a:extLst>
              <a:ext uri="{FF2B5EF4-FFF2-40B4-BE49-F238E27FC236}">
                <a16:creationId xmlns:a16="http://schemas.microsoft.com/office/drawing/2014/main" id="{3C6342D0-16E3-9141-70B1-8900CC575D49}"/>
              </a:ext>
            </a:extLst>
          </p:cNvPr>
          <p:cNvCxnSpPr>
            <a:cxnSpLocks/>
          </p:cNvCxnSpPr>
          <p:nvPr/>
        </p:nvCxnSpPr>
        <p:spPr>
          <a:xfrm flipV="1">
            <a:off x="183667" y="4114200"/>
            <a:ext cx="753226" cy="41703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030" name="Gerader Verbinder 46">
            <a:extLst>
              <a:ext uri="{FF2B5EF4-FFF2-40B4-BE49-F238E27FC236}">
                <a16:creationId xmlns:a16="http://schemas.microsoft.com/office/drawing/2014/main" id="{6760F4FA-3252-4994-0865-F708A8DB0347}"/>
              </a:ext>
            </a:extLst>
          </p:cNvPr>
          <p:cNvCxnSpPr>
            <a:cxnSpLocks/>
          </p:cNvCxnSpPr>
          <p:nvPr/>
        </p:nvCxnSpPr>
        <p:spPr>
          <a:xfrm>
            <a:off x="1185348" y="4112479"/>
            <a:ext cx="750342" cy="418752"/>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grpSp>
        <p:nvGrpSpPr>
          <p:cNvPr id="1034" name="Group 1033">
            <a:extLst>
              <a:ext uri="{FF2B5EF4-FFF2-40B4-BE49-F238E27FC236}">
                <a16:creationId xmlns:a16="http://schemas.microsoft.com/office/drawing/2014/main" id="{DE1075C7-7031-4010-C00C-82782832978D}"/>
              </a:ext>
            </a:extLst>
          </p:cNvPr>
          <p:cNvGrpSpPr/>
          <p:nvPr/>
        </p:nvGrpSpPr>
        <p:grpSpPr>
          <a:xfrm>
            <a:off x="10154341" y="4482539"/>
            <a:ext cx="428382" cy="476738"/>
            <a:chOff x="10154341" y="4421579"/>
            <a:chExt cx="428382" cy="476738"/>
          </a:xfrm>
        </p:grpSpPr>
        <p:sp>
          <p:nvSpPr>
            <p:cNvPr id="1032" name="Rectangle: Rounded Corners 1031">
              <a:extLst>
                <a:ext uri="{FF2B5EF4-FFF2-40B4-BE49-F238E27FC236}">
                  <a16:creationId xmlns:a16="http://schemas.microsoft.com/office/drawing/2014/main" id="{34F75CC7-E3D7-1B18-E06D-253BC185E074}"/>
                </a:ext>
              </a:extLst>
            </p:cNvPr>
            <p:cNvSpPr/>
            <p:nvPr/>
          </p:nvSpPr>
          <p:spPr>
            <a:xfrm>
              <a:off x="10154342" y="4659948"/>
              <a:ext cx="428381" cy="238369"/>
            </a:xfrm>
            <a:prstGeom prst="round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800" err="1">
                  <a:solidFill>
                    <a:schemeClr val="accent1">
                      <a:lumMod val="75000"/>
                    </a:schemeClr>
                  </a:solidFill>
                </a:rPr>
                <a:t>gNB</a:t>
              </a:r>
              <a:endParaRPr lang="de-DE">
                <a:solidFill>
                  <a:schemeClr val="accent1">
                    <a:lumMod val="75000"/>
                  </a:schemeClr>
                </a:solidFill>
              </a:endParaRPr>
            </a:p>
          </p:txBody>
        </p:sp>
        <p:sp>
          <p:nvSpPr>
            <p:cNvPr id="1033" name="Rectangle: Rounded Corners 1032">
              <a:extLst>
                <a:ext uri="{FF2B5EF4-FFF2-40B4-BE49-F238E27FC236}">
                  <a16:creationId xmlns:a16="http://schemas.microsoft.com/office/drawing/2014/main" id="{4F401EE7-E68F-6882-C28D-163BB9E136D2}"/>
                </a:ext>
              </a:extLst>
            </p:cNvPr>
            <p:cNvSpPr/>
            <p:nvPr/>
          </p:nvSpPr>
          <p:spPr>
            <a:xfrm>
              <a:off x="10154341" y="4421579"/>
              <a:ext cx="428381" cy="238369"/>
            </a:xfrm>
            <a:prstGeom prst="round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800">
                  <a:solidFill>
                    <a:schemeClr val="accent1">
                      <a:lumMod val="75000"/>
                    </a:schemeClr>
                  </a:solidFill>
                </a:rPr>
                <a:t>UPF</a:t>
              </a:r>
              <a:endParaRPr lang="de-DE">
                <a:solidFill>
                  <a:schemeClr val="accent1">
                    <a:lumMod val="75000"/>
                  </a:schemeClr>
                </a:solidFill>
              </a:endParaRPr>
            </a:p>
          </p:txBody>
        </p:sp>
      </p:grpSp>
      <p:sp>
        <p:nvSpPr>
          <p:cNvPr id="3" name="Rectangle 2">
            <a:extLst>
              <a:ext uri="{FF2B5EF4-FFF2-40B4-BE49-F238E27FC236}">
                <a16:creationId xmlns:a16="http://schemas.microsoft.com/office/drawing/2014/main" id="{7E79FBEE-44EF-8371-F4A0-A436BA3ED9A4}"/>
              </a:ext>
            </a:extLst>
          </p:cNvPr>
          <p:cNvSpPr/>
          <p:nvPr/>
        </p:nvSpPr>
        <p:spPr>
          <a:xfrm>
            <a:off x="202165" y="5347818"/>
            <a:ext cx="10640458" cy="307563"/>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err="1"/>
              <a:t>Terrestrial</a:t>
            </a:r>
            <a:r>
              <a:rPr lang="de-DE"/>
              <a:t> Core NW/Backend</a:t>
            </a:r>
          </a:p>
        </p:txBody>
      </p:sp>
      <p:pic>
        <p:nvPicPr>
          <p:cNvPr id="6" name="Graphic 5" descr="Database with solid fill">
            <a:extLst>
              <a:ext uri="{FF2B5EF4-FFF2-40B4-BE49-F238E27FC236}">
                <a16:creationId xmlns:a16="http://schemas.microsoft.com/office/drawing/2014/main" id="{C1D971E2-6723-3583-42E4-24135D930B3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66875" y="5360627"/>
            <a:ext cx="289524" cy="289524"/>
          </a:xfrm>
          <a:prstGeom prst="rect">
            <a:avLst/>
          </a:prstGeom>
        </p:spPr>
      </p:pic>
      <p:pic>
        <p:nvPicPr>
          <p:cNvPr id="7" name="Graphic 6" descr="Database with solid fill">
            <a:extLst>
              <a:ext uri="{FF2B5EF4-FFF2-40B4-BE49-F238E27FC236}">
                <a16:creationId xmlns:a16="http://schemas.microsoft.com/office/drawing/2014/main" id="{4850C281-4779-1255-25EF-CFDD7E73508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79182" y="5360627"/>
            <a:ext cx="289524" cy="289524"/>
          </a:xfrm>
          <a:prstGeom prst="rect">
            <a:avLst/>
          </a:prstGeom>
        </p:spPr>
      </p:pic>
      <p:cxnSp>
        <p:nvCxnSpPr>
          <p:cNvPr id="8" name="Gerade Verbindung mit Pfeil 61">
            <a:extLst>
              <a:ext uri="{FF2B5EF4-FFF2-40B4-BE49-F238E27FC236}">
                <a16:creationId xmlns:a16="http://schemas.microsoft.com/office/drawing/2014/main" id="{1BB551FA-19FC-232B-B3C9-746806B728CC}"/>
              </a:ext>
            </a:extLst>
          </p:cNvPr>
          <p:cNvCxnSpPr>
            <a:cxnSpLocks/>
            <a:stCxn id="16" idx="3"/>
            <a:endCxn id="56" idx="1"/>
          </p:cNvCxnSpPr>
          <p:nvPr/>
        </p:nvCxnSpPr>
        <p:spPr>
          <a:xfrm flipV="1">
            <a:off x="9372424" y="4586411"/>
            <a:ext cx="330693" cy="128516"/>
          </a:xfrm>
          <a:prstGeom prst="straightConnector1">
            <a:avLst/>
          </a:prstGeom>
          <a:noFill/>
          <a:ln w="19050" cap="flat" cmpd="sng" algn="ctr">
            <a:solidFill>
              <a:srgbClr val="C00000"/>
            </a:solidFill>
            <a:prstDash val="solid"/>
            <a:miter lim="800000"/>
            <a:headEnd type="triangle" w="med" len="med"/>
            <a:tailEnd type="triangle" w="med" len="med"/>
          </a:ln>
          <a:effectLst/>
        </p:spPr>
      </p:cxnSp>
      <p:pic>
        <p:nvPicPr>
          <p:cNvPr id="11" name="Grafik 10">
            <a:extLst>
              <a:ext uri="{FF2B5EF4-FFF2-40B4-BE49-F238E27FC236}">
                <a16:creationId xmlns:a16="http://schemas.microsoft.com/office/drawing/2014/main" id="{D901E4D0-F80F-ECA5-8BFA-E5DCA3D930DE}"/>
              </a:ext>
            </a:extLst>
          </p:cNvPr>
          <p:cNvPicPr>
            <a:picLocks noChangeAspect="1"/>
          </p:cNvPicPr>
          <p:nvPr/>
        </p:nvPicPr>
        <p:blipFill>
          <a:blip r:embed="rId11">
            <a:duotone>
              <a:srgbClr val="4472C4">
                <a:shade val="45000"/>
                <a:satMod val="135000"/>
              </a:srgbClr>
              <a:prstClr val="white"/>
            </a:duotone>
            <a:extLst>
              <a:ext uri="{28A0092B-C50C-407E-A947-70E740481C1C}">
                <a14:useLocalDpi xmlns:a14="http://schemas.microsoft.com/office/drawing/2010/main" val="0"/>
              </a:ext>
            </a:extLst>
          </a:blip>
          <a:stretch>
            <a:fillRect/>
          </a:stretch>
        </p:blipFill>
        <p:spPr>
          <a:xfrm>
            <a:off x="2171208" y="4674180"/>
            <a:ext cx="594649" cy="567169"/>
          </a:xfrm>
          <a:prstGeom prst="rect">
            <a:avLst/>
          </a:prstGeom>
        </p:spPr>
      </p:pic>
      <p:cxnSp>
        <p:nvCxnSpPr>
          <p:cNvPr id="10" name="Gerade Verbindung mit Pfeil 61">
            <a:extLst>
              <a:ext uri="{FF2B5EF4-FFF2-40B4-BE49-F238E27FC236}">
                <a16:creationId xmlns:a16="http://schemas.microsoft.com/office/drawing/2014/main" id="{32EF81A2-D987-0376-5318-AED69201BC1D}"/>
              </a:ext>
            </a:extLst>
          </p:cNvPr>
          <p:cNvCxnSpPr>
            <a:cxnSpLocks/>
            <a:stCxn id="6" idx="3"/>
          </p:cNvCxnSpPr>
          <p:nvPr/>
        </p:nvCxnSpPr>
        <p:spPr>
          <a:xfrm flipV="1">
            <a:off x="7156399" y="5121388"/>
            <a:ext cx="2761324" cy="384001"/>
          </a:xfrm>
          <a:prstGeom prst="straightConnector1">
            <a:avLst/>
          </a:prstGeom>
          <a:noFill/>
          <a:ln w="19050" cap="flat" cmpd="sng" algn="ctr">
            <a:solidFill>
              <a:srgbClr val="FF7C80"/>
            </a:solidFill>
            <a:prstDash val="solid"/>
            <a:miter lim="800000"/>
            <a:headEnd type="triangle" w="med" len="med"/>
            <a:tailEnd type="triangle" w="med" len="med"/>
          </a:ln>
          <a:effectLst/>
        </p:spPr>
      </p:cxnSp>
      <p:sp>
        <p:nvSpPr>
          <p:cNvPr id="1026" name="Textfeld 79">
            <a:extLst>
              <a:ext uri="{FF2B5EF4-FFF2-40B4-BE49-F238E27FC236}">
                <a16:creationId xmlns:a16="http://schemas.microsoft.com/office/drawing/2014/main" id="{45F594CD-ED9D-FF7C-BCFB-DAF173E10E3D}"/>
              </a:ext>
            </a:extLst>
          </p:cNvPr>
          <p:cNvSpPr txBox="1"/>
          <p:nvPr/>
        </p:nvSpPr>
        <p:spPr>
          <a:xfrm>
            <a:off x="9439855" y="3768316"/>
            <a:ext cx="1004195" cy="230832"/>
          </a:xfrm>
          <a:prstGeom prst="rect">
            <a:avLst/>
          </a:prstGeom>
          <a:noFill/>
        </p:spPr>
        <p:txBody>
          <a:bodyPr wrap="square" rtlCol="0">
            <a:spAutoFit/>
          </a:bodyPr>
          <a:lstStyle/>
          <a:p>
            <a:pPr>
              <a:defRPr/>
            </a:pPr>
            <a:r>
              <a:rPr lang="en-US" sz="900" kern="0">
                <a:solidFill>
                  <a:schemeClr val="accent1">
                    <a:lumMod val="75000"/>
                  </a:schemeClr>
                </a:solidFill>
              </a:rPr>
              <a:t>Base Station-TN</a:t>
            </a:r>
          </a:p>
        </p:txBody>
      </p:sp>
      <p:sp>
        <p:nvSpPr>
          <p:cNvPr id="1035" name="Textfeld 79">
            <a:extLst>
              <a:ext uri="{FF2B5EF4-FFF2-40B4-BE49-F238E27FC236}">
                <a16:creationId xmlns:a16="http://schemas.microsoft.com/office/drawing/2014/main" id="{A69E8E96-AC48-7E9A-FF80-AD6737CBE249}"/>
              </a:ext>
            </a:extLst>
          </p:cNvPr>
          <p:cNvSpPr txBox="1"/>
          <p:nvPr/>
        </p:nvSpPr>
        <p:spPr>
          <a:xfrm>
            <a:off x="2622612" y="4418823"/>
            <a:ext cx="769591" cy="369332"/>
          </a:xfrm>
          <a:prstGeom prst="rect">
            <a:avLst/>
          </a:prstGeom>
          <a:noFill/>
        </p:spPr>
        <p:txBody>
          <a:bodyPr wrap="square" rtlCol="0">
            <a:spAutoFit/>
          </a:bodyPr>
          <a:lstStyle/>
          <a:p>
            <a:pPr>
              <a:defRPr/>
            </a:pPr>
            <a:r>
              <a:rPr lang="en-US" sz="900" kern="0">
                <a:solidFill>
                  <a:schemeClr val="accent1">
                    <a:lumMod val="75000"/>
                  </a:schemeClr>
                </a:solidFill>
              </a:rPr>
              <a:t>Ground Station-TN</a:t>
            </a:r>
          </a:p>
        </p:txBody>
      </p:sp>
      <p:sp>
        <p:nvSpPr>
          <p:cNvPr id="41" name="Rechteck: abgerundete Ecken 40">
            <a:extLst>
              <a:ext uri="{FF2B5EF4-FFF2-40B4-BE49-F238E27FC236}">
                <a16:creationId xmlns:a16="http://schemas.microsoft.com/office/drawing/2014/main" id="{7F27B2C7-272E-4EAC-A4D1-242FC8AA55AA}"/>
              </a:ext>
            </a:extLst>
          </p:cNvPr>
          <p:cNvSpPr/>
          <p:nvPr/>
        </p:nvSpPr>
        <p:spPr>
          <a:xfrm>
            <a:off x="8051800" y="1130826"/>
            <a:ext cx="2521843" cy="720000"/>
          </a:xfrm>
          <a:prstGeom prst="round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a:solidFill>
                  <a:schemeClr val="tx1"/>
                </a:solidFill>
              </a:rPr>
              <a:t>User is served by terrestrial base station in urban areas</a:t>
            </a:r>
          </a:p>
        </p:txBody>
      </p:sp>
    </p:spTree>
    <p:extLst>
      <p:ext uri="{BB962C8B-B14F-4D97-AF65-F5344CB8AC3E}">
        <p14:creationId xmlns:p14="http://schemas.microsoft.com/office/powerpoint/2010/main" val="2869957903"/>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F36C4-37D2-9DED-943B-07BEB4CE6F2C}"/>
            </a:ext>
          </a:extLst>
        </p:cNvPr>
        <p:cNvGrpSpPr/>
        <p:nvPr/>
      </p:nvGrpSpPr>
      <p:grpSpPr>
        <a:xfrm>
          <a:off x="0" y="0"/>
          <a:ext cx="0" cy="0"/>
          <a:chOff x="0" y="0"/>
          <a:chExt cx="0" cy="0"/>
        </a:xfrm>
      </p:grpSpPr>
      <p:cxnSp>
        <p:nvCxnSpPr>
          <p:cNvPr id="15" name="Gerade Verbindung mit Pfeil 61">
            <a:extLst>
              <a:ext uri="{FF2B5EF4-FFF2-40B4-BE49-F238E27FC236}">
                <a16:creationId xmlns:a16="http://schemas.microsoft.com/office/drawing/2014/main" id="{61F221D4-E0F8-3FEA-7013-AB7F45802F3B}"/>
              </a:ext>
            </a:extLst>
          </p:cNvPr>
          <p:cNvCxnSpPr>
            <a:cxnSpLocks/>
            <a:stCxn id="14" idx="0"/>
          </p:cNvCxnSpPr>
          <p:nvPr/>
        </p:nvCxnSpPr>
        <p:spPr>
          <a:xfrm flipV="1">
            <a:off x="2468533" y="1802670"/>
            <a:ext cx="248773" cy="2871510"/>
          </a:xfrm>
          <a:prstGeom prst="straightConnector1">
            <a:avLst/>
          </a:prstGeom>
          <a:noFill/>
          <a:ln w="19050" cap="flat" cmpd="sng" algn="ctr">
            <a:solidFill>
              <a:srgbClr val="FF7C80"/>
            </a:solidFill>
            <a:prstDash val="solid"/>
            <a:miter lim="800000"/>
            <a:headEnd type="triangle" w="med" len="med"/>
            <a:tailEnd type="triangle" w="med" len="med"/>
          </a:ln>
          <a:effectLst/>
        </p:spPr>
      </p:cxnSp>
      <p:sp>
        <p:nvSpPr>
          <p:cNvPr id="2" name="Title 1">
            <a:extLst>
              <a:ext uri="{FF2B5EF4-FFF2-40B4-BE49-F238E27FC236}">
                <a16:creationId xmlns:a16="http://schemas.microsoft.com/office/drawing/2014/main" id="{E01FE521-56BF-92DC-EF67-0A61141415AC}"/>
              </a:ext>
            </a:extLst>
          </p:cNvPr>
          <p:cNvSpPr>
            <a:spLocks noGrp="1"/>
          </p:cNvSpPr>
          <p:nvPr>
            <p:ph type="title"/>
          </p:nvPr>
        </p:nvSpPr>
        <p:spPr/>
        <p:txBody>
          <a:bodyPr/>
          <a:lstStyle/>
          <a:p>
            <a:r>
              <a:rPr lang="en-US">
                <a:ea typeface="Microsoft YaHei"/>
                <a:cs typeface="Arial"/>
              </a:rPr>
              <a:t>3D Network</a:t>
            </a:r>
            <a:endParaRPr lang="en-US"/>
          </a:p>
        </p:txBody>
      </p:sp>
      <p:grpSp>
        <p:nvGrpSpPr>
          <p:cNvPr id="21" name="Group 20">
            <a:extLst>
              <a:ext uri="{FF2B5EF4-FFF2-40B4-BE49-F238E27FC236}">
                <a16:creationId xmlns:a16="http://schemas.microsoft.com/office/drawing/2014/main" id="{6F94DBAB-C99E-2AF7-80B2-D887D67ED94D}"/>
              </a:ext>
            </a:extLst>
          </p:cNvPr>
          <p:cNvGrpSpPr/>
          <p:nvPr/>
        </p:nvGrpSpPr>
        <p:grpSpPr>
          <a:xfrm>
            <a:off x="6982165" y="3722857"/>
            <a:ext cx="363940" cy="581068"/>
            <a:chOff x="8397385" y="4381221"/>
            <a:chExt cx="363940" cy="581068"/>
          </a:xfrm>
        </p:grpSpPr>
        <p:pic>
          <p:nvPicPr>
            <p:cNvPr id="9" name="Grafik 72">
              <a:extLst>
                <a:ext uri="{FF2B5EF4-FFF2-40B4-BE49-F238E27FC236}">
                  <a16:creationId xmlns:a16="http://schemas.microsoft.com/office/drawing/2014/main" id="{A4B14827-3D13-EEA0-DBB3-620E517D506B}"/>
                </a:ext>
              </a:extLst>
            </p:cNvPr>
            <p:cNvPicPr>
              <a:picLocks noChangeAspect="1"/>
            </p:cNvPicPr>
            <p:nvPr/>
          </p:nvPicPr>
          <p:blipFill rotWithShape="1">
            <a:blip r:embed="rId3" cstate="print">
              <a:duotone>
                <a:srgbClr val="4472C4">
                  <a:shade val="45000"/>
                  <a:satMod val="135000"/>
                </a:srgbClr>
                <a:prstClr val="white"/>
              </a:duotone>
              <a:extLst>
                <a:ext uri="{28A0092B-C50C-407E-A947-70E740481C1C}">
                  <a14:useLocalDpi xmlns:a14="http://schemas.microsoft.com/office/drawing/2010/main" val="0"/>
                </a:ext>
              </a:extLst>
            </a:blip>
            <a:srcRect l="28161" r="29513"/>
            <a:stretch/>
          </p:blipFill>
          <p:spPr>
            <a:xfrm>
              <a:off x="8397385" y="4381221"/>
              <a:ext cx="363940" cy="581068"/>
            </a:xfrm>
            <a:prstGeom prst="rect">
              <a:avLst/>
            </a:prstGeom>
          </p:spPr>
        </p:pic>
        <p:sp>
          <p:nvSpPr>
            <p:cNvPr id="16" name="TextBox 15">
              <a:extLst>
                <a:ext uri="{FF2B5EF4-FFF2-40B4-BE49-F238E27FC236}">
                  <a16:creationId xmlns:a16="http://schemas.microsoft.com/office/drawing/2014/main" id="{A6406FA4-7403-46A8-297A-1C0F4619D136}"/>
                </a:ext>
              </a:extLst>
            </p:cNvPr>
            <p:cNvSpPr txBox="1"/>
            <p:nvPr/>
          </p:nvSpPr>
          <p:spPr>
            <a:xfrm>
              <a:off x="8401931" y="4533255"/>
              <a:ext cx="359394" cy="276999"/>
            </a:xfrm>
            <a:prstGeom prst="rect">
              <a:avLst/>
            </a:prstGeom>
            <a:noFill/>
          </p:spPr>
          <p:txBody>
            <a:bodyPr wrap="none" rtlCol="0">
              <a:spAutoFit/>
            </a:bodyPr>
            <a:lstStyle/>
            <a:p>
              <a:r>
                <a:rPr lang="de-DE" sz="1200">
                  <a:solidFill>
                    <a:schemeClr val="accent1">
                      <a:lumMod val="75000"/>
                    </a:schemeClr>
                  </a:solidFill>
                </a:rPr>
                <a:t>UE</a:t>
              </a:r>
              <a:endParaRPr lang="de-DE" sz="1400">
                <a:solidFill>
                  <a:schemeClr val="accent1">
                    <a:lumMod val="75000"/>
                  </a:schemeClr>
                </a:solidFill>
              </a:endParaRPr>
            </a:p>
          </p:txBody>
        </p:sp>
      </p:grpSp>
      <p:pic>
        <p:nvPicPr>
          <p:cNvPr id="7" name="Graphic 6" descr="Satellite outline">
            <a:extLst>
              <a:ext uri="{FF2B5EF4-FFF2-40B4-BE49-F238E27FC236}">
                <a16:creationId xmlns:a16="http://schemas.microsoft.com/office/drawing/2014/main" id="{12C063C3-3125-3CE1-E921-B5690EC657D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552843" y="937606"/>
            <a:ext cx="614182" cy="614182"/>
          </a:xfrm>
          <a:prstGeom prst="rect">
            <a:avLst/>
          </a:prstGeom>
        </p:spPr>
      </p:pic>
      <p:sp>
        <p:nvSpPr>
          <p:cNvPr id="19" name="Textfeld 79">
            <a:extLst>
              <a:ext uri="{FF2B5EF4-FFF2-40B4-BE49-F238E27FC236}">
                <a16:creationId xmlns:a16="http://schemas.microsoft.com/office/drawing/2014/main" id="{1477956B-2F7B-A973-AA53-6656465719E9}"/>
              </a:ext>
            </a:extLst>
          </p:cNvPr>
          <p:cNvSpPr txBox="1"/>
          <p:nvPr/>
        </p:nvSpPr>
        <p:spPr>
          <a:xfrm>
            <a:off x="5453558" y="734606"/>
            <a:ext cx="805029" cy="230832"/>
          </a:xfrm>
          <a:prstGeom prst="rect">
            <a:avLst/>
          </a:prstGeom>
          <a:noFill/>
        </p:spPr>
        <p:txBody>
          <a:bodyPr wrap="none" rtlCol="0">
            <a:spAutoFit/>
          </a:bodyPr>
          <a:lstStyle/>
          <a:p>
            <a:pPr>
              <a:defRPr/>
            </a:pPr>
            <a:r>
              <a:rPr lang="en-US" sz="900" kern="0">
                <a:solidFill>
                  <a:schemeClr val="accent1">
                    <a:lumMod val="75000"/>
                  </a:schemeClr>
                </a:solidFill>
              </a:rPr>
              <a:t>Satellite-NTN</a:t>
            </a:r>
          </a:p>
        </p:txBody>
      </p:sp>
      <p:cxnSp>
        <p:nvCxnSpPr>
          <p:cNvPr id="20" name="Gerader Verbinder 45">
            <a:extLst>
              <a:ext uri="{FF2B5EF4-FFF2-40B4-BE49-F238E27FC236}">
                <a16:creationId xmlns:a16="http://schemas.microsoft.com/office/drawing/2014/main" id="{B6BB5384-197E-50A2-942D-F2B103C7011F}"/>
              </a:ext>
            </a:extLst>
          </p:cNvPr>
          <p:cNvCxnSpPr>
            <a:cxnSpLocks/>
          </p:cNvCxnSpPr>
          <p:nvPr/>
        </p:nvCxnSpPr>
        <p:spPr>
          <a:xfrm flipV="1">
            <a:off x="4261536" y="959191"/>
            <a:ext cx="1404057" cy="71905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3" name="Gerader Verbinder 46">
            <a:extLst>
              <a:ext uri="{FF2B5EF4-FFF2-40B4-BE49-F238E27FC236}">
                <a16:creationId xmlns:a16="http://schemas.microsoft.com/office/drawing/2014/main" id="{F5E94AF3-DC92-F9B2-BD18-0D4B059F717F}"/>
              </a:ext>
            </a:extLst>
          </p:cNvPr>
          <p:cNvCxnSpPr>
            <a:cxnSpLocks/>
          </p:cNvCxnSpPr>
          <p:nvPr/>
        </p:nvCxnSpPr>
        <p:spPr>
          <a:xfrm>
            <a:off x="5994444" y="959191"/>
            <a:ext cx="1463888" cy="770732"/>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7" name="Gerade Verbindung mit Pfeil 61">
            <a:extLst>
              <a:ext uri="{FF2B5EF4-FFF2-40B4-BE49-F238E27FC236}">
                <a16:creationId xmlns:a16="http://schemas.microsoft.com/office/drawing/2014/main" id="{A7414322-4784-E3D8-69C5-1D6E9FD7E22B}"/>
              </a:ext>
            </a:extLst>
          </p:cNvPr>
          <p:cNvCxnSpPr>
            <a:cxnSpLocks/>
          </p:cNvCxnSpPr>
          <p:nvPr/>
        </p:nvCxnSpPr>
        <p:spPr>
          <a:xfrm flipH="1">
            <a:off x="3219523" y="1239974"/>
            <a:ext cx="2346814" cy="199835"/>
          </a:xfrm>
          <a:prstGeom prst="straightConnector1">
            <a:avLst/>
          </a:prstGeom>
          <a:noFill/>
          <a:ln w="19050" cap="flat" cmpd="sng" algn="ctr">
            <a:solidFill>
              <a:srgbClr val="FF7C80"/>
            </a:solidFill>
            <a:prstDash val="solid"/>
            <a:miter lim="800000"/>
            <a:headEnd type="triangle" w="med" len="med"/>
            <a:tailEnd type="triangle" w="med" len="med"/>
          </a:ln>
          <a:effectLst/>
        </p:spPr>
      </p:cxnSp>
      <p:cxnSp>
        <p:nvCxnSpPr>
          <p:cNvPr id="47" name="Gerade Verbindung mit Pfeil 61">
            <a:extLst>
              <a:ext uri="{FF2B5EF4-FFF2-40B4-BE49-F238E27FC236}">
                <a16:creationId xmlns:a16="http://schemas.microsoft.com/office/drawing/2014/main" id="{6E197CFF-64BA-7D91-D33E-EDB7C708291B}"/>
              </a:ext>
            </a:extLst>
          </p:cNvPr>
          <p:cNvCxnSpPr>
            <a:cxnSpLocks/>
          </p:cNvCxnSpPr>
          <p:nvPr/>
        </p:nvCxnSpPr>
        <p:spPr>
          <a:xfrm flipH="1" flipV="1">
            <a:off x="5856073" y="1544067"/>
            <a:ext cx="1213702" cy="2198318"/>
          </a:xfrm>
          <a:prstGeom prst="straightConnector1">
            <a:avLst/>
          </a:prstGeom>
          <a:noFill/>
          <a:ln w="19050" cap="flat" cmpd="sng" algn="ctr">
            <a:solidFill>
              <a:srgbClr val="C00000"/>
            </a:solidFill>
            <a:prstDash val="solid"/>
            <a:miter lim="800000"/>
            <a:headEnd type="triangle" w="med" len="med"/>
            <a:tailEnd type="triangle" w="med" len="med"/>
          </a:ln>
          <a:effectLst/>
        </p:spPr>
      </p:cxnSp>
      <p:pic>
        <p:nvPicPr>
          <p:cNvPr id="51" name="Inhaltsplatzhalter 11">
            <a:extLst>
              <a:ext uri="{FF2B5EF4-FFF2-40B4-BE49-F238E27FC236}">
                <a16:creationId xmlns:a16="http://schemas.microsoft.com/office/drawing/2014/main" id="{37FEB595-EAEE-BC51-EAFB-01CEBD3CBDAE}"/>
              </a:ext>
            </a:extLst>
          </p:cNvPr>
          <p:cNvPicPr>
            <a:picLocks noChangeAspect="1"/>
          </p:cNvPicPr>
          <p:nvPr/>
        </p:nvPicPr>
        <p:blipFill rotWithShape="1">
          <a:blip r:embed="rId6">
            <a:duotone>
              <a:srgbClr val="4472C4">
                <a:shade val="45000"/>
                <a:satMod val="135000"/>
              </a:srgbClr>
              <a:prstClr val="white"/>
            </a:duotone>
            <a:extLst>
              <a:ext uri="{28A0092B-C50C-407E-A947-70E740481C1C}">
                <a14:useLocalDpi xmlns:a14="http://schemas.microsoft.com/office/drawing/2010/main" val="0"/>
              </a:ext>
            </a:extLst>
          </a:blip>
          <a:srcRect l="9403" t="2699" r="54756" b="8802"/>
          <a:stretch/>
        </p:blipFill>
        <p:spPr>
          <a:xfrm>
            <a:off x="824913" y="4118476"/>
            <a:ext cx="413382" cy="1169819"/>
          </a:xfrm>
          <a:prstGeom prst="rect">
            <a:avLst/>
          </a:prstGeom>
        </p:spPr>
      </p:pic>
      <p:pic>
        <p:nvPicPr>
          <p:cNvPr id="52" name="Inhaltsplatzhalter 11">
            <a:extLst>
              <a:ext uri="{FF2B5EF4-FFF2-40B4-BE49-F238E27FC236}">
                <a16:creationId xmlns:a16="http://schemas.microsoft.com/office/drawing/2014/main" id="{FD8A54F5-4F53-1EBD-FC46-2D3AB4715A80}"/>
              </a:ext>
            </a:extLst>
          </p:cNvPr>
          <p:cNvPicPr>
            <a:picLocks noChangeAspect="1"/>
          </p:cNvPicPr>
          <p:nvPr/>
        </p:nvPicPr>
        <p:blipFill rotWithShape="1">
          <a:blip r:embed="rId6">
            <a:duotone>
              <a:srgbClr val="4472C4">
                <a:shade val="45000"/>
                <a:satMod val="135000"/>
              </a:srgbClr>
              <a:prstClr val="white"/>
            </a:duotone>
            <a:extLst>
              <a:ext uri="{28A0092B-C50C-407E-A947-70E740481C1C}">
                <a14:useLocalDpi xmlns:a14="http://schemas.microsoft.com/office/drawing/2010/main" val="0"/>
              </a:ext>
            </a:extLst>
          </a:blip>
          <a:srcRect l="9403" t="2699" r="54756" b="8802"/>
          <a:stretch/>
        </p:blipFill>
        <p:spPr>
          <a:xfrm>
            <a:off x="9696855" y="4005776"/>
            <a:ext cx="413382" cy="1169819"/>
          </a:xfrm>
          <a:prstGeom prst="rect">
            <a:avLst/>
          </a:prstGeom>
        </p:spPr>
      </p:pic>
      <p:sp>
        <p:nvSpPr>
          <p:cNvPr id="53" name="Textfeld 79">
            <a:extLst>
              <a:ext uri="{FF2B5EF4-FFF2-40B4-BE49-F238E27FC236}">
                <a16:creationId xmlns:a16="http://schemas.microsoft.com/office/drawing/2014/main" id="{39205BC8-30AF-AEE9-1058-DFA03F237A90}"/>
              </a:ext>
            </a:extLst>
          </p:cNvPr>
          <p:cNvSpPr txBox="1"/>
          <p:nvPr/>
        </p:nvSpPr>
        <p:spPr>
          <a:xfrm>
            <a:off x="9477788" y="5092508"/>
            <a:ext cx="851515" cy="253916"/>
          </a:xfrm>
          <a:prstGeom prst="rect">
            <a:avLst/>
          </a:prstGeom>
          <a:noFill/>
        </p:spPr>
        <p:txBody>
          <a:bodyPr wrap="none" rtlCol="0">
            <a:spAutoFit/>
          </a:bodyPr>
          <a:lstStyle/>
          <a:p>
            <a:pPr>
              <a:defRPr/>
            </a:pPr>
            <a:r>
              <a:rPr lang="en-US" sz="1050" kern="0">
                <a:solidFill>
                  <a:schemeClr val="accent1">
                    <a:lumMod val="75000"/>
                  </a:schemeClr>
                </a:solidFill>
              </a:rPr>
              <a:t>Base station</a:t>
            </a:r>
          </a:p>
        </p:txBody>
      </p:sp>
      <p:pic>
        <p:nvPicPr>
          <p:cNvPr id="55" name="Grafik 29">
            <a:extLst>
              <a:ext uri="{FF2B5EF4-FFF2-40B4-BE49-F238E27FC236}">
                <a16:creationId xmlns:a16="http://schemas.microsoft.com/office/drawing/2014/main" id="{962342E2-3B82-324A-4CE2-3C5780BF47F3}"/>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7999054" y="4427861"/>
            <a:ext cx="272343" cy="574347"/>
          </a:xfrm>
          <a:prstGeom prst="rect">
            <a:avLst/>
          </a:prstGeom>
        </p:spPr>
      </p:pic>
      <p:pic>
        <p:nvPicPr>
          <p:cNvPr id="56" name="Grafik 30">
            <a:extLst>
              <a:ext uri="{FF2B5EF4-FFF2-40B4-BE49-F238E27FC236}">
                <a16:creationId xmlns:a16="http://schemas.microsoft.com/office/drawing/2014/main" id="{662E8E35-E0BD-9D45-C1B0-E4D0DBAFB14F}"/>
              </a:ext>
            </a:extLst>
          </p:cNvPr>
          <p:cNvPicPr>
            <a:picLocks noChangeAspect="1"/>
          </p:cNvPicPr>
          <p:nvPr/>
        </p:nvPicPr>
        <p:blipFill>
          <a:blip r:embed="rId8">
            <a:clrChange>
              <a:clrFrom>
                <a:srgbClr val="FFFFFA"/>
              </a:clrFrom>
              <a:clrTo>
                <a:srgbClr val="FFFFFA">
                  <a:alpha val="0"/>
                </a:srgbClr>
              </a:clrTo>
            </a:clrChange>
          </a:blip>
          <a:stretch>
            <a:fillRect/>
          </a:stretch>
        </p:blipFill>
        <p:spPr>
          <a:xfrm>
            <a:off x="6780863" y="4013391"/>
            <a:ext cx="303582" cy="783758"/>
          </a:xfrm>
          <a:prstGeom prst="rect">
            <a:avLst/>
          </a:prstGeom>
        </p:spPr>
      </p:pic>
      <p:pic>
        <p:nvPicPr>
          <p:cNvPr id="57" name="Grafik 31">
            <a:extLst>
              <a:ext uri="{FF2B5EF4-FFF2-40B4-BE49-F238E27FC236}">
                <a16:creationId xmlns:a16="http://schemas.microsoft.com/office/drawing/2014/main" id="{76A955D7-D9E1-7559-534F-EAB78A451F2C}"/>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7255472" y="3913185"/>
            <a:ext cx="417071" cy="852147"/>
          </a:xfrm>
          <a:prstGeom prst="rect">
            <a:avLst/>
          </a:prstGeom>
        </p:spPr>
      </p:pic>
      <p:pic>
        <p:nvPicPr>
          <p:cNvPr id="58" name="Grafik 32">
            <a:extLst>
              <a:ext uri="{FF2B5EF4-FFF2-40B4-BE49-F238E27FC236}">
                <a16:creationId xmlns:a16="http://schemas.microsoft.com/office/drawing/2014/main" id="{092D77F7-0E1C-B74B-E199-0A55C3556773}"/>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7033369" y="4285937"/>
            <a:ext cx="304132" cy="582960"/>
          </a:xfrm>
          <a:prstGeom prst="rect">
            <a:avLst/>
          </a:prstGeom>
        </p:spPr>
      </p:pic>
      <p:pic>
        <p:nvPicPr>
          <p:cNvPr id="59" name="Grafik 34">
            <a:extLst>
              <a:ext uri="{FF2B5EF4-FFF2-40B4-BE49-F238E27FC236}">
                <a16:creationId xmlns:a16="http://schemas.microsoft.com/office/drawing/2014/main" id="{5C000D02-FA52-A69B-7AD5-39F74A095350}"/>
              </a:ext>
            </a:extLst>
          </p:cNvPr>
          <p:cNvPicPr>
            <a:picLocks noChangeAspect="1"/>
          </p:cNvPicPr>
          <p:nvPr/>
        </p:nvPicPr>
        <p:blipFill>
          <a:blip r:embed="rId8">
            <a:clrChange>
              <a:clrFrom>
                <a:srgbClr val="FFFFFA"/>
              </a:clrFrom>
              <a:clrTo>
                <a:srgbClr val="FFFFFA">
                  <a:alpha val="0"/>
                </a:srgbClr>
              </a:clrTo>
            </a:clrChange>
          </a:blip>
          <a:stretch>
            <a:fillRect/>
          </a:stretch>
        </p:blipFill>
        <p:spPr>
          <a:xfrm>
            <a:off x="7601164" y="3874159"/>
            <a:ext cx="303582" cy="783758"/>
          </a:xfrm>
          <a:prstGeom prst="rect">
            <a:avLst/>
          </a:prstGeom>
        </p:spPr>
      </p:pic>
      <p:pic>
        <p:nvPicPr>
          <p:cNvPr id="60" name="Grafik 35">
            <a:extLst>
              <a:ext uri="{FF2B5EF4-FFF2-40B4-BE49-F238E27FC236}">
                <a16:creationId xmlns:a16="http://schemas.microsoft.com/office/drawing/2014/main" id="{47DE67D7-DC7F-62FC-A3E9-FF15CE4BC49E}"/>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8440782" y="4725422"/>
            <a:ext cx="523687" cy="395966"/>
          </a:xfrm>
          <a:prstGeom prst="rect">
            <a:avLst/>
          </a:prstGeom>
        </p:spPr>
      </p:pic>
      <p:pic>
        <p:nvPicPr>
          <p:cNvPr id="61" name="Grafik 63">
            <a:extLst>
              <a:ext uri="{FF2B5EF4-FFF2-40B4-BE49-F238E27FC236}">
                <a16:creationId xmlns:a16="http://schemas.microsoft.com/office/drawing/2014/main" id="{BA31228D-DC9A-F34D-24F6-51F4DEA5CBDF}"/>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7820601" y="4369271"/>
            <a:ext cx="219249" cy="447962"/>
          </a:xfrm>
          <a:prstGeom prst="rect">
            <a:avLst/>
          </a:prstGeom>
        </p:spPr>
      </p:pic>
      <p:pic>
        <p:nvPicPr>
          <p:cNvPr id="62" name="Inhaltsplatzhalter 11">
            <a:extLst>
              <a:ext uri="{FF2B5EF4-FFF2-40B4-BE49-F238E27FC236}">
                <a16:creationId xmlns:a16="http://schemas.microsoft.com/office/drawing/2014/main" id="{14FF3862-450D-1702-0F59-22D64B879EB8}"/>
              </a:ext>
            </a:extLst>
          </p:cNvPr>
          <p:cNvPicPr>
            <a:picLocks noChangeAspect="1"/>
          </p:cNvPicPr>
          <p:nvPr/>
        </p:nvPicPr>
        <p:blipFill rotWithShape="1">
          <a:blip r:embed="rId6">
            <a:duotone>
              <a:srgbClr val="4472C4">
                <a:shade val="45000"/>
                <a:satMod val="135000"/>
              </a:srgbClr>
              <a:prstClr val="white"/>
            </a:duotone>
            <a:extLst>
              <a:ext uri="{28A0092B-C50C-407E-A947-70E740481C1C}">
                <a14:useLocalDpi xmlns:a14="http://schemas.microsoft.com/office/drawing/2010/main" val="0"/>
              </a:ext>
            </a:extLst>
          </a:blip>
          <a:srcRect l="9403" t="2699" r="54756" b="8802"/>
          <a:stretch/>
        </p:blipFill>
        <p:spPr>
          <a:xfrm>
            <a:off x="9703117" y="4001501"/>
            <a:ext cx="413382" cy="1169819"/>
          </a:xfrm>
          <a:prstGeom prst="rect">
            <a:avLst/>
          </a:prstGeom>
        </p:spPr>
      </p:pic>
      <p:sp>
        <p:nvSpPr>
          <p:cNvPr id="63" name="Textfeld 79">
            <a:extLst>
              <a:ext uri="{FF2B5EF4-FFF2-40B4-BE49-F238E27FC236}">
                <a16:creationId xmlns:a16="http://schemas.microsoft.com/office/drawing/2014/main" id="{EC4C26E1-163D-B974-4ADB-AD07A5F188CA}"/>
              </a:ext>
            </a:extLst>
          </p:cNvPr>
          <p:cNvSpPr txBox="1"/>
          <p:nvPr/>
        </p:nvSpPr>
        <p:spPr>
          <a:xfrm>
            <a:off x="9477788" y="5092508"/>
            <a:ext cx="851515" cy="253916"/>
          </a:xfrm>
          <a:prstGeom prst="rect">
            <a:avLst/>
          </a:prstGeom>
          <a:noFill/>
        </p:spPr>
        <p:txBody>
          <a:bodyPr wrap="none" rtlCol="0">
            <a:spAutoFit/>
          </a:bodyPr>
          <a:lstStyle/>
          <a:p>
            <a:pPr>
              <a:defRPr/>
            </a:pPr>
            <a:r>
              <a:rPr lang="en-US" sz="1050" kern="0">
                <a:solidFill>
                  <a:schemeClr val="accent1">
                    <a:lumMod val="75000"/>
                  </a:schemeClr>
                </a:solidFill>
              </a:rPr>
              <a:t>Base station</a:t>
            </a:r>
          </a:p>
        </p:txBody>
      </p:sp>
      <p:cxnSp>
        <p:nvCxnSpPr>
          <p:cNvPr id="64" name="Gerader Verbinder 45">
            <a:extLst>
              <a:ext uri="{FF2B5EF4-FFF2-40B4-BE49-F238E27FC236}">
                <a16:creationId xmlns:a16="http://schemas.microsoft.com/office/drawing/2014/main" id="{880BDA65-BA6D-77E7-5A34-1906B0F05C08}"/>
              </a:ext>
            </a:extLst>
          </p:cNvPr>
          <p:cNvCxnSpPr>
            <a:cxnSpLocks/>
          </p:cNvCxnSpPr>
          <p:nvPr/>
        </p:nvCxnSpPr>
        <p:spPr>
          <a:xfrm flipV="1">
            <a:off x="8392678" y="4006371"/>
            <a:ext cx="1404057" cy="71905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Gerader Verbinder 46">
            <a:extLst>
              <a:ext uri="{FF2B5EF4-FFF2-40B4-BE49-F238E27FC236}">
                <a16:creationId xmlns:a16="http://schemas.microsoft.com/office/drawing/2014/main" id="{D098D0AB-9D3F-B490-C421-FA13CAA67FD3}"/>
              </a:ext>
            </a:extLst>
          </p:cNvPr>
          <p:cNvCxnSpPr>
            <a:cxnSpLocks/>
          </p:cNvCxnSpPr>
          <p:nvPr/>
        </p:nvCxnSpPr>
        <p:spPr>
          <a:xfrm>
            <a:off x="10077481" y="4019441"/>
            <a:ext cx="765142" cy="511790"/>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66" name="Freihandform: Form 25">
            <a:extLst>
              <a:ext uri="{FF2B5EF4-FFF2-40B4-BE49-F238E27FC236}">
                <a16:creationId xmlns:a16="http://schemas.microsoft.com/office/drawing/2014/main" id="{9F3F1B7A-C435-F225-8E5D-BE1A381D3FB0}"/>
              </a:ext>
            </a:extLst>
          </p:cNvPr>
          <p:cNvSpPr/>
          <p:nvPr/>
        </p:nvSpPr>
        <p:spPr>
          <a:xfrm>
            <a:off x="5426493" y="3991947"/>
            <a:ext cx="5434628" cy="1453919"/>
          </a:xfrm>
          <a:custGeom>
            <a:avLst/>
            <a:gdLst>
              <a:gd name="connsiteX0" fmla="*/ 354439 w 6305329"/>
              <a:gd name="connsiteY0" fmla="*/ 1307886 h 1602253"/>
              <a:gd name="connsiteX1" fmla="*/ 685179 w 6305329"/>
              <a:gd name="connsiteY1" fmla="*/ 1230065 h 1602253"/>
              <a:gd name="connsiteX2" fmla="*/ 1054830 w 6305329"/>
              <a:gd name="connsiteY2" fmla="*/ 481035 h 1602253"/>
              <a:gd name="connsiteX3" fmla="*/ 1278566 w 6305329"/>
              <a:gd name="connsiteY3" fmla="*/ 4380 h 1602253"/>
              <a:gd name="connsiteX4" fmla="*/ 1570396 w 6305329"/>
              <a:gd name="connsiteY4" fmla="*/ 753409 h 1602253"/>
              <a:gd name="connsiteX5" fmla="*/ 2134600 w 6305329"/>
              <a:gd name="connsiteY5" fmla="*/ 918780 h 1602253"/>
              <a:gd name="connsiteX6" fmla="*/ 2562617 w 6305329"/>
              <a:gd name="connsiteY6" fmla="*/ 665860 h 1602253"/>
              <a:gd name="connsiteX7" fmla="*/ 3019817 w 6305329"/>
              <a:gd name="connsiteY7" fmla="*/ 977146 h 1602253"/>
              <a:gd name="connsiteX8" fmla="*/ 3807758 w 6305329"/>
              <a:gd name="connsiteY8" fmla="*/ 1220337 h 1602253"/>
              <a:gd name="connsiteX9" fmla="*/ 5850566 w 6305329"/>
              <a:gd name="connsiteY9" fmla="*/ 1278703 h 1602253"/>
              <a:gd name="connsiteX10" fmla="*/ 5801928 w 6305329"/>
              <a:gd name="connsiteY10" fmla="*/ 1580260 h 1602253"/>
              <a:gd name="connsiteX11" fmla="*/ 432260 w 6305329"/>
              <a:gd name="connsiteY11" fmla="*/ 1551077 h 1602253"/>
              <a:gd name="connsiteX12" fmla="*/ 354439 w 6305329"/>
              <a:gd name="connsiteY12" fmla="*/ 1307886 h 160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5329" h="1602253">
                <a:moveTo>
                  <a:pt x="354439" y="1307886"/>
                </a:moveTo>
                <a:cubicBezTo>
                  <a:pt x="396592" y="1254384"/>
                  <a:pt x="568447" y="1367874"/>
                  <a:pt x="685179" y="1230065"/>
                </a:cubicBezTo>
                <a:cubicBezTo>
                  <a:pt x="801911" y="1092256"/>
                  <a:pt x="955932" y="685316"/>
                  <a:pt x="1054830" y="481035"/>
                </a:cubicBezTo>
                <a:cubicBezTo>
                  <a:pt x="1153728" y="276754"/>
                  <a:pt x="1192638" y="-41016"/>
                  <a:pt x="1278566" y="4380"/>
                </a:cubicBezTo>
                <a:cubicBezTo>
                  <a:pt x="1364494" y="49776"/>
                  <a:pt x="1427724" y="601009"/>
                  <a:pt x="1570396" y="753409"/>
                </a:cubicBezTo>
                <a:cubicBezTo>
                  <a:pt x="1713068" y="905809"/>
                  <a:pt x="1969230" y="933371"/>
                  <a:pt x="2134600" y="918780"/>
                </a:cubicBezTo>
                <a:cubicBezTo>
                  <a:pt x="2299970" y="904189"/>
                  <a:pt x="2415081" y="656132"/>
                  <a:pt x="2562617" y="665860"/>
                </a:cubicBezTo>
                <a:cubicBezTo>
                  <a:pt x="2710153" y="675588"/>
                  <a:pt x="2812294" y="884733"/>
                  <a:pt x="3019817" y="977146"/>
                </a:cubicBezTo>
                <a:cubicBezTo>
                  <a:pt x="3227341" y="1069559"/>
                  <a:pt x="3335967" y="1170078"/>
                  <a:pt x="3807758" y="1220337"/>
                </a:cubicBezTo>
                <a:cubicBezTo>
                  <a:pt x="4279549" y="1270596"/>
                  <a:pt x="5518204" y="1218716"/>
                  <a:pt x="5850566" y="1278703"/>
                </a:cubicBezTo>
                <a:cubicBezTo>
                  <a:pt x="6182928" y="1338690"/>
                  <a:pt x="6704979" y="1534864"/>
                  <a:pt x="5801928" y="1580260"/>
                </a:cubicBezTo>
                <a:cubicBezTo>
                  <a:pt x="4898877" y="1625656"/>
                  <a:pt x="1333690" y="1593230"/>
                  <a:pt x="432260" y="1551077"/>
                </a:cubicBezTo>
                <a:cubicBezTo>
                  <a:pt x="-469170" y="1508924"/>
                  <a:pt x="312286" y="1361388"/>
                  <a:pt x="354439" y="1307886"/>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3"/>
          </a:p>
        </p:txBody>
      </p:sp>
      <p:pic>
        <p:nvPicPr>
          <p:cNvPr id="67" name="Grafik 30">
            <a:extLst>
              <a:ext uri="{FF2B5EF4-FFF2-40B4-BE49-F238E27FC236}">
                <a16:creationId xmlns:a16="http://schemas.microsoft.com/office/drawing/2014/main" id="{F52D68E2-766C-8906-60E0-4B774A3EEFAB}"/>
              </a:ext>
            </a:extLst>
          </p:cNvPr>
          <p:cNvPicPr>
            <a:picLocks noChangeAspect="1"/>
          </p:cNvPicPr>
          <p:nvPr/>
        </p:nvPicPr>
        <p:blipFill>
          <a:blip r:embed="rId8">
            <a:clrChange>
              <a:clrFrom>
                <a:srgbClr val="FFFFFA"/>
              </a:clrFrom>
              <a:clrTo>
                <a:srgbClr val="FFFFFA">
                  <a:alpha val="0"/>
                </a:srgbClr>
              </a:clrTo>
            </a:clrChange>
          </a:blip>
          <a:stretch>
            <a:fillRect/>
          </a:stretch>
        </p:blipFill>
        <p:spPr>
          <a:xfrm>
            <a:off x="5275242" y="4013391"/>
            <a:ext cx="303582" cy="783758"/>
          </a:xfrm>
          <a:prstGeom prst="rect">
            <a:avLst/>
          </a:prstGeom>
        </p:spPr>
      </p:pic>
      <p:pic>
        <p:nvPicPr>
          <p:cNvPr id="68" name="Grafik 31">
            <a:extLst>
              <a:ext uri="{FF2B5EF4-FFF2-40B4-BE49-F238E27FC236}">
                <a16:creationId xmlns:a16="http://schemas.microsoft.com/office/drawing/2014/main" id="{8884D87B-B674-5734-A7EE-3F94BB36AB45}"/>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5749851" y="3913185"/>
            <a:ext cx="417071" cy="852147"/>
          </a:xfrm>
          <a:prstGeom prst="rect">
            <a:avLst/>
          </a:prstGeom>
        </p:spPr>
      </p:pic>
      <p:pic>
        <p:nvPicPr>
          <p:cNvPr id="69" name="Grafik 32">
            <a:extLst>
              <a:ext uri="{FF2B5EF4-FFF2-40B4-BE49-F238E27FC236}">
                <a16:creationId xmlns:a16="http://schemas.microsoft.com/office/drawing/2014/main" id="{8A5A1198-94BC-8BD0-E0E6-BF1CBA723FCD}"/>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5527748" y="4285937"/>
            <a:ext cx="304132" cy="582960"/>
          </a:xfrm>
          <a:prstGeom prst="rect">
            <a:avLst/>
          </a:prstGeom>
        </p:spPr>
      </p:pic>
      <p:sp>
        <p:nvSpPr>
          <p:cNvPr id="70" name="Freihandform: Form 25">
            <a:extLst>
              <a:ext uri="{FF2B5EF4-FFF2-40B4-BE49-F238E27FC236}">
                <a16:creationId xmlns:a16="http://schemas.microsoft.com/office/drawing/2014/main" id="{778E8D34-7602-0A76-9A6F-F6DA19B8CD65}"/>
              </a:ext>
            </a:extLst>
          </p:cNvPr>
          <p:cNvSpPr/>
          <p:nvPr/>
        </p:nvSpPr>
        <p:spPr>
          <a:xfrm>
            <a:off x="3920872" y="3991947"/>
            <a:ext cx="5434628" cy="1453919"/>
          </a:xfrm>
          <a:custGeom>
            <a:avLst/>
            <a:gdLst>
              <a:gd name="connsiteX0" fmla="*/ 354439 w 6305329"/>
              <a:gd name="connsiteY0" fmla="*/ 1307886 h 1602253"/>
              <a:gd name="connsiteX1" fmla="*/ 685179 w 6305329"/>
              <a:gd name="connsiteY1" fmla="*/ 1230065 h 1602253"/>
              <a:gd name="connsiteX2" fmla="*/ 1054830 w 6305329"/>
              <a:gd name="connsiteY2" fmla="*/ 481035 h 1602253"/>
              <a:gd name="connsiteX3" fmla="*/ 1278566 w 6305329"/>
              <a:gd name="connsiteY3" fmla="*/ 4380 h 1602253"/>
              <a:gd name="connsiteX4" fmla="*/ 1570396 w 6305329"/>
              <a:gd name="connsiteY4" fmla="*/ 753409 h 1602253"/>
              <a:gd name="connsiteX5" fmla="*/ 2134600 w 6305329"/>
              <a:gd name="connsiteY5" fmla="*/ 918780 h 1602253"/>
              <a:gd name="connsiteX6" fmla="*/ 2562617 w 6305329"/>
              <a:gd name="connsiteY6" fmla="*/ 665860 h 1602253"/>
              <a:gd name="connsiteX7" fmla="*/ 3019817 w 6305329"/>
              <a:gd name="connsiteY7" fmla="*/ 977146 h 1602253"/>
              <a:gd name="connsiteX8" fmla="*/ 3807758 w 6305329"/>
              <a:gd name="connsiteY8" fmla="*/ 1220337 h 1602253"/>
              <a:gd name="connsiteX9" fmla="*/ 5850566 w 6305329"/>
              <a:gd name="connsiteY9" fmla="*/ 1278703 h 1602253"/>
              <a:gd name="connsiteX10" fmla="*/ 5801928 w 6305329"/>
              <a:gd name="connsiteY10" fmla="*/ 1580260 h 1602253"/>
              <a:gd name="connsiteX11" fmla="*/ 432260 w 6305329"/>
              <a:gd name="connsiteY11" fmla="*/ 1551077 h 1602253"/>
              <a:gd name="connsiteX12" fmla="*/ 354439 w 6305329"/>
              <a:gd name="connsiteY12" fmla="*/ 1307886 h 160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5329" h="1602253">
                <a:moveTo>
                  <a:pt x="354439" y="1307886"/>
                </a:moveTo>
                <a:cubicBezTo>
                  <a:pt x="396592" y="1254384"/>
                  <a:pt x="568447" y="1367874"/>
                  <a:pt x="685179" y="1230065"/>
                </a:cubicBezTo>
                <a:cubicBezTo>
                  <a:pt x="801911" y="1092256"/>
                  <a:pt x="955932" y="685316"/>
                  <a:pt x="1054830" y="481035"/>
                </a:cubicBezTo>
                <a:cubicBezTo>
                  <a:pt x="1153728" y="276754"/>
                  <a:pt x="1192638" y="-41016"/>
                  <a:pt x="1278566" y="4380"/>
                </a:cubicBezTo>
                <a:cubicBezTo>
                  <a:pt x="1364494" y="49776"/>
                  <a:pt x="1427724" y="601009"/>
                  <a:pt x="1570396" y="753409"/>
                </a:cubicBezTo>
                <a:cubicBezTo>
                  <a:pt x="1713068" y="905809"/>
                  <a:pt x="1969230" y="933371"/>
                  <a:pt x="2134600" y="918780"/>
                </a:cubicBezTo>
                <a:cubicBezTo>
                  <a:pt x="2299970" y="904189"/>
                  <a:pt x="2415081" y="656132"/>
                  <a:pt x="2562617" y="665860"/>
                </a:cubicBezTo>
                <a:cubicBezTo>
                  <a:pt x="2710153" y="675588"/>
                  <a:pt x="2812294" y="884733"/>
                  <a:pt x="3019817" y="977146"/>
                </a:cubicBezTo>
                <a:cubicBezTo>
                  <a:pt x="3227341" y="1069559"/>
                  <a:pt x="3335967" y="1170078"/>
                  <a:pt x="3807758" y="1220337"/>
                </a:cubicBezTo>
                <a:cubicBezTo>
                  <a:pt x="4279549" y="1270596"/>
                  <a:pt x="5518204" y="1218716"/>
                  <a:pt x="5850566" y="1278703"/>
                </a:cubicBezTo>
                <a:cubicBezTo>
                  <a:pt x="6182928" y="1338690"/>
                  <a:pt x="6704979" y="1534864"/>
                  <a:pt x="5801928" y="1580260"/>
                </a:cubicBezTo>
                <a:cubicBezTo>
                  <a:pt x="4898877" y="1625656"/>
                  <a:pt x="1333690" y="1593230"/>
                  <a:pt x="432260" y="1551077"/>
                </a:cubicBezTo>
                <a:cubicBezTo>
                  <a:pt x="-469170" y="1508924"/>
                  <a:pt x="312286" y="1361388"/>
                  <a:pt x="354439" y="1307886"/>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3"/>
          </a:p>
        </p:txBody>
      </p:sp>
      <p:sp>
        <p:nvSpPr>
          <p:cNvPr id="71" name="Freihandform: Form 25">
            <a:extLst>
              <a:ext uri="{FF2B5EF4-FFF2-40B4-BE49-F238E27FC236}">
                <a16:creationId xmlns:a16="http://schemas.microsoft.com/office/drawing/2014/main" id="{34F825AE-9F9A-1BFA-0BC6-7EE7482762CE}"/>
              </a:ext>
            </a:extLst>
          </p:cNvPr>
          <p:cNvSpPr/>
          <p:nvPr/>
        </p:nvSpPr>
        <p:spPr>
          <a:xfrm flipH="1">
            <a:off x="202165" y="4466837"/>
            <a:ext cx="5476321" cy="985544"/>
          </a:xfrm>
          <a:custGeom>
            <a:avLst/>
            <a:gdLst>
              <a:gd name="connsiteX0" fmla="*/ 354439 w 6305329"/>
              <a:gd name="connsiteY0" fmla="*/ 1307886 h 1602253"/>
              <a:gd name="connsiteX1" fmla="*/ 685179 w 6305329"/>
              <a:gd name="connsiteY1" fmla="*/ 1230065 h 1602253"/>
              <a:gd name="connsiteX2" fmla="*/ 1054830 w 6305329"/>
              <a:gd name="connsiteY2" fmla="*/ 481035 h 1602253"/>
              <a:gd name="connsiteX3" fmla="*/ 1278566 w 6305329"/>
              <a:gd name="connsiteY3" fmla="*/ 4380 h 1602253"/>
              <a:gd name="connsiteX4" fmla="*/ 1570396 w 6305329"/>
              <a:gd name="connsiteY4" fmla="*/ 753409 h 1602253"/>
              <a:gd name="connsiteX5" fmla="*/ 2134600 w 6305329"/>
              <a:gd name="connsiteY5" fmla="*/ 918780 h 1602253"/>
              <a:gd name="connsiteX6" fmla="*/ 2562617 w 6305329"/>
              <a:gd name="connsiteY6" fmla="*/ 665860 h 1602253"/>
              <a:gd name="connsiteX7" fmla="*/ 3019817 w 6305329"/>
              <a:gd name="connsiteY7" fmla="*/ 977146 h 1602253"/>
              <a:gd name="connsiteX8" fmla="*/ 3807758 w 6305329"/>
              <a:gd name="connsiteY8" fmla="*/ 1220337 h 1602253"/>
              <a:gd name="connsiteX9" fmla="*/ 5850566 w 6305329"/>
              <a:gd name="connsiteY9" fmla="*/ 1278703 h 1602253"/>
              <a:gd name="connsiteX10" fmla="*/ 5801928 w 6305329"/>
              <a:gd name="connsiteY10" fmla="*/ 1580260 h 1602253"/>
              <a:gd name="connsiteX11" fmla="*/ 432260 w 6305329"/>
              <a:gd name="connsiteY11" fmla="*/ 1551077 h 1602253"/>
              <a:gd name="connsiteX12" fmla="*/ 354439 w 6305329"/>
              <a:gd name="connsiteY12" fmla="*/ 1307886 h 160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5329" h="1602253">
                <a:moveTo>
                  <a:pt x="354439" y="1307886"/>
                </a:moveTo>
                <a:cubicBezTo>
                  <a:pt x="396592" y="1254384"/>
                  <a:pt x="568447" y="1367874"/>
                  <a:pt x="685179" y="1230065"/>
                </a:cubicBezTo>
                <a:cubicBezTo>
                  <a:pt x="801911" y="1092256"/>
                  <a:pt x="955932" y="685316"/>
                  <a:pt x="1054830" y="481035"/>
                </a:cubicBezTo>
                <a:cubicBezTo>
                  <a:pt x="1153728" y="276754"/>
                  <a:pt x="1192638" y="-41016"/>
                  <a:pt x="1278566" y="4380"/>
                </a:cubicBezTo>
                <a:cubicBezTo>
                  <a:pt x="1364494" y="49776"/>
                  <a:pt x="1427724" y="601009"/>
                  <a:pt x="1570396" y="753409"/>
                </a:cubicBezTo>
                <a:cubicBezTo>
                  <a:pt x="1713068" y="905809"/>
                  <a:pt x="1969230" y="933371"/>
                  <a:pt x="2134600" y="918780"/>
                </a:cubicBezTo>
                <a:cubicBezTo>
                  <a:pt x="2299970" y="904189"/>
                  <a:pt x="2415081" y="656132"/>
                  <a:pt x="2562617" y="665860"/>
                </a:cubicBezTo>
                <a:cubicBezTo>
                  <a:pt x="2710153" y="675588"/>
                  <a:pt x="2812294" y="884733"/>
                  <a:pt x="3019817" y="977146"/>
                </a:cubicBezTo>
                <a:cubicBezTo>
                  <a:pt x="3227341" y="1069559"/>
                  <a:pt x="3335967" y="1170078"/>
                  <a:pt x="3807758" y="1220337"/>
                </a:cubicBezTo>
                <a:cubicBezTo>
                  <a:pt x="4279549" y="1270596"/>
                  <a:pt x="5518204" y="1218716"/>
                  <a:pt x="5850566" y="1278703"/>
                </a:cubicBezTo>
                <a:cubicBezTo>
                  <a:pt x="6182928" y="1338690"/>
                  <a:pt x="6704979" y="1534864"/>
                  <a:pt x="5801928" y="1580260"/>
                </a:cubicBezTo>
                <a:cubicBezTo>
                  <a:pt x="4898877" y="1625656"/>
                  <a:pt x="1333690" y="1593230"/>
                  <a:pt x="432260" y="1551077"/>
                </a:cubicBezTo>
                <a:cubicBezTo>
                  <a:pt x="-469170" y="1508924"/>
                  <a:pt x="312286" y="1361388"/>
                  <a:pt x="354439" y="1307886"/>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3"/>
          </a:p>
        </p:txBody>
      </p:sp>
      <p:cxnSp>
        <p:nvCxnSpPr>
          <p:cNvPr id="73" name="Gerader Verbinder 45">
            <a:extLst>
              <a:ext uri="{FF2B5EF4-FFF2-40B4-BE49-F238E27FC236}">
                <a16:creationId xmlns:a16="http://schemas.microsoft.com/office/drawing/2014/main" id="{8D719CD2-F961-DD0B-ADAE-8A12ED7F1944}"/>
              </a:ext>
            </a:extLst>
          </p:cNvPr>
          <p:cNvCxnSpPr>
            <a:cxnSpLocks/>
          </p:cNvCxnSpPr>
          <p:nvPr/>
        </p:nvCxnSpPr>
        <p:spPr>
          <a:xfrm flipV="1">
            <a:off x="183667" y="4114200"/>
            <a:ext cx="753226" cy="41703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74" name="Gerader Verbinder 46">
            <a:extLst>
              <a:ext uri="{FF2B5EF4-FFF2-40B4-BE49-F238E27FC236}">
                <a16:creationId xmlns:a16="http://schemas.microsoft.com/office/drawing/2014/main" id="{76868B51-E73C-D8A7-2892-88ACDF4899AB}"/>
              </a:ext>
            </a:extLst>
          </p:cNvPr>
          <p:cNvCxnSpPr>
            <a:cxnSpLocks/>
          </p:cNvCxnSpPr>
          <p:nvPr/>
        </p:nvCxnSpPr>
        <p:spPr>
          <a:xfrm>
            <a:off x="1185348" y="4112479"/>
            <a:ext cx="750342" cy="418752"/>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B4016E1E-B489-CD68-3F47-8D5397D75ACB}"/>
              </a:ext>
            </a:extLst>
          </p:cNvPr>
          <p:cNvGrpSpPr/>
          <p:nvPr/>
        </p:nvGrpSpPr>
        <p:grpSpPr>
          <a:xfrm>
            <a:off x="6160098" y="1325643"/>
            <a:ext cx="428382" cy="476738"/>
            <a:chOff x="10154341" y="4421579"/>
            <a:chExt cx="428382" cy="476738"/>
          </a:xfrm>
        </p:grpSpPr>
        <p:sp>
          <p:nvSpPr>
            <p:cNvPr id="79" name="Rectangle: Rounded Corners 78">
              <a:extLst>
                <a:ext uri="{FF2B5EF4-FFF2-40B4-BE49-F238E27FC236}">
                  <a16:creationId xmlns:a16="http://schemas.microsoft.com/office/drawing/2014/main" id="{DC27DE3A-3F1E-FA29-5834-9A4A18930152}"/>
                </a:ext>
              </a:extLst>
            </p:cNvPr>
            <p:cNvSpPr/>
            <p:nvPr/>
          </p:nvSpPr>
          <p:spPr>
            <a:xfrm>
              <a:off x="10154342" y="4659948"/>
              <a:ext cx="428381" cy="238369"/>
            </a:xfrm>
            <a:prstGeom prst="round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800">
                  <a:solidFill>
                    <a:schemeClr val="accent1">
                      <a:lumMod val="75000"/>
                    </a:schemeClr>
                  </a:solidFill>
                </a:rPr>
                <a:t>gNB</a:t>
              </a:r>
              <a:endParaRPr lang="de-DE">
                <a:solidFill>
                  <a:schemeClr val="accent1">
                    <a:lumMod val="75000"/>
                  </a:schemeClr>
                </a:solidFill>
              </a:endParaRPr>
            </a:p>
          </p:txBody>
        </p:sp>
        <p:sp>
          <p:nvSpPr>
            <p:cNvPr id="80" name="Rectangle: Rounded Corners 79">
              <a:extLst>
                <a:ext uri="{FF2B5EF4-FFF2-40B4-BE49-F238E27FC236}">
                  <a16:creationId xmlns:a16="http://schemas.microsoft.com/office/drawing/2014/main" id="{EF3311D3-C9D6-265E-AA85-27270662DDB1}"/>
                </a:ext>
              </a:extLst>
            </p:cNvPr>
            <p:cNvSpPr/>
            <p:nvPr/>
          </p:nvSpPr>
          <p:spPr>
            <a:xfrm>
              <a:off x="10154341" y="4421579"/>
              <a:ext cx="428381" cy="238369"/>
            </a:xfrm>
            <a:prstGeom prst="round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800">
                  <a:solidFill>
                    <a:schemeClr val="accent1">
                      <a:lumMod val="75000"/>
                    </a:schemeClr>
                  </a:solidFill>
                </a:rPr>
                <a:t>UPF</a:t>
              </a:r>
              <a:endParaRPr lang="de-DE">
                <a:solidFill>
                  <a:schemeClr val="accent1">
                    <a:lumMod val="75000"/>
                  </a:schemeClr>
                </a:solidFill>
              </a:endParaRPr>
            </a:p>
          </p:txBody>
        </p:sp>
      </p:grpSp>
      <p:pic>
        <p:nvPicPr>
          <p:cNvPr id="3" name="Graphic 2" descr="Satellite outline">
            <a:extLst>
              <a:ext uri="{FF2B5EF4-FFF2-40B4-BE49-F238E27FC236}">
                <a16:creationId xmlns:a16="http://schemas.microsoft.com/office/drawing/2014/main" id="{B6F90D8C-A5B6-F8E8-4FCA-311E8BD0F8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17967" y="1216640"/>
            <a:ext cx="614182" cy="614182"/>
          </a:xfrm>
          <a:prstGeom prst="rect">
            <a:avLst/>
          </a:prstGeom>
        </p:spPr>
      </p:pic>
      <p:sp>
        <p:nvSpPr>
          <p:cNvPr id="4" name="Textfeld 79">
            <a:extLst>
              <a:ext uri="{FF2B5EF4-FFF2-40B4-BE49-F238E27FC236}">
                <a16:creationId xmlns:a16="http://schemas.microsoft.com/office/drawing/2014/main" id="{FAB29566-E513-465C-B630-A628FD78F2A2}"/>
              </a:ext>
            </a:extLst>
          </p:cNvPr>
          <p:cNvSpPr txBox="1"/>
          <p:nvPr/>
        </p:nvSpPr>
        <p:spPr>
          <a:xfrm>
            <a:off x="2537810" y="1015410"/>
            <a:ext cx="805029" cy="230832"/>
          </a:xfrm>
          <a:prstGeom prst="rect">
            <a:avLst/>
          </a:prstGeom>
          <a:noFill/>
        </p:spPr>
        <p:txBody>
          <a:bodyPr wrap="none" rtlCol="0">
            <a:spAutoFit/>
          </a:bodyPr>
          <a:lstStyle/>
          <a:p>
            <a:pPr>
              <a:defRPr/>
            </a:pPr>
            <a:r>
              <a:rPr lang="en-US" sz="900" kern="0">
                <a:solidFill>
                  <a:schemeClr val="accent1">
                    <a:lumMod val="75000"/>
                  </a:schemeClr>
                </a:solidFill>
              </a:rPr>
              <a:t>Satellite-NTN</a:t>
            </a:r>
          </a:p>
        </p:txBody>
      </p:sp>
      <p:cxnSp>
        <p:nvCxnSpPr>
          <p:cNvPr id="6" name="Gerader Verbinder 45">
            <a:extLst>
              <a:ext uri="{FF2B5EF4-FFF2-40B4-BE49-F238E27FC236}">
                <a16:creationId xmlns:a16="http://schemas.microsoft.com/office/drawing/2014/main" id="{AE6121F5-B684-910D-837E-B3B2F90414EA}"/>
              </a:ext>
            </a:extLst>
          </p:cNvPr>
          <p:cNvCxnSpPr>
            <a:cxnSpLocks/>
          </p:cNvCxnSpPr>
          <p:nvPr/>
        </p:nvCxnSpPr>
        <p:spPr>
          <a:xfrm flipV="1">
            <a:off x="1326660" y="1238224"/>
            <a:ext cx="1404057" cy="71905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2" name="Gerader Verbinder 46">
            <a:extLst>
              <a:ext uri="{FF2B5EF4-FFF2-40B4-BE49-F238E27FC236}">
                <a16:creationId xmlns:a16="http://schemas.microsoft.com/office/drawing/2014/main" id="{7E95612C-565E-59A0-E3F7-F2EC8A9BA014}"/>
              </a:ext>
            </a:extLst>
          </p:cNvPr>
          <p:cNvCxnSpPr>
            <a:cxnSpLocks/>
          </p:cNvCxnSpPr>
          <p:nvPr/>
        </p:nvCxnSpPr>
        <p:spPr>
          <a:xfrm>
            <a:off x="3059568" y="1238224"/>
            <a:ext cx="1463888" cy="770732"/>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pic>
        <p:nvPicPr>
          <p:cNvPr id="14" name="Grafik 13">
            <a:extLst>
              <a:ext uri="{FF2B5EF4-FFF2-40B4-BE49-F238E27FC236}">
                <a16:creationId xmlns:a16="http://schemas.microsoft.com/office/drawing/2014/main" id="{6F06A245-A41E-E1C9-BEA1-1D8BD2516419}"/>
              </a:ext>
            </a:extLst>
          </p:cNvPr>
          <p:cNvPicPr>
            <a:picLocks noChangeAspect="1"/>
          </p:cNvPicPr>
          <p:nvPr/>
        </p:nvPicPr>
        <p:blipFill>
          <a:blip r:embed="rId11">
            <a:duotone>
              <a:srgbClr val="4472C4">
                <a:shade val="45000"/>
                <a:satMod val="135000"/>
              </a:srgbClr>
              <a:prstClr val="white"/>
            </a:duotone>
            <a:extLst>
              <a:ext uri="{28A0092B-C50C-407E-A947-70E740481C1C}">
                <a14:useLocalDpi xmlns:a14="http://schemas.microsoft.com/office/drawing/2010/main" val="0"/>
              </a:ext>
            </a:extLst>
          </a:blip>
          <a:stretch>
            <a:fillRect/>
          </a:stretch>
        </p:blipFill>
        <p:spPr>
          <a:xfrm>
            <a:off x="2171208" y="4674180"/>
            <a:ext cx="594649" cy="567169"/>
          </a:xfrm>
          <a:prstGeom prst="rect">
            <a:avLst/>
          </a:prstGeom>
        </p:spPr>
      </p:pic>
      <p:sp>
        <p:nvSpPr>
          <p:cNvPr id="18" name="Rectangle: Rounded Corners 27">
            <a:extLst>
              <a:ext uri="{FF2B5EF4-FFF2-40B4-BE49-F238E27FC236}">
                <a16:creationId xmlns:a16="http://schemas.microsoft.com/office/drawing/2014/main" id="{E528431A-6D1E-42A1-51BB-45CF6B77F1A0}"/>
              </a:ext>
            </a:extLst>
          </p:cNvPr>
          <p:cNvSpPr/>
          <p:nvPr/>
        </p:nvSpPr>
        <p:spPr>
          <a:xfrm>
            <a:off x="4103054" y="1030874"/>
            <a:ext cx="428381" cy="238369"/>
          </a:xfrm>
          <a:prstGeom prst="roundRect">
            <a:avLst/>
          </a:prstGeom>
          <a:noFill/>
          <a:ln w="19050">
            <a:solidFill>
              <a:srgbClr val="FF7C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800">
                <a:solidFill>
                  <a:schemeClr val="accent1">
                    <a:lumMod val="75000"/>
                  </a:schemeClr>
                </a:solidFill>
              </a:rPr>
              <a:t>ISL</a:t>
            </a:r>
            <a:endParaRPr lang="de-DE">
              <a:solidFill>
                <a:schemeClr val="accent1">
                  <a:lumMod val="75000"/>
                </a:schemeClr>
              </a:solidFill>
            </a:endParaRPr>
          </a:p>
        </p:txBody>
      </p:sp>
      <p:sp>
        <p:nvSpPr>
          <p:cNvPr id="13" name="Rectangle 12">
            <a:extLst>
              <a:ext uri="{FF2B5EF4-FFF2-40B4-BE49-F238E27FC236}">
                <a16:creationId xmlns:a16="http://schemas.microsoft.com/office/drawing/2014/main" id="{766A21BB-D6D4-65E8-8D4B-A22132B28FB3}"/>
              </a:ext>
            </a:extLst>
          </p:cNvPr>
          <p:cNvSpPr/>
          <p:nvPr/>
        </p:nvSpPr>
        <p:spPr>
          <a:xfrm>
            <a:off x="202165" y="5347818"/>
            <a:ext cx="10640458" cy="307563"/>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err="1"/>
              <a:t>Terrestrial</a:t>
            </a:r>
            <a:r>
              <a:rPr lang="de-DE"/>
              <a:t> Core NW/Backend</a:t>
            </a:r>
          </a:p>
        </p:txBody>
      </p:sp>
      <p:pic>
        <p:nvPicPr>
          <p:cNvPr id="17" name="Graphic 16" descr="Database with solid fill">
            <a:extLst>
              <a:ext uri="{FF2B5EF4-FFF2-40B4-BE49-F238E27FC236}">
                <a16:creationId xmlns:a16="http://schemas.microsoft.com/office/drawing/2014/main" id="{5C79BD59-7AF9-543B-06AD-E8BB4DD1897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66875" y="5360627"/>
            <a:ext cx="289524" cy="289524"/>
          </a:xfrm>
          <a:prstGeom prst="rect">
            <a:avLst/>
          </a:prstGeom>
        </p:spPr>
      </p:pic>
      <p:pic>
        <p:nvPicPr>
          <p:cNvPr id="22" name="Graphic 21" descr="Database with solid fill">
            <a:extLst>
              <a:ext uri="{FF2B5EF4-FFF2-40B4-BE49-F238E27FC236}">
                <a16:creationId xmlns:a16="http://schemas.microsoft.com/office/drawing/2014/main" id="{B6B755FF-D922-0C07-5B54-B988777A4B5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879182" y="5360627"/>
            <a:ext cx="289524" cy="289524"/>
          </a:xfrm>
          <a:prstGeom prst="rect">
            <a:avLst/>
          </a:prstGeom>
        </p:spPr>
      </p:pic>
      <p:cxnSp>
        <p:nvCxnSpPr>
          <p:cNvPr id="26" name="Gerade Verbindung mit Pfeil 61">
            <a:extLst>
              <a:ext uri="{FF2B5EF4-FFF2-40B4-BE49-F238E27FC236}">
                <a16:creationId xmlns:a16="http://schemas.microsoft.com/office/drawing/2014/main" id="{9F5CC907-3045-2A6C-DC2F-99048B02054E}"/>
              </a:ext>
            </a:extLst>
          </p:cNvPr>
          <p:cNvCxnSpPr>
            <a:cxnSpLocks/>
            <a:stCxn id="22" idx="1"/>
            <a:endCxn id="71" idx="8"/>
          </p:cNvCxnSpPr>
          <p:nvPr/>
        </p:nvCxnSpPr>
        <p:spPr>
          <a:xfrm flipH="1" flipV="1">
            <a:off x="2371362" y="5217465"/>
            <a:ext cx="1507820" cy="287924"/>
          </a:xfrm>
          <a:prstGeom prst="straightConnector1">
            <a:avLst/>
          </a:prstGeom>
          <a:noFill/>
          <a:ln w="19050" cap="flat" cmpd="sng" algn="ctr">
            <a:solidFill>
              <a:srgbClr val="FF7C80"/>
            </a:solidFill>
            <a:prstDash val="solid"/>
            <a:miter lim="800000"/>
            <a:headEnd type="triangle" w="med" len="med"/>
            <a:tailEnd type="triangle" w="med" len="med"/>
          </a:ln>
          <a:effectLst/>
        </p:spPr>
      </p:cxnSp>
      <p:sp>
        <p:nvSpPr>
          <p:cNvPr id="44" name="Textfeld 79">
            <a:extLst>
              <a:ext uri="{FF2B5EF4-FFF2-40B4-BE49-F238E27FC236}">
                <a16:creationId xmlns:a16="http://schemas.microsoft.com/office/drawing/2014/main" id="{53D76EC1-4E0A-B376-38E1-3B4F9FA85CC0}"/>
              </a:ext>
            </a:extLst>
          </p:cNvPr>
          <p:cNvSpPr txBox="1"/>
          <p:nvPr/>
        </p:nvSpPr>
        <p:spPr>
          <a:xfrm>
            <a:off x="563207" y="3890360"/>
            <a:ext cx="1004195" cy="230832"/>
          </a:xfrm>
          <a:prstGeom prst="rect">
            <a:avLst/>
          </a:prstGeom>
          <a:noFill/>
        </p:spPr>
        <p:txBody>
          <a:bodyPr wrap="square" rtlCol="0">
            <a:spAutoFit/>
          </a:bodyPr>
          <a:lstStyle/>
          <a:p>
            <a:pPr>
              <a:defRPr/>
            </a:pPr>
            <a:r>
              <a:rPr lang="en-US" sz="900" kern="0">
                <a:solidFill>
                  <a:schemeClr val="accent1">
                    <a:lumMod val="75000"/>
                  </a:schemeClr>
                </a:solidFill>
              </a:rPr>
              <a:t>Base Station-TN</a:t>
            </a:r>
          </a:p>
        </p:txBody>
      </p:sp>
      <p:sp>
        <p:nvSpPr>
          <p:cNvPr id="45" name="Textfeld 79">
            <a:extLst>
              <a:ext uri="{FF2B5EF4-FFF2-40B4-BE49-F238E27FC236}">
                <a16:creationId xmlns:a16="http://schemas.microsoft.com/office/drawing/2014/main" id="{5B55DD25-08F1-E74F-60F2-9DA82A61A40D}"/>
              </a:ext>
            </a:extLst>
          </p:cNvPr>
          <p:cNvSpPr txBox="1"/>
          <p:nvPr/>
        </p:nvSpPr>
        <p:spPr>
          <a:xfrm>
            <a:off x="9439855" y="3768316"/>
            <a:ext cx="1004195" cy="230832"/>
          </a:xfrm>
          <a:prstGeom prst="rect">
            <a:avLst/>
          </a:prstGeom>
          <a:noFill/>
        </p:spPr>
        <p:txBody>
          <a:bodyPr wrap="square" rtlCol="0">
            <a:spAutoFit/>
          </a:bodyPr>
          <a:lstStyle/>
          <a:p>
            <a:pPr>
              <a:defRPr/>
            </a:pPr>
            <a:r>
              <a:rPr lang="en-US" sz="900" kern="0">
                <a:solidFill>
                  <a:schemeClr val="accent1">
                    <a:lumMod val="75000"/>
                  </a:schemeClr>
                </a:solidFill>
              </a:rPr>
              <a:t>Base Station-TN</a:t>
            </a:r>
          </a:p>
        </p:txBody>
      </p:sp>
      <p:sp>
        <p:nvSpPr>
          <p:cNvPr id="75" name="Textfeld 79">
            <a:extLst>
              <a:ext uri="{FF2B5EF4-FFF2-40B4-BE49-F238E27FC236}">
                <a16:creationId xmlns:a16="http://schemas.microsoft.com/office/drawing/2014/main" id="{9E03144B-A968-D735-0874-E84D380C5813}"/>
              </a:ext>
            </a:extLst>
          </p:cNvPr>
          <p:cNvSpPr txBox="1"/>
          <p:nvPr/>
        </p:nvSpPr>
        <p:spPr>
          <a:xfrm>
            <a:off x="2622612" y="4418823"/>
            <a:ext cx="769591" cy="369332"/>
          </a:xfrm>
          <a:prstGeom prst="rect">
            <a:avLst/>
          </a:prstGeom>
          <a:noFill/>
        </p:spPr>
        <p:txBody>
          <a:bodyPr wrap="square" rtlCol="0">
            <a:spAutoFit/>
          </a:bodyPr>
          <a:lstStyle/>
          <a:p>
            <a:pPr>
              <a:defRPr/>
            </a:pPr>
            <a:r>
              <a:rPr lang="en-US" sz="900" kern="0">
                <a:solidFill>
                  <a:schemeClr val="accent1">
                    <a:lumMod val="75000"/>
                  </a:schemeClr>
                </a:solidFill>
              </a:rPr>
              <a:t>Ground Station-TN</a:t>
            </a:r>
          </a:p>
        </p:txBody>
      </p:sp>
      <p:sp>
        <p:nvSpPr>
          <p:cNvPr id="54" name="Rechteck: abgerundete Ecken 53">
            <a:extLst>
              <a:ext uri="{FF2B5EF4-FFF2-40B4-BE49-F238E27FC236}">
                <a16:creationId xmlns:a16="http://schemas.microsoft.com/office/drawing/2014/main" id="{5A7633B7-CE97-437F-B9B5-D3BB9FE846D0}"/>
              </a:ext>
            </a:extLst>
          </p:cNvPr>
          <p:cNvSpPr/>
          <p:nvPr/>
        </p:nvSpPr>
        <p:spPr>
          <a:xfrm>
            <a:off x="8051800" y="1130826"/>
            <a:ext cx="2521843" cy="720000"/>
          </a:xfrm>
          <a:prstGeom prst="round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a:solidFill>
                  <a:schemeClr val="tx1"/>
                </a:solidFill>
              </a:rPr>
              <a:t>User is served by satellite base station in rural areas</a:t>
            </a:r>
          </a:p>
        </p:txBody>
      </p:sp>
      <p:sp>
        <p:nvSpPr>
          <p:cNvPr id="72" name="Rechteck: abgerundete Ecken 71">
            <a:extLst>
              <a:ext uri="{FF2B5EF4-FFF2-40B4-BE49-F238E27FC236}">
                <a16:creationId xmlns:a16="http://schemas.microsoft.com/office/drawing/2014/main" id="{F4842AB3-1B51-4DC7-B036-BBFACBDA8C97}"/>
              </a:ext>
            </a:extLst>
          </p:cNvPr>
          <p:cNvSpPr/>
          <p:nvPr/>
        </p:nvSpPr>
        <p:spPr>
          <a:xfrm>
            <a:off x="3250149" y="2337947"/>
            <a:ext cx="2744295" cy="720000"/>
          </a:xfrm>
          <a:prstGeom prst="round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a:solidFill>
                  <a:schemeClr val="tx1"/>
                </a:solidFill>
              </a:rPr>
              <a:t>Via inter-satellite link (ISL) the serving satellite is connected to the core network</a:t>
            </a:r>
          </a:p>
        </p:txBody>
      </p:sp>
    </p:spTree>
    <p:extLst>
      <p:ext uri="{BB962C8B-B14F-4D97-AF65-F5344CB8AC3E}">
        <p14:creationId xmlns:p14="http://schemas.microsoft.com/office/powerpoint/2010/main" val="1516448176"/>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9D7E54D8-57AB-4392-AACF-F44853FCE1A9}"/>
              </a:ext>
            </a:extLst>
          </p:cNvPr>
          <p:cNvPicPr>
            <a:picLocks noChangeAspect="1"/>
          </p:cNvPicPr>
          <p:nvPr/>
        </p:nvPicPr>
        <p:blipFill>
          <a:blip r:embed="rId2">
            <a:lum/>
            <a:alphaModFix/>
          </a:blip>
          <a:srcRect/>
          <a:stretch>
            <a:fillRect/>
          </a:stretch>
        </p:blipFill>
        <p:spPr>
          <a:xfrm>
            <a:off x="490538" y="231775"/>
            <a:ext cx="6230715" cy="1668462"/>
          </a:xfrm>
          <a:prstGeom prst="rect">
            <a:avLst/>
          </a:prstGeom>
          <a:noFill/>
          <a:ln>
            <a:noFill/>
          </a:ln>
        </p:spPr>
      </p:pic>
      <p:sp>
        <p:nvSpPr>
          <p:cNvPr id="20" name="Title 4">
            <a:extLst>
              <a:ext uri="{FF2B5EF4-FFF2-40B4-BE49-F238E27FC236}">
                <a16:creationId xmlns:a16="http://schemas.microsoft.com/office/drawing/2014/main" id="{582E010A-F894-4E59-917E-C194FB003A3C}"/>
              </a:ext>
            </a:extLst>
          </p:cNvPr>
          <p:cNvSpPr txBox="1">
            <a:spLocks/>
          </p:cNvSpPr>
          <p:nvPr/>
        </p:nvSpPr>
        <p:spPr>
          <a:xfrm>
            <a:off x="889803" y="3369647"/>
            <a:ext cx="7459522" cy="431813"/>
          </a:xfrm>
          <a:prstGeom prst="rect">
            <a:avLst/>
          </a:prstGeom>
        </p:spPr>
        <p:txBody>
          <a:bodyPr>
            <a:normAutofit fontScale="82500" lnSpcReduction="20000"/>
          </a:bodyPr>
          <a:lstStyle>
            <a:lvl1pPr algn="l" rtl="0" hangingPunct="0">
              <a:tabLst/>
              <a:defRPr lang="en-GB" sz="3200" b="1" i="0" u="none" strike="noStrike" kern="1200">
                <a:ln>
                  <a:noFill/>
                </a:ln>
                <a:solidFill>
                  <a:srgbClr val="183859"/>
                </a:solidFill>
                <a:latin typeface="+mj-lt"/>
                <a:ea typeface="Microsoft YaHei" pitchFamily="2"/>
                <a:cs typeface="Arial" pitchFamily="2"/>
              </a:defRPr>
            </a:lvl1pPr>
          </a:lstStyle>
          <a:p>
            <a:r>
              <a:rPr lang="en-US" sz="3267"/>
              <a:t>Holistic 3D Communication Networks for 6G</a:t>
            </a:r>
          </a:p>
        </p:txBody>
      </p:sp>
      <p:sp>
        <p:nvSpPr>
          <p:cNvPr id="21" name="Content Placeholder 5">
            <a:extLst>
              <a:ext uri="{FF2B5EF4-FFF2-40B4-BE49-F238E27FC236}">
                <a16:creationId xmlns:a16="http://schemas.microsoft.com/office/drawing/2014/main" id="{902FC662-FEBF-400C-A60F-8339D435811A}"/>
              </a:ext>
            </a:extLst>
          </p:cNvPr>
          <p:cNvSpPr txBox="1">
            <a:spLocks/>
          </p:cNvSpPr>
          <p:nvPr/>
        </p:nvSpPr>
        <p:spPr>
          <a:xfrm>
            <a:off x="827068" y="5249304"/>
            <a:ext cx="5620754" cy="492663"/>
          </a:xfrm>
          <a:prstGeom prst="rect">
            <a:avLst/>
          </a:prstGeom>
        </p:spPr>
        <p:txBody>
          <a:bodyPr>
            <a:normAutofit/>
          </a:bodyPr>
          <a:lstStyle>
            <a:lvl1pPr marL="252000" marR="0" indent="-252000" rtl="0" hangingPunct="0">
              <a:spcBef>
                <a:spcPts val="480"/>
              </a:spcBef>
              <a:spcAft>
                <a:spcPts val="0"/>
              </a:spcAft>
              <a:buFont typeface="Arial" panose="020B0604020202020204" pitchFamily="34" charset="0"/>
              <a:buChar char="•"/>
              <a:tabLst/>
              <a:defRPr lang="en-GB" sz="2000" b="0" i="0" u="none" strike="noStrike" kern="1200">
                <a:ln>
                  <a:noFill/>
                </a:ln>
                <a:latin typeface="+mn-lt"/>
                <a:ea typeface="Microsoft YaHei" pitchFamily="2"/>
                <a:cs typeface="Arial" pitchFamily="2"/>
              </a:defRPr>
            </a:lvl1pPr>
            <a:lvl2pPr marL="446088"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625475" indent="-179388"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804861" indent="-179388"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984250" indent="-179388"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598"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15" b="1">
                <a:solidFill>
                  <a:sysClr val="windowText" lastClr="000000"/>
                </a:solidFill>
              </a:rPr>
              <a:t>Research project from 2022 to 2025</a:t>
            </a:r>
            <a:endParaRPr lang="en-US" sz="1633">
              <a:solidFill>
                <a:sysClr val="windowText" lastClr="000000"/>
              </a:solidFill>
            </a:endParaRPr>
          </a:p>
        </p:txBody>
      </p:sp>
      <p:pic>
        <p:nvPicPr>
          <p:cNvPr id="22" name="Picture 9">
            <a:extLst>
              <a:ext uri="{FF2B5EF4-FFF2-40B4-BE49-F238E27FC236}">
                <a16:creationId xmlns:a16="http://schemas.microsoft.com/office/drawing/2014/main" id="{A80169F1-56FE-4BF5-9EFC-8C76BB6B41F9}"/>
              </a:ext>
            </a:extLst>
          </p:cNvPr>
          <p:cNvPicPr>
            <a:picLocks noChangeAspect="1"/>
          </p:cNvPicPr>
          <p:nvPr/>
        </p:nvPicPr>
        <p:blipFill>
          <a:blip r:embed="rId3">
            <a:clrChange>
              <a:clrFrom>
                <a:srgbClr val="FFFFFF"/>
              </a:clrFrom>
              <a:clrTo>
                <a:srgbClr val="FFFFFF">
                  <a:alpha val="0"/>
                </a:srgbClr>
              </a:clrTo>
            </a:clrChange>
            <a:lum/>
            <a:alphaModFix/>
          </a:blip>
          <a:srcRect/>
          <a:stretch>
            <a:fillRect/>
          </a:stretch>
        </p:blipFill>
        <p:spPr>
          <a:xfrm>
            <a:off x="5405647" y="1797784"/>
            <a:ext cx="1636386" cy="1335824"/>
          </a:xfrm>
          <a:prstGeom prst="rect">
            <a:avLst/>
          </a:prstGeom>
          <a:noFill/>
          <a:ln>
            <a:noFill/>
          </a:ln>
        </p:spPr>
      </p:pic>
      <p:sp>
        <p:nvSpPr>
          <p:cNvPr id="24" name="Title 4">
            <a:extLst>
              <a:ext uri="{FF2B5EF4-FFF2-40B4-BE49-F238E27FC236}">
                <a16:creationId xmlns:a16="http://schemas.microsoft.com/office/drawing/2014/main" id="{BAF491BE-13C8-45DC-A4D8-F15D221BDB14}"/>
              </a:ext>
            </a:extLst>
          </p:cNvPr>
          <p:cNvSpPr txBox="1">
            <a:spLocks/>
          </p:cNvSpPr>
          <p:nvPr/>
        </p:nvSpPr>
        <p:spPr>
          <a:xfrm>
            <a:off x="889803" y="2142226"/>
            <a:ext cx="6384576" cy="635593"/>
          </a:xfrm>
          <a:prstGeom prst="rect">
            <a:avLst/>
          </a:prstGeom>
        </p:spPr>
        <p:txBody>
          <a:bodyPr vert="horz" lIns="82975" tIns="41487" rIns="82975" bIns="41487"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904" b="1"/>
              <a:t>Research project funded by</a:t>
            </a:r>
          </a:p>
        </p:txBody>
      </p:sp>
      <p:sp>
        <p:nvSpPr>
          <p:cNvPr id="25" name="Title 4">
            <a:extLst>
              <a:ext uri="{FF2B5EF4-FFF2-40B4-BE49-F238E27FC236}">
                <a16:creationId xmlns:a16="http://schemas.microsoft.com/office/drawing/2014/main" id="{11F8811E-B57A-4084-A96F-DFA980EC0951}"/>
              </a:ext>
            </a:extLst>
          </p:cNvPr>
          <p:cNvSpPr txBox="1">
            <a:spLocks/>
          </p:cNvSpPr>
          <p:nvPr/>
        </p:nvSpPr>
        <p:spPr>
          <a:xfrm>
            <a:off x="1411838" y="2828645"/>
            <a:ext cx="899339" cy="431813"/>
          </a:xfrm>
          <a:prstGeom prst="rect">
            <a:avLst/>
          </a:prstGeom>
        </p:spPr>
        <p:txBody>
          <a:bodyPr vert="horz" lIns="82975" tIns="41487" rIns="82975" bIns="41487" rtlCol="0" anchor="t">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178"/>
              <a:t>on</a:t>
            </a:r>
          </a:p>
        </p:txBody>
      </p:sp>
      <p:sp>
        <p:nvSpPr>
          <p:cNvPr id="26" name="Title 4">
            <a:extLst>
              <a:ext uri="{FF2B5EF4-FFF2-40B4-BE49-F238E27FC236}">
                <a16:creationId xmlns:a16="http://schemas.microsoft.com/office/drawing/2014/main" id="{F2DB6220-2F43-4D03-89D2-59717ED1A66D}"/>
              </a:ext>
            </a:extLst>
          </p:cNvPr>
          <p:cNvSpPr txBox="1">
            <a:spLocks/>
          </p:cNvSpPr>
          <p:nvPr/>
        </p:nvSpPr>
        <p:spPr>
          <a:xfrm>
            <a:off x="1459067" y="4037499"/>
            <a:ext cx="8807860" cy="635593"/>
          </a:xfrm>
          <a:prstGeom prst="rect">
            <a:avLst/>
          </a:prstGeom>
        </p:spPr>
        <p:txBody>
          <a:bodyPr vert="horz" lIns="82975" tIns="41487" rIns="82975" bIns="41487"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150" b="1"/>
              <a:t>Combination of ground-based and non-terrestrial execution platforms in a holistic manner as infrastructure for network elements</a:t>
            </a:r>
          </a:p>
        </p:txBody>
      </p:sp>
      <p:sp>
        <p:nvSpPr>
          <p:cNvPr id="27" name="Pfeil: nach rechts 26">
            <a:extLst>
              <a:ext uri="{FF2B5EF4-FFF2-40B4-BE49-F238E27FC236}">
                <a16:creationId xmlns:a16="http://schemas.microsoft.com/office/drawing/2014/main" id="{70ADC079-D56A-4409-A22A-9CFB1DAAEE06}"/>
              </a:ext>
            </a:extLst>
          </p:cNvPr>
          <p:cNvSpPr/>
          <p:nvPr/>
        </p:nvSpPr>
        <p:spPr>
          <a:xfrm>
            <a:off x="1071757" y="4060207"/>
            <a:ext cx="233366" cy="607130"/>
          </a:xfrm>
          <a:prstGeom prst="rightArrow">
            <a:avLst>
              <a:gd name="adj1" fmla="val 50000"/>
              <a:gd name="adj2" fmla="val 10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33"/>
          </a:p>
        </p:txBody>
      </p:sp>
      <p:sp>
        <p:nvSpPr>
          <p:cNvPr id="2" name="Rectangle 1">
            <a:extLst>
              <a:ext uri="{FF2B5EF4-FFF2-40B4-BE49-F238E27FC236}">
                <a16:creationId xmlns:a16="http://schemas.microsoft.com/office/drawing/2014/main" id="{7DB59F9A-1AE7-26AC-A287-28E1A96DF8ED}"/>
              </a:ext>
            </a:extLst>
          </p:cNvPr>
          <p:cNvSpPr/>
          <p:nvPr/>
        </p:nvSpPr>
        <p:spPr>
          <a:xfrm>
            <a:off x="9759229" y="10349"/>
            <a:ext cx="1283291" cy="9417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1019520"/>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A7A7E4-5F79-9E76-E5F9-85E22F17ED5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431D422-30AA-9D0F-4652-C19D858442CA}"/>
              </a:ext>
            </a:extLst>
          </p:cNvPr>
          <p:cNvSpPr>
            <a:spLocks noGrp="1"/>
          </p:cNvSpPr>
          <p:nvPr>
            <p:ph type="title"/>
          </p:nvPr>
        </p:nvSpPr>
        <p:spPr/>
        <p:txBody>
          <a:bodyPr/>
          <a:lstStyle/>
          <a:p>
            <a:r>
              <a:rPr lang="en-US">
                <a:ea typeface="Microsoft YaHei"/>
                <a:cs typeface="Arial"/>
              </a:rPr>
              <a:t>3D Network</a:t>
            </a:r>
            <a:endParaRPr lang="en-US"/>
          </a:p>
        </p:txBody>
      </p:sp>
      <p:grpSp>
        <p:nvGrpSpPr>
          <p:cNvPr id="21" name="Group 20">
            <a:extLst>
              <a:ext uri="{FF2B5EF4-FFF2-40B4-BE49-F238E27FC236}">
                <a16:creationId xmlns:a16="http://schemas.microsoft.com/office/drawing/2014/main" id="{ED3EAAEE-FDFB-33C0-76FB-73F49A471407}"/>
              </a:ext>
            </a:extLst>
          </p:cNvPr>
          <p:cNvGrpSpPr/>
          <p:nvPr/>
        </p:nvGrpSpPr>
        <p:grpSpPr>
          <a:xfrm>
            <a:off x="5473573" y="3710967"/>
            <a:ext cx="363940" cy="581068"/>
            <a:chOff x="8397385" y="4381221"/>
            <a:chExt cx="363940" cy="581068"/>
          </a:xfrm>
        </p:grpSpPr>
        <p:pic>
          <p:nvPicPr>
            <p:cNvPr id="9" name="Grafik 72">
              <a:extLst>
                <a:ext uri="{FF2B5EF4-FFF2-40B4-BE49-F238E27FC236}">
                  <a16:creationId xmlns:a16="http://schemas.microsoft.com/office/drawing/2014/main" id="{65231E0A-6841-5917-9B6C-7B091F1AE2F9}"/>
                </a:ext>
              </a:extLst>
            </p:cNvPr>
            <p:cNvPicPr>
              <a:picLocks noChangeAspect="1"/>
            </p:cNvPicPr>
            <p:nvPr/>
          </p:nvPicPr>
          <p:blipFill rotWithShape="1">
            <a:blip r:embed="rId3" cstate="print">
              <a:duotone>
                <a:srgbClr val="4472C4">
                  <a:shade val="45000"/>
                  <a:satMod val="135000"/>
                </a:srgbClr>
                <a:prstClr val="white"/>
              </a:duotone>
              <a:extLst>
                <a:ext uri="{28A0092B-C50C-407E-A947-70E740481C1C}">
                  <a14:useLocalDpi xmlns:a14="http://schemas.microsoft.com/office/drawing/2010/main" val="0"/>
                </a:ext>
              </a:extLst>
            </a:blip>
            <a:srcRect l="28161" r="29513"/>
            <a:stretch/>
          </p:blipFill>
          <p:spPr>
            <a:xfrm>
              <a:off x="8397385" y="4381221"/>
              <a:ext cx="363940" cy="581068"/>
            </a:xfrm>
            <a:prstGeom prst="rect">
              <a:avLst/>
            </a:prstGeom>
          </p:spPr>
        </p:pic>
        <p:sp>
          <p:nvSpPr>
            <p:cNvPr id="16" name="TextBox 15">
              <a:extLst>
                <a:ext uri="{FF2B5EF4-FFF2-40B4-BE49-F238E27FC236}">
                  <a16:creationId xmlns:a16="http://schemas.microsoft.com/office/drawing/2014/main" id="{C085337C-82CB-0B79-4EFE-AC85D8CA2B7B}"/>
                </a:ext>
              </a:extLst>
            </p:cNvPr>
            <p:cNvSpPr txBox="1"/>
            <p:nvPr/>
          </p:nvSpPr>
          <p:spPr>
            <a:xfrm>
              <a:off x="8401931" y="4533255"/>
              <a:ext cx="359394" cy="276999"/>
            </a:xfrm>
            <a:prstGeom prst="rect">
              <a:avLst/>
            </a:prstGeom>
            <a:noFill/>
          </p:spPr>
          <p:txBody>
            <a:bodyPr wrap="none" rtlCol="0">
              <a:spAutoFit/>
            </a:bodyPr>
            <a:lstStyle/>
            <a:p>
              <a:r>
                <a:rPr lang="de-DE" sz="1200">
                  <a:solidFill>
                    <a:schemeClr val="accent1">
                      <a:lumMod val="75000"/>
                    </a:schemeClr>
                  </a:solidFill>
                </a:rPr>
                <a:t>UE</a:t>
              </a:r>
              <a:endParaRPr lang="de-DE" sz="1400">
                <a:solidFill>
                  <a:schemeClr val="accent1">
                    <a:lumMod val="75000"/>
                  </a:schemeClr>
                </a:solidFill>
              </a:endParaRPr>
            </a:p>
          </p:txBody>
        </p:sp>
      </p:grpSp>
      <p:pic>
        <p:nvPicPr>
          <p:cNvPr id="7" name="Graphic 6" descr="Satellite outline">
            <a:extLst>
              <a:ext uri="{FF2B5EF4-FFF2-40B4-BE49-F238E27FC236}">
                <a16:creationId xmlns:a16="http://schemas.microsoft.com/office/drawing/2014/main" id="{902320A0-AF89-8ED5-F1BC-A94333FC0A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99181" y="856579"/>
            <a:ext cx="614182" cy="614182"/>
          </a:xfrm>
          <a:prstGeom prst="rect">
            <a:avLst/>
          </a:prstGeom>
        </p:spPr>
      </p:pic>
      <p:cxnSp>
        <p:nvCxnSpPr>
          <p:cNvPr id="20" name="Gerader Verbinder 45">
            <a:extLst>
              <a:ext uri="{FF2B5EF4-FFF2-40B4-BE49-F238E27FC236}">
                <a16:creationId xmlns:a16="http://schemas.microsoft.com/office/drawing/2014/main" id="{4A5F99BB-16CE-6A6C-BF33-50A57954DFEF}"/>
              </a:ext>
            </a:extLst>
          </p:cNvPr>
          <p:cNvCxnSpPr>
            <a:cxnSpLocks/>
          </p:cNvCxnSpPr>
          <p:nvPr/>
        </p:nvCxnSpPr>
        <p:spPr>
          <a:xfrm flipV="1">
            <a:off x="6707874" y="878164"/>
            <a:ext cx="1404057" cy="71905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3" name="Gerader Verbinder 46">
            <a:extLst>
              <a:ext uri="{FF2B5EF4-FFF2-40B4-BE49-F238E27FC236}">
                <a16:creationId xmlns:a16="http://schemas.microsoft.com/office/drawing/2014/main" id="{92577B72-EED4-92C5-1C76-3F6396D235E5}"/>
              </a:ext>
            </a:extLst>
          </p:cNvPr>
          <p:cNvCxnSpPr>
            <a:cxnSpLocks/>
          </p:cNvCxnSpPr>
          <p:nvPr/>
        </p:nvCxnSpPr>
        <p:spPr>
          <a:xfrm>
            <a:off x="8440782" y="878164"/>
            <a:ext cx="1463888" cy="770732"/>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7" name="Gerade Verbindung mit Pfeil 61">
            <a:extLst>
              <a:ext uri="{FF2B5EF4-FFF2-40B4-BE49-F238E27FC236}">
                <a16:creationId xmlns:a16="http://schemas.microsoft.com/office/drawing/2014/main" id="{32F6CE3F-0E2A-7065-F103-E2FC6825F700}"/>
              </a:ext>
            </a:extLst>
          </p:cNvPr>
          <p:cNvCxnSpPr>
            <a:cxnSpLocks/>
            <a:stCxn id="9" idx="0"/>
            <a:endCxn id="6" idx="2"/>
          </p:cNvCxnSpPr>
          <p:nvPr/>
        </p:nvCxnSpPr>
        <p:spPr>
          <a:xfrm flipH="1" flipV="1">
            <a:off x="5371396" y="1749794"/>
            <a:ext cx="284147" cy="1961173"/>
          </a:xfrm>
          <a:prstGeom prst="straightConnector1">
            <a:avLst/>
          </a:prstGeom>
          <a:noFill/>
          <a:ln w="19050" cap="flat" cmpd="sng" algn="ctr">
            <a:solidFill>
              <a:srgbClr val="C00000"/>
            </a:solidFill>
            <a:prstDash val="solid"/>
            <a:miter lim="800000"/>
            <a:headEnd type="triangle" w="med" len="med"/>
            <a:tailEnd type="triangle" w="med" len="med"/>
          </a:ln>
          <a:effectLst/>
        </p:spPr>
      </p:cxnSp>
      <p:pic>
        <p:nvPicPr>
          <p:cNvPr id="6" name="Graphic 5" descr="Satellite outline">
            <a:extLst>
              <a:ext uri="{FF2B5EF4-FFF2-40B4-BE49-F238E27FC236}">
                <a16:creationId xmlns:a16="http://schemas.microsoft.com/office/drawing/2014/main" id="{3C21C17F-A9B3-EB4E-3786-EE848CD1E5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64305" y="1135612"/>
            <a:ext cx="614182" cy="614182"/>
          </a:xfrm>
          <a:prstGeom prst="rect">
            <a:avLst/>
          </a:prstGeom>
        </p:spPr>
      </p:pic>
      <p:cxnSp>
        <p:nvCxnSpPr>
          <p:cNvPr id="12" name="Gerader Verbinder 45">
            <a:extLst>
              <a:ext uri="{FF2B5EF4-FFF2-40B4-BE49-F238E27FC236}">
                <a16:creationId xmlns:a16="http://schemas.microsoft.com/office/drawing/2014/main" id="{5670F402-5D10-1551-7DD2-0C27564EBC5C}"/>
              </a:ext>
            </a:extLst>
          </p:cNvPr>
          <p:cNvCxnSpPr>
            <a:cxnSpLocks/>
          </p:cNvCxnSpPr>
          <p:nvPr/>
        </p:nvCxnSpPr>
        <p:spPr>
          <a:xfrm flipV="1">
            <a:off x="3772998" y="1157197"/>
            <a:ext cx="1404057" cy="71905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3" name="Gerader Verbinder 46">
            <a:extLst>
              <a:ext uri="{FF2B5EF4-FFF2-40B4-BE49-F238E27FC236}">
                <a16:creationId xmlns:a16="http://schemas.microsoft.com/office/drawing/2014/main" id="{D1801291-AA1F-BCB6-3057-C5EE206B74E0}"/>
              </a:ext>
            </a:extLst>
          </p:cNvPr>
          <p:cNvCxnSpPr>
            <a:cxnSpLocks/>
          </p:cNvCxnSpPr>
          <p:nvPr/>
        </p:nvCxnSpPr>
        <p:spPr>
          <a:xfrm>
            <a:off x="5505906" y="1157197"/>
            <a:ext cx="1463888" cy="770732"/>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pic>
        <p:nvPicPr>
          <p:cNvPr id="88" name="Inhaltsplatzhalter 11">
            <a:extLst>
              <a:ext uri="{FF2B5EF4-FFF2-40B4-BE49-F238E27FC236}">
                <a16:creationId xmlns:a16="http://schemas.microsoft.com/office/drawing/2014/main" id="{F9656301-BD1C-B5F0-0495-C95815831A6D}"/>
              </a:ext>
            </a:extLst>
          </p:cNvPr>
          <p:cNvPicPr>
            <a:picLocks noChangeAspect="1"/>
          </p:cNvPicPr>
          <p:nvPr/>
        </p:nvPicPr>
        <p:blipFill rotWithShape="1">
          <a:blip r:embed="rId6">
            <a:duotone>
              <a:srgbClr val="4472C4">
                <a:shade val="45000"/>
                <a:satMod val="135000"/>
              </a:srgbClr>
              <a:prstClr val="white"/>
            </a:duotone>
            <a:extLst>
              <a:ext uri="{28A0092B-C50C-407E-A947-70E740481C1C}">
                <a14:useLocalDpi xmlns:a14="http://schemas.microsoft.com/office/drawing/2010/main" val="0"/>
              </a:ext>
            </a:extLst>
          </a:blip>
          <a:srcRect l="9403" t="2699" r="54756" b="8802"/>
          <a:stretch/>
        </p:blipFill>
        <p:spPr>
          <a:xfrm>
            <a:off x="824913" y="4118476"/>
            <a:ext cx="413382" cy="1169819"/>
          </a:xfrm>
          <a:prstGeom prst="rect">
            <a:avLst/>
          </a:prstGeom>
        </p:spPr>
      </p:pic>
      <p:pic>
        <p:nvPicPr>
          <p:cNvPr id="89" name="Inhaltsplatzhalter 11">
            <a:extLst>
              <a:ext uri="{FF2B5EF4-FFF2-40B4-BE49-F238E27FC236}">
                <a16:creationId xmlns:a16="http://schemas.microsoft.com/office/drawing/2014/main" id="{42447B51-3AF8-3761-ABAE-EF4B89036DAC}"/>
              </a:ext>
            </a:extLst>
          </p:cNvPr>
          <p:cNvPicPr>
            <a:picLocks noChangeAspect="1"/>
          </p:cNvPicPr>
          <p:nvPr/>
        </p:nvPicPr>
        <p:blipFill rotWithShape="1">
          <a:blip r:embed="rId6">
            <a:duotone>
              <a:srgbClr val="4472C4">
                <a:shade val="45000"/>
                <a:satMod val="135000"/>
              </a:srgbClr>
              <a:prstClr val="white"/>
            </a:duotone>
            <a:extLst>
              <a:ext uri="{28A0092B-C50C-407E-A947-70E740481C1C}">
                <a14:useLocalDpi xmlns:a14="http://schemas.microsoft.com/office/drawing/2010/main" val="0"/>
              </a:ext>
            </a:extLst>
          </a:blip>
          <a:srcRect l="9403" t="2699" r="54756" b="8802"/>
          <a:stretch/>
        </p:blipFill>
        <p:spPr>
          <a:xfrm>
            <a:off x="9696855" y="4005776"/>
            <a:ext cx="413382" cy="1169819"/>
          </a:xfrm>
          <a:prstGeom prst="rect">
            <a:avLst/>
          </a:prstGeom>
        </p:spPr>
      </p:pic>
      <p:sp>
        <p:nvSpPr>
          <p:cNvPr id="90" name="Textfeld 79">
            <a:extLst>
              <a:ext uri="{FF2B5EF4-FFF2-40B4-BE49-F238E27FC236}">
                <a16:creationId xmlns:a16="http://schemas.microsoft.com/office/drawing/2014/main" id="{D9F80D5A-23AC-CED2-FB46-3D736CFE4CC1}"/>
              </a:ext>
            </a:extLst>
          </p:cNvPr>
          <p:cNvSpPr txBox="1"/>
          <p:nvPr/>
        </p:nvSpPr>
        <p:spPr>
          <a:xfrm>
            <a:off x="9477788" y="5092508"/>
            <a:ext cx="851515" cy="253916"/>
          </a:xfrm>
          <a:prstGeom prst="rect">
            <a:avLst/>
          </a:prstGeom>
          <a:noFill/>
        </p:spPr>
        <p:txBody>
          <a:bodyPr wrap="none" rtlCol="0">
            <a:spAutoFit/>
          </a:bodyPr>
          <a:lstStyle/>
          <a:p>
            <a:pPr>
              <a:defRPr/>
            </a:pPr>
            <a:r>
              <a:rPr lang="en-US" sz="1050" kern="0">
                <a:solidFill>
                  <a:schemeClr val="accent1">
                    <a:lumMod val="75000"/>
                  </a:schemeClr>
                </a:solidFill>
              </a:rPr>
              <a:t>Base station</a:t>
            </a:r>
          </a:p>
        </p:txBody>
      </p:sp>
      <p:pic>
        <p:nvPicPr>
          <p:cNvPr id="92" name="Grafik 29">
            <a:extLst>
              <a:ext uri="{FF2B5EF4-FFF2-40B4-BE49-F238E27FC236}">
                <a16:creationId xmlns:a16="http://schemas.microsoft.com/office/drawing/2014/main" id="{EBA2E77A-639E-5B0E-1A82-E55E8CCB6CC7}"/>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7999054" y="4427861"/>
            <a:ext cx="272343" cy="574347"/>
          </a:xfrm>
          <a:prstGeom prst="rect">
            <a:avLst/>
          </a:prstGeom>
        </p:spPr>
      </p:pic>
      <p:pic>
        <p:nvPicPr>
          <p:cNvPr id="93" name="Grafik 30">
            <a:extLst>
              <a:ext uri="{FF2B5EF4-FFF2-40B4-BE49-F238E27FC236}">
                <a16:creationId xmlns:a16="http://schemas.microsoft.com/office/drawing/2014/main" id="{A09ED592-F444-F9EA-C554-72C0F63D4DA8}"/>
              </a:ext>
            </a:extLst>
          </p:cNvPr>
          <p:cNvPicPr>
            <a:picLocks noChangeAspect="1"/>
          </p:cNvPicPr>
          <p:nvPr/>
        </p:nvPicPr>
        <p:blipFill>
          <a:blip r:embed="rId8">
            <a:clrChange>
              <a:clrFrom>
                <a:srgbClr val="FFFFFA"/>
              </a:clrFrom>
              <a:clrTo>
                <a:srgbClr val="FFFFFA">
                  <a:alpha val="0"/>
                </a:srgbClr>
              </a:clrTo>
            </a:clrChange>
          </a:blip>
          <a:stretch>
            <a:fillRect/>
          </a:stretch>
        </p:blipFill>
        <p:spPr>
          <a:xfrm>
            <a:off x="6780863" y="4013391"/>
            <a:ext cx="303582" cy="783758"/>
          </a:xfrm>
          <a:prstGeom prst="rect">
            <a:avLst/>
          </a:prstGeom>
        </p:spPr>
      </p:pic>
      <p:pic>
        <p:nvPicPr>
          <p:cNvPr id="94" name="Grafik 31">
            <a:extLst>
              <a:ext uri="{FF2B5EF4-FFF2-40B4-BE49-F238E27FC236}">
                <a16:creationId xmlns:a16="http://schemas.microsoft.com/office/drawing/2014/main" id="{3E50663C-8178-3630-8D7E-C085DE77BCFE}"/>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7255472" y="3913185"/>
            <a:ext cx="417071" cy="852147"/>
          </a:xfrm>
          <a:prstGeom prst="rect">
            <a:avLst/>
          </a:prstGeom>
        </p:spPr>
      </p:pic>
      <p:pic>
        <p:nvPicPr>
          <p:cNvPr id="95" name="Grafik 32">
            <a:extLst>
              <a:ext uri="{FF2B5EF4-FFF2-40B4-BE49-F238E27FC236}">
                <a16:creationId xmlns:a16="http://schemas.microsoft.com/office/drawing/2014/main" id="{13AD7E61-7F9B-8FEA-A95B-E71517619326}"/>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7033369" y="4285937"/>
            <a:ext cx="304132" cy="582960"/>
          </a:xfrm>
          <a:prstGeom prst="rect">
            <a:avLst/>
          </a:prstGeom>
        </p:spPr>
      </p:pic>
      <p:pic>
        <p:nvPicPr>
          <p:cNvPr id="96" name="Grafik 34">
            <a:extLst>
              <a:ext uri="{FF2B5EF4-FFF2-40B4-BE49-F238E27FC236}">
                <a16:creationId xmlns:a16="http://schemas.microsoft.com/office/drawing/2014/main" id="{60DA5F02-3B12-2D38-3382-E3AF17C40A09}"/>
              </a:ext>
            </a:extLst>
          </p:cNvPr>
          <p:cNvPicPr>
            <a:picLocks noChangeAspect="1"/>
          </p:cNvPicPr>
          <p:nvPr/>
        </p:nvPicPr>
        <p:blipFill>
          <a:blip r:embed="rId8">
            <a:clrChange>
              <a:clrFrom>
                <a:srgbClr val="FFFFFA"/>
              </a:clrFrom>
              <a:clrTo>
                <a:srgbClr val="FFFFFA">
                  <a:alpha val="0"/>
                </a:srgbClr>
              </a:clrTo>
            </a:clrChange>
          </a:blip>
          <a:stretch>
            <a:fillRect/>
          </a:stretch>
        </p:blipFill>
        <p:spPr>
          <a:xfrm>
            <a:off x="7601164" y="3874159"/>
            <a:ext cx="303582" cy="783758"/>
          </a:xfrm>
          <a:prstGeom prst="rect">
            <a:avLst/>
          </a:prstGeom>
        </p:spPr>
      </p:pic>
      <p:pic>
        <p:nvPicPr>
          <p:cNvPr id="97" name="Grafik 35">
            <a:extLst>
              <a:ext uri="{FF2B5EF4-FFF2-40B4-BE49-F238E27FC236}">
                <a16:creationId xmlns:a16="http://schemas.microsoft.com/office/drawing/2014/main" id="{7D67BD05-18DA-6814-44A0-65DA9CFE9822}"/>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8440782" y="4725422"/>
            <a:ext cx="523687" cy="395966"/>
          </a:xfrm>
          <a:prstGeom prst="rect">
            <a:avLst/>
          </a:prstGeom>
        </p:spPr>
      </p:pic>
      <p:pic>
        <p:nvPicPr>
          <p:cNvPr id="98" name="Grafik 63">
            <a:extLst>
              <a:ext uri="{FF2B5EF4-FFF2-40B4-BE49-F238E27FC236}">
                <a16:creationId xmlns:a16="http://schemas.microsoft.com/office/drawing/2014/main" id="{5D7D8568-9F58-1C54-5596-9E2855B23597}"/>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7820601" y="4369271"/>
            <a:ext cx="219249" cy="447962"/>
          </a:xfrm>
          <a:prstGeom prst="rect">
            <a:avLst/>
          </a:prstGeom>
        </p:spPr>
      </p:pic>
      <p:pic>
        <p:nvPicPr>
          <p:cNvPr id="99" name="Inhaltsplatzhalter 11">
            <a:extLst>
              <a:ext uri="{FF2B5EF4-FFF2-40B4-BE49-F238E27FC236}">
                <a16:creationId xmlns:a16="http://schemas.microsoft.com/office/drawing/2014/main" id="{2BE4C1C5-B82D-CED4-E8A1-D70AF21262FB}"/>
              </a:ext>
            </a:extLst>
          </p:cNvPr>
          <p:cNvPicPr>
            <a:picLocks noChangeAspect="1"/>
          </p:cNvPicPr>
          <p:nvPr/>
        </p:nvPicPr>
        <p:blipFill rotWithShape="1">
          <a:blip r:embed="rId6">
            <a:duotone>
              <a:srgbClr val="4472C4">
                <a:shade val="45000"/>
                <a:satMod val="135000"/>
              </a:srgbClr>
              <a:prstClr val="white"/>
            </a:duotone>
            <a:extLst>
              <a:ext uri="{28A0092B-C50C-407E-A947-70E740481C1C}">
                <a14:useLocalDpi xmlns:a14="http://schemas.microsoft.com/office/drawing/2010/main" val="0"/>
              </a:ext>
            </a:extLst>
          </a:blip>
          <a:srcRect l="9403" t="2699" r="54756" b="8802"/>
          <a:stretch/>
        </p:blipFill>
        <p:spPr>
          <a:xfrm>
            <a:off x="9703117" y="4001501"/>
            <a:ext cx="413382" cy="1169819"/>
          </a:xfrm>
          <a:prstGeom prst="rect">
            <a:avLst/>
          </a:prstGeom>
        </p:spPr>
      </p:pic>
      <p:sp>
        <p:nvSpPr>
          <p:cNvPr id="100" name="Textfeld 79">
            <a:extLst>
              <a:ext uri="{FF2B5EF4-FFF2-40B4-BE49-F238E27FC236}">
                <a16:creationId xmlns:a16="http://schemas.microsoft.com/office/drawing/2014/main" id="{7DC394E7-C590-6C57-BFAA-AB6CB4FD0A2E}"/>
              </a:ext>
            </a:extLst>
          </p:cNvPr>
          <p:cNvSpPr txBox="1"/>
          <p:nvPr/>
        </p:nvSpPr>
        <p:spPr>
          <a:xfrm>
            <a:off x="9477788" y="5092508"/>
            <a:ext cx="851515" cy="253916"/>
          </a:xfrm>
          <a:prstGeom prst="rect">
            <a:avLst/>
          </a:prstGeom>
          <a:noFill/>
        </p:spPr>
        <p:txBody>
          <a:bodyPr wrap="none" rtlCol="0">
            <a:spAutoFit/>
          </a:bodyPr>
          <a:lstStyle/>
          <a:p>
            <a:pPr>
              <a:defRPr/>
            </a:pPr>
            <a:r>
              <a:rPr lang="en-US" sz="1050" kern="0">
                <a:solidFill>
                  <a:schemeClr val="accent1">
                    <a:lumMod val="75000"/>
                  </a:schemeClr>
                </a:solidFill>
              </a:rPr>
              <a:t>Base station</a:t>
            </a:r>
          </a:p>
        </p:txBody>
      </p:sp>
      <p:cxnSp>
        <p:nvCxnSpPr>
          <p:cNvPr id="101" name="Gerader Verbinder 45">
            <a:extLst>
              <a:ext uri="{FF2B5EF4-FFF2-40B4-BE49-F238E27FC236}">
                <a16:creationId xmlns:a16="http://schemas.microsoft.com/office/drawing/2014/main" id="{6486DBFF-4612-4AA7-0CD4-C7322339F3F7}"/>
              </a:ext>
            </a:extLst>
          </p:cNvPr>
          <p:cNvCxnSpPr>
            <a:cxnSpLocks/>
          </p:cNvCxnSpPr>
          <p:nvPr/>
        </p:nvCxnSpPr>
        <p:spPr>
          <a:xfrm flipV="1">
            <a:off x="8392678" y="4006371"/>
            <a:ext cx="1404057" cy="71905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02" name="Gerader Verbinder 46">
            <a:extLst>
              <a:ext uri="{FF2B5EF4-FFF2-40B4-BE49-F238E27FC236}">
                <a16:creationId xmlns:a16="http://schemas.microsoft.com/office/drawing/2014/main" id="{32DF2E68-B9F7-01A6-5D64-D045E7E5E3F7}"/>
              </a:ext>
            </a:extLst>
          </p:cNvPr>
          <p:cNvCxnSpPr>
            <a:cxnSpLocks/>
          </p:cNvCxnSpPr>
          <p:nvPr/>
        </p:nvCxnSpPr>
        <p:spPr>
          <a:xfrm>
            <a:off x="10077481" y="4019441"/>
            <a:ext cx="765142" cy="511790"/>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03" name="Freihandform: Form 25">
            <a:extLst>
              <a:ext uri="{FF2B5EF4-FFF2-40B4-BE49-F238E27FC236}">
                <a16:creationId xmlns:a16="http://schemas.microsoft.com/office/drawing/2014/main" id="{105DE431-FE21-2A5C-7E7F-91A8A4CCA105}"/>
              </a:ext>
            </a:extLst>
          </p:cNvPr>
          <p:cNvSpPr/>
          <p:nvPr/>
        </p:nvSpPr>
        <p:spPr>
          <a:xfrm>
            <a:off x="5426493" y="3991947"/>
            <a:ext cx="5434628" cy="1453919"/>
          </a:xfrm>
          <a:custGeom>
            <a:avLst/>
            <a:gdLst>
              <a:gd name="connsiteX0" fmla="*/ 354439 w 6305329"/>
              <a:gd name="connsiteY0" fmla="*/ 1307886 h 1602253"/>
              <a:gd name="connsiteX1" fmla="*/ 685179 w 6305329"/>
              <a:gd name="connsiteY1" fmla="*/ 1230065 h 1602253"/>
              <a:gd name="connsiteX2" fmla="*/ 1054830 w 6305329"/>
              <a:gd name="connsiteY2" fmla="*/ 481035 h 1602253"/>
              <a:gd name="connsiteX3" fmla="*/ 1278566 w 6305329"/>
              <a:gd name="connsiteY3" fmla="*/ 4380 h 1602253"/>
              <a:gd name="connsiteX4" fmla="*/ 1570396 w 6305329"/>
              <a:gd name="connsiteY4" fmla="*/ 753409 h 1602253"/>
              <a:gd name="connsiteX5" fmla="*/ 2134600 w 6305329"/>
              <a:gd name="connsiteY5" fmla="*/ 918780 h 1602253"/>
              <a:gd name="connsiteX6" fmla="*/ 2562617 w 6305329"/>
              <a:gd name="connsiteY6" fmla="*/ 665860 h 1602253"/>
              <a:gd name="connsiteX7" fmla="*/ 3019817 w 6305329"/>
              <a:gd name="connsiteY7" fmla="*/ 977146 h 1602253"/>
              <a:gd name="connsiteX8" fmla="*/ 3807758 w 6305329"/>
              <a:gd name="connsiteY8" fmla="*/ 1220337 h 1602253"/>
              <a:gd name="connsiteX9" fmla="*/ 5850566 w 6305329"/>
              <a:gd name="connsiteY9" fmla="*/ 1278703 h 1602253"/>
              <a:gd name="connsiteX10" fmla="*/ 5801928 w 6305329"/>
              <a:gd name="connsiteY10" fmla="*/ 1580260 h 1602253"/>
              <a:gd name="connsiteX11" fmla="*/ 432260 w 6305329"/>
              <a:gd name="connsiteY11" fmla="*/ 1551077 h 1602253"/>
              <a:gd name="connsiteX12" fmla="*/ 354439 w 6305329"/>
              <a:gd name="connsiteY12" fmla="*/ 1307886 h 160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5329" h="1602253">
                <a:moveTo>
                  <a:pt x="354439" y="1307886"/>
                </a:moveTo>
                <a:cubicBezTo>
                  <a:pt x="396592" y="1254384"/>
                  <a:pt x="568447" y="1367874"/>
                  <a:pt x="685179" y="1230065"/>
                </a:cubicBezTo>
                <a:cubicBezTo>
                  <a:pt x="801911" y="1092256"/>
                  <a:pt x="955932" y="685316"/>
                  <a:pt x="1054830" y="481035"/>
                </a:cubicBezTo>
                <a:cubicBezTo>
                  <a:pt x="1153728" y="276754"/>
                  <a:pt x="1192638" y="-41016"/>
                  <a:pt x="1278566" y="4380"/>
                </a:cubicBezTo>
                <a:cubicBezTo>
                  <a:pt x="1364494" y="49776"/>
                  <a:pt x="1427724" y="601009"/>
                  <a:pt x="1570396" y="753409"/>
                </a:cubicBezTo>
                <a:cubicBezTo>
                  <a:pt x="1713068" y="905809"/>
                  <a:pt x="1969230" y="933371"/>
                  <a:pt x="2134600" y="918780"/>
                </a:cubicBezTo>
                <a:cubicBezTo>
                  <a:pt x="2299970" y="904189"/>
                  <a:pt x="2415081" y="656132"/>
                  <a:pt x="2562617" y="665860"/>
                </a:cubicBezTo>
                <a:cubicBezTo>
                  <a:pt x="2710153" y="675588"/>
                  <a:pt x="2812294" y="884733"/>
                  <a:pt x="3019817" y="977146"/>
                </a:cubicBezTo>
                <a:cubicBezTo>
                  <a:pt x="3227341" y="1069559"/>
                  <a:pt x="3335967" y="1170078"/>
                  <a:pt x="3807758" y="1220337"/>
                </a:cubicBezTo>
                <a:cubicBezTo>
                  <a:pt x="4279549" y="1270596"/>
                  <a:pt x="5518204" y="1218716"/>
                  <a:pt x="5850566" y="1278703"/>
                </a:cubicBezTo>
                <a:cubicBezTo>
                  <a:pt x="6182928" y="1338690"/>
                  <a:pt x="6704979" y="1534864"/>
                  <a:pt x="5801928" y="1580260"/>
                </a:cubicBezTo>
                <a:cubicBezTo>
                  <a:pt x="4898877" y="1625656"/>
                  <a:pt x="1333690" y="1593230"/>
                  <a:pt x="432260" y="1551077"/>
                </a:cubicBezTo>
                <a:cubicBezTo>
                  <a:pt x="-469170" y="1508924"/>
                  <a:pt x="312286" y="1361388"/>
                  <a:pt x="354439" y="1307886"/>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3"/>
          </a:p>
        </p:txBody>
      </p:sp>
      <p:pic>
        <p:nvPicPr>
          <p:cNvPr id="104" name="Grafik 30">
            <a:extLst>
              <a:ext uri="{FF2B5EF4-FFF2-40B4-BE49-F238E27FC236}">
                <a16:creationId xmlns:a16="http://schemas.microsoft.com/office/drawing/2014/main" id="{8918D648-2DF7-B742-D7F0-8467E1889FE7}"/>
              </a:ext>
            </a:extLst>
          </p:cNvPr>
          <p:cNvPicPr>
            <a:picLocks noChangeAspect="1"/>
          </p:cNvPicPr>
          <p:nvPr/>
        </p:nvPicPr>
        <p:blipFill>
          <a:blip r:embed="rId8">
            <a:clrChange>
              <a:clrFrom>
                <a:srgbClr val="FFFFFA"/>
              </a:clrFrom>
              <a:clrTo>
                <a:srgbClr val="FFFFFA">
                  <a:alpha val="0"/>
                </a:srgbClr>
              </a:clrTo>
            </a:clrChange>
          </a:blip>
          <a:stretch>
            <a:fillRect/>
          </a:stretch>
        </p:blipFill>
        <p:spPr>
          <a:xfrm>
            <a:off x="5275242" y="4013391"/>
            <a:ext cx="303582" cy="783758"/>
          </a:xfrm>
          <a:prstGeom prst="rect">
            <a:avLst/>
          </a:prstGeom>
        </p:spPr>
      </p:pic>
      <p:pic>
        <p:nvPicPr>
          <p:cNvPr id="105" name="Grafik 31">
            <a:extLst>
              <a:ext uri="{FF2B5EF4-FFF2-40B4-BE49-F238E27FC236}">
                <a16:creationId xmlns:a16="http://schemas.microsoft.com/office/drawing/2014/main" id="{7B5CCE1E-F7AB-154B-ACF4-ADD2A23AF23E}"/>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5749851" y="3913185"/>
            <a:ext cx="417071" cy="852147"/>
          </a:xfrm>
          <a:prstGeom prst="rect">
            <a:avLst/>
          </a:prstGeom>
        </p:spPr>
      </p:pic>
      <p:pic>
        <p:nvPicPr>
          <p:cNvPr id="106" name="Grafik 32">
            <a:extLst>
              <a:ext uri="{FF2B5EF4-FFF2-40B4-BE49-F238E27FC236}">
                <a16:creationId xmlns:a16="http://schemas.microsoft.com/office/drawing/2014/main" id="{7C80618F-F8F8-D263-97CB-FDAB4C8280CA}"/>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5527748" y="4285937"/>
            <a:ext cx="304132" cy="582960"/>
          </a:xfrm>
          <a:prstGeom prst="rect">
            <a:avLst/>
          </a:prstGeom>
        </p:spPr>
      </p:pic>
      <p:sp>
        <p:nvSpPr>
          <p:cNvPr id="107" name="Freihandform: Form 25">
            <a:extLst>
              <a:ext uri="{FF2B5EF4-FFF2-40B4-BE49-F238E27FC236}">
                <a16:creationId xmlns:a16="http://schemas.microsoft.com/office/drawing/2014/main" id="{D9BC72D1-1BB9-F880-D8C8-C9F0D72E0667}"/>
              </a:ext>
            </a:extLst>
          </p:cNvPr>
          <p:cNvSpPr/>
          <p:nvPr/>
        </p:nvSpPr>
        <p:spPr>
          <a:xfrm>
            <a:off x="3920872" y="3991947"/>
            <a:ext cx="5434628" cy="1453919"/>
          </a:xfrm>
          <a:custGeom>
            <a:avLst/>
            <a:gdLst>
              <a:gd name="connsiteX0" fmla="*/ 354439 w 6305329"/>
              <a:gd name="connsiteY0" fmla="*/ 1307886 h 1602253"/>
              <a:gd name="connsiteX1" fmla="*/ 685179 w 6305329"/>
              <a:gd name="connsiteY1" fmla="*/ 1230065 h 1602253"/>
              <a:gd name="connsiteX2" fmla="*/ 1054830 w 6305329"/>
              <a:gd name="connsiteY2" fmla="*/ 481035 h 1602253"/>
              <a:gd name="connsiteX3" fmla="*/ 1278566 w 6305329"/>
              <a:gd name="connsiteY3" fmla="*/ 4380 h 1602253"/>
              <a:gd name="connsiteX4" fmla="*/ 1570396 w 6305329"/>
              <a:gd name="connsiteY4" fmla="*/ 753409 h 1602253"/>
              <a:gd name="connsiteX5" fmla="*/ 2134600 w 6305329"/>
              <a:gd name="connsiteY5" fmla="*/ 918780 h 1602253"/>
              <a:gd name="connsiteX6" fmla="*/ 2562617 w 6305329"/>
              <a:gd name="connsiteY6" fmla="*/ 665860 h 1602253"/>
              <a:gd name="connsiteX7" fmla="*/ 3019817 w 6305329"/>
              <a:gd name="connsiteY7" fmla="*/ 977146 h 1602253"/>
              <a:gd name="connsiteX8" fmla="*/ 3807758 w 6305329"/>
              <a:gd name="connsiteY8" fmla="*/ 1220337 h 1602253"/>
              <a:gd name="connsiteX9" fmla="*/ 5850566 w 6305329"/>
              <a:gd name="connsiteY9" fmla="*/ 1278703 h 1602253"/>
              <a:gd name="connsiteX10" fmla="*/ 5801928 w 6305329"/>
              <a:gd name="connsiteY10" fmla="*/ 1580260 h 1602253"/>
              <a:gd name="connsiteX11" fmla="*/ 432260 w 6305329"/>
              <a:gd name="connsiteY11" fmla="*/ 1551077 h 1602253"/>
              <a:gd name="connsiteX12" fmla="*/ 354439 w 6305329"/>
              <a:gd name="connsiteY12" fmla="*/ 1307886 h 160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5329" h="1602253">
                <a:moveTo>
                  <a:pt x="354439" y="1307886"/>
                </a:moveTo>
                <a:cubicBezTo>
                  <a:pt x="396592" y="1254384"/>
                  <a:pt x="568447" y="1367874"/>
                  <a:pt x="685179" y="1230065"/>
                </a:cubicBezTo>
                <a:cubicBezTo>
                  <a:pt x="801911" y="1092256"/>
                  <a:pt x="955932" y="685316"/>
                  <a:pt x="1054830" y="481035"/>
                </a:cubicBezTo>
                <a:cubicBezTo>
                  <a:pt x="1153728" y="276754"/>
                  <a:pt x="1192638" y="-41016"/>
                  <a:pt x="1278566" y="4380"/>
                </a:cubicBezTo>
                <a:cubicBezTo>
                  <a:pt x="1364494" y="49776"/>
                  <a:pt x="1427724" y="601009"/>
                  <a:pt x="1570396" y="753409"/>
                </a:cubicBezTo>
                <a:cubicBezTo>
                  <a:pt x="1713068" y="905809"/>
                  <a:pt x="1969230" y="933371"/>
                  <a:pt x="2134600" y="918780"/>
                </a:cubicBezTo>
                <a:cubicBezTo>
                  <a:pt x="2299970" y="904189"/>
                  <a:pt x="2415081" y="656132"/>
                  <a:pt x="2562617" y="665860"/>
                </a:cubicBezTo>
                <a:cubicBezTo>
                  <a:pt x="2710153" y="675588"/>
                  <a:pt x="2812294" y="884733"/>
                  <a:pt x="3019817" y="977146"/>
                </a:cubicBezTo>
                <a:cubicBezTo>
                  <a:pt x="3227341" y="1069559"/>
                  <a:pt x="3335967" y="1170078"/>
                  <a:pt x="3807758" y="1220337"/>
                </a:cubicBezTo>
                <a:cubicBezTo>
                  <a:pt x="4279549" y="1270596"/>
                  <a:pt x="5518204" y="1218716"/>
                  <a:pt x="5850566" y="1278703"/>
                </a:cubicBezTo>
                <a:cubicBezTo>
                  <a:pt x="6182928" y="1338690"/>
                  <a:pt x="6704979" y="1534864"/>
                  <a:pt x="5801928" y="1580260"/>
                </a:cubicBezTo>
                <a:cubicBezTo>
                  <a:pt x="4898877" y="1625656"/>
                  <a:pt x="1333690" y="1593230"/>
                  <a:pt x="432260" y="1551077"/>
                </a:cubicBezTo>
                <a:cubicBezTo>
                  <a:pt x="-469170" y="1508924"/>
                  <a:pt x="312286" y="1361388"/>
                  <a:pt x="354439" y="1307886"/>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3"/>
          </a:p>
        </p:txBody>
      </p:sp>
      <p:sp>
        <p:nvSpPr>
          <p:cNvPr id="108" name="Freihandform: Form 25">
            <a:extLst>
              <a:ext uri="{FF2B5EF4-FFF2-40B4-BE49-F238E27FC236}">
                <a16:creationId xmlns:a16="http://schemas.microsoft.com/office/drawing/2014/main" id="{76B266B2-A6EC-4486-A2E7-C881C5E83274}"/>
              </a:ext>
            </a:extLst>
          </p:cNvPr>
          <p:cNvSpPr/>
          <p:nvPr/>
        </p:nvSpPr>
        <p:spPr>
          <a:xfrm flipH="1">
            <a:off x="202165" y="4466837"/>
            <a:ext cx="5476321" cy="985544"/>
          </a:xfrm>
          <a:custGeom>
            <a:avLst/>
            <a:gdLst>
              <a:gd name="connsiteX0" fmla="*/ 354439 w 6305329"/>
              <a:gd name="connsiteY0" fmla="*/ 1307886 h 1602253"/>
              <a:gd name="connsiteX1" fmla="*/ 685179 w 6305329"/>
              <a:gd name="connsiteY1" fmla="*/ 1230065 h 1602253"/>
              <a:gd name="connsiteX2" fmla="*/ 1054830 w 6305329"/>
              <a:gd name="connsiteY2" fmla="*/ 481035 h 1602253"/>
              <a:gd name="connsiteX3" fmla="*/ 1278566 w 6305329"/>
              <a:gd name="connsiteY3" fmla="*/ 4380 h 1602253"/>
              <a:gd name="connsiteX4" fmla="*/ 1570396 w 6305329"/>
              <a:gd name="connsiteY4" fmla="*/ 753409 h 1602253"/>
              <a:gd name="connsiteX5" fmla="*/ 2134600 w 6305329"/>
              <a:gd name="connsiteY5" fmla="*/ 918780 h 1602253"/>
              <a:gd name="connsiteX6" fmla="*/ 2562617 w 6305329"/>
              <a:gd name="connsiteY6" fmla="*/ 665860 h 1602253"/>
              <a:gd name="connsiteX7" fmla="*/ 3019817 w 6305329"/>
              <a:gd name="connsiteY7" fmla="*/ 977146 h 1602253"/>
              <a:gd name="connsiteX8" fmla="*/ 3807758 w 6305329"/>
              <a:gd name="connsiteY8" fmla="*/ 1220337 h 1602253"/>
              <a:gd name="connsiteX9" fmla="*/ 5850566 w 6305329"/>
              <a:gd name="connsiteY9" fmla="*/ 1278703 h 1602253"/>
              <a:gd name="connsiteX10" fmla="*/ 5801928 w 6305329"/>
              <a:gd name="connsiteY10" fmla="*/ 1580260 h 1602253"/>
              <a:gd name="connsiteX11" fmla="*/ 432260 w 6305329"/>
              <a:gd name="connsiteY11" fmla="*/ 1551077 h 1602253"/>
              <a:gd name="connsiteX12" fmla="*/ 354439 w 6305329"/>
              <a:gd name="connsiteY12" fmla="*/ 1307886 h 160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5329" h="1602253">
                <a:moveTo>
                  <a:pt x="354439" y="1307886"/>
                </a:moveTo>
                <a:cubicBezTo>
                  <a:pt x="396592" y="1254384"/>
                  <a:pt x="568447" y="1367874"/>
                  <a:pt x="685179" y="1230065"/>
                </a:cubicBezTo>
                <a:cubicBezTo>
                  <a:pt x="801911" y="1092256"/>
                  <a:pt x="955932" y="685316"/>
                  <a:pt x="1054830" y="481035"/>
                </a:cubicBezTo>
                <a:cubicBezTo>
                  <a:pt x="1153728" y="276754"/>
                  <a:pt x="1192638" y="-41016"/>
                  <a:pt x="1278566" y="4380"/>
                </a:cubicBezTo>
                <a:cubicBezTo>
                  <a:pt x="1364494" y="49776"/>
                  <a:pt x="1427724" y="601009"/>
                  <a:pt x="1570396" y="753409"/>
                </a:cubicBezTo>
                <a:cubicBezTo>
                  <a:pt x="1713068" y="905809"/>
                  <a:pt x="1969230" y="933371"/>
                  <a:pt x="2134600" y="918780"/>
                </a:cubicBezTo>
                <a:cubicBezTo>
                  <a:pt x="2299970" y="904189"/>
                  <a:pt x="2415081" y="656132"/>
                  <a:pt x="2562617" y="665860"/>
                </a:cubicBezTo>
                <a:cubicBezTo>
                  <a:pt x="2710153" y="675588"/>
                  <a:pt x="2812294" y="884733"/>
                  <a:pt x="3019817" y="977146"/>
                </a:cubicBezTo>
                <a:cubicBezTo>
                  <a:pt x="3227341" y="1069559"/>
                  <a:pt x="3335967" y="1170078"/>
                  <a:pt x="3807758" y="1220337"/>
                </a:cubicBezTo>
                <a:cubicBezTo>
                  <a:pt x="4279549" y="1270596"/>
                  <a:pt x="5518204" y="1218716"/>
                  <a:pt x="5850566" y="1278703"/>
                </a:cubicBezTo>
                <a:cubicBezTo>
                  <a:pt x="6182928" y="1338690"/>
                  <a:pt x="6704979" y="1534864"/>
                  <a:pt x="5801928" y="1580260"/>
                </a:cubicBezTo>
                <a:cubicBezTo>
                  <a:pt x="4898877" y="1625656"/>
                  <a:pt x="1333690" y="1593230"/>
                  <a:pt x="432260" y="1551077"/>
                </a:cubicBezTo>
                <a:cubicBezTo>
                  <a:pt x="-469170" y="1508924"/>
                  <a:pt x="312286" y="1361388"/>
                  <a:pt x="354439" y="1307886"/>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3"/>
          </a:p>
        </p:txBody>
      </p:sp>
      <p:cxnSp>
        <p:nvCxnSpPr>
          <p:cNvPr id="110" name="Gerader Verbinder 45">
            <a:extLst>
              <a:ext uri="{FF2B5EF4-FFF2-40B4-BE49-F238E27FC236}">
                <a16:creationId xmlns:a16="http://schemas.microsoft.com/office/drawing/2014/main" id="{F7C6E841-46C3-B1FB-1B9E-2B9E321BBA3A}"/>
              </a:ext>
            </a:extLst>
          </p:cNvPr>
          <p:cNvCxnSpPr>
            <a:cxnSpLocks/>
          </p:cNvCxnSpPr>
          <p:nvPr/>
        </p:nvCxnSpPr>
        <p:spPr>
          <a:xfrm flipV="1">
            <a:off x="183667" y="4114200"/>
            <a:ext cx="753226" cy="41703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11" name="Gerader Verbinder 46">
            <a:extLst>
              <a:ext uri="{FF2B5EF4-FFF2-40B4-BE49-F238E27FC236}">
                <a16:creationId xmlns:a16="http://schemas.microsoft.com/office/drawing/2014/main" id="{A1F17100-A044-5688-8077-984FEAB41898}"/>
              </a:ext>
            </a:extLst>
          </p:cNvPr>
          <p:cNvCxnSpPr>
            <a:cxnSpLocks/>
          </p:cNvCxnSpPr>
          <p:nvPr/>
        </p:nvCxnSpPr>
        <p:spPr>
          <a:xfrm>
            <a:off x="1185348" y="4112479"/>
            <a:ext cx="750342" cy="418752"/>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F1648C02-717B-A625-11AE-B8537D941921}"/>
              </a:ext>
            </a:extLst>
          </p:cNvPr>
          <p:cNvGrpSpPr/>
          <p:nvPr/>
        </p:nvGrpSpPr>
        <p:grpSpPr>
          <a:xfrm>
            <a:off x="5704153" y="1529953"/>
            <a:ext cx="428382" cy="476738"/>
            <a:chOff x="10154341" y="4421579"/>
            <a:chExt cx="428382" cy="476738"/>
          </a:xfrm>
        </p:grpSpPr>
        <p:sp>
          <p:nvSpPr>
            <p:cNvPr id="18" name="Rectangle: Rounded Corners 17">
              <a:extLst>
                <a:ext uri="{FF2B5EF4-FFF2-40B4-BE49-F238E27FC236}">
                  <a16:creationId xmlns:a16="http://schemas.microsoft.com/office/drawing/2014/main" id="{2F6D8AF1-9A02-38C7-1F49-770A71706099}"/>
                </a:ext>
              </a:extLst>
            </p:cNvPr>
            <p:cNvSpPr/>
            <p:nvPr/>
          </p:nvSpPr>
          <p:spPr>
            <a:xfrm>
              <a:off x="10154342" y="4659948"/>
              <a:ext cx="428381" cy="238369"/>
            </a:xfrm>
            <a:prstGeom prst="round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800" err="1">
                  <a:solidFill>
                    <a:schemeClr val="accent1">
                      <a:lumMod val="75000"/>
                    </a:schemeClr>
                  </a:solidFill>
                </a:rPr>
                <a:t>gNB</a:t>
              </a:r>
              <a:endParaRPr lang="de-DE">
                <a:solidFill>
                  <a:schemeClr val="accent1">
                    <a:lumMod val="75000"/>
                  </a:schemeClr>
                </a:solidFill>
              </a:endParaRPr>
            </a:p>
          </p:txBody>
        </p:sp>
        <p:sp>
          <p:nvSpPr>
            <p:cNvPr id="22" name="Rectangle: Rounded Corners 21">
              <a:extLst>
                <a:ext uri="{FF2B5EF4-FFF2-40B4-BE49-F238E27FC236}">
                  <a16:creationId xmlns:a16="http://schemas.microsoft.com/office/drawing/2014/main" id="{3F5B8DA5-8A52-F06F-385F-B3E9F60FB807}"/>
                </a:ext>
              </a:extLst>
            </p:cNvPr>
            <p:cNvSpPr/>
            <p:nvPr/>
          </p:nvSpPr>
          <p:spPr>
            <a:xfrm>
              <a:off x="10154341" y="4421579"/>
              <a:ext cx="428381" cy="238369"/>
            </a:xfrm>
            <a:prstGeom prst="round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800">
                  <a:solidFill>
                    <a:schemeClr val="accent1">
                      <a:lumMod val="75000"/>
                    </a:schemeClr>
                  </a:solidFill>
                </a:rPr>
                <a:t>UPF</a:t>
              </a:r>
              <a:endParaRPr lang="de-DE">
                <a:solidFill>
                  <a:schemeClr val="accent1">
                    <a:lumMod val="75000"/>
                  </a:schemeClr>
                </a:solidFill>
              </a:endParaRPr>
            </a:p>
          </p:txBody>
        </p:sp>
      </p:grpSp>
      <p:cxnSp>
        <p:nvCxnSpPr>
          <p:cNvPr id="27" name="Gerade Verbindung mit Pfeil 61">
            <a:extLst>
              <a:ext uri="{FF2B5EF4-FFF2-40B4-BE49-F238E27FC236}">
                <a16:creationId xmlns:a16="http://schemas.microsoft.com/office/drawing/2014/main" id="{A48F9F7C-C85A-EFA0-9D2D-33A06B8D4910}"/>
              </a:ext>
            </a:extLst>
          </p:cNvPr>
          <p:cNvCxnSpPr>
            <a:cxnSpLocks/>
          </p:cNvCxnSpPr>
          <p:nvPr/>
        </p:nvCxnSpPr>
        <p:spPr>
          <a:xfrm flipH="1">
            <a:off x="5678487" y="1163670"/>
            <a:ext cx="2320694" cy="279033"/>
          </a:xfrm>
          <a:prstGeom prst="straightConnector1">
            <a:avLst/>
          </a:prstGeom>
          <a:noFill/>
          <a:ln w="19050" cap="flat" cmpd="sng" algn="ctr">
            <a:solidFill>
              <a:schemeClr val="accent1">
                <a:lumMod val="60000"/>
                <a:lumOff val="40000"/>
              </a:schemeClr>
            </a:solidFill>
            <a:prstDash val="solid"/>
            <a:miter lim="800000"/>
            <a:headEnd type="triangle" w="med" len="med"/>
            <a:tailEnd type="triangle" w="med" len="med"/>
          </a:ln>
          <a:effectLst/>
        </p:spPr>
      </p:cxnSp>
      <p:sp>
        <p:nvSpPr>
          <p:cNvPr id="28" name="Rectangle: Rounded Corners 27">
            <a:extLst>
              <a:ext uri="{FF2B5EF4-FFF2-40B4-BE49-F238E27FC236}">
                <a16:creationId xmlns:a16="http://schemas.microsoft.com/office/drawing/2014/main" id="{ACCFB0F1-42BB-4B97-7E7F-59E38E83E147}"/>
              </a:ext>
            </a:extLst>
          </p:cNvPr>
          <p:cNvSpPr/>
          <p:nvPr/>
        </p:nvSpPr>
        <p:spPr>
          <a:xfrm>
            <a:off x="6468362" y="1003865"/>
            <a:ext cx="428381" cy="238369"/>
          </a:xfrm>
          <a:prstGeom prst="roundRect">
            <a:avLst/>
          </a:prstGeom>
          <a:noFill/>
          <a:ln w="190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800">
                <a:solidFill>
                  <a:schemeClr val="accent1">
                    <a:lumMod val="75000"/>
                  </a:schemeClr>
                </a:solidFill>
              </a:rPr>
              <a:t>ISL</a:t>
            </a:r>
            <a:endParaRPr lang="de-DE">
              <a:solidFill>
                <a:schemeClr val="accent1">
                  <a:lumMod val="75000"/>
                </a:schemeClr>
              </a:solidFill>
            </a:endParaRPr>
          </a:p>
        </p:txBody>
      </p:sp>
      <p:cxnSp>
        <p:nvCxnSpPr>
          <p:cNvPr id="26" name="Gerade Verbindung mit Pfeil 61">
            <a:extLst>
              <a:ext uri="{FF2B5EF4-FFF2-40B4-BE49-F238E27FC236}">
                <a16:creationId xmlns:a16="http://schemas.microsoft.com/office/drawing/2014/main" id="{A1A42723-8025-958B-60C9-7254AE0C04BA}"/>
              </a:ext>
            </a:extLst>
          </p:cNvPr>
          <p:cNvCxnSpPr>
            <a:cxnSpLocks/>
            <a:stCxn id="30" idx="0"/>
          </p:cNvCxnSpPr>
          <p:nvPr/>
        </p:nvCxnSpPr>
        <p:spPr>
          <a:xfrm flipV="1">
            <a:off x="2468533" y="1726516"/>
            <a:ext cx="2589792" cy="2947664"/>
          </a:xfrm>
          <a:prstGeom prst="straightConnector1">
            <a:avLst/>
          </a:prstGeom>
          <a:noFill/>
          <a:ln w="19050" cap="flat" cmpd="sng" algn="ctr">
            <a:solidFill>
              <a:srgbClr val="FF7C80"/>
            </a:solidFill>
            <a:prstDash val="solid"/>
            <a:miter lim="800000"/>
            <a:headEnd type="triangle" w="med" len="med"/>
            <a:tailEnd type="triangle" w="med" len="med"/>
          </a:ln>
          <a:effectLst/>
        </p:spPr>
      </p:cxnSp>
      <p:pic>
        <p:nvPicPr>
          <p:cNvPr id="30" name="Grafik 29">
            <a:extLst>
              <a:ext uri="{FF2B5EF4-FFF2-40B4-BE49-F238E27FC236}">
                <a16:creationId xmlns:a16="http://schemas.microsoft.com/office/drawing/2014/main" id="{4766E831-205C-1EB3-68EF-5DA32B995CE8}"/>
              </a:ext>
            </a:extLst>
          </p:cNvPr>
          <p:cNvPicPr>
            <a:picLocks noChangeAspect="1"/>
          </p:cNvPicPr>
          <p:nvPr/>
        </p:nvPicPr>
        <p:blipFill>
          <a:blip r:embed="rId11">
            <a:duotone>
              <a:srgbClr val="4472C4">
                <a:shade val="45000"/>
                <a:satMod val="135000"/>
              </a:srgbClr>
              <a:prstClr val="white"/>
            </a:duotone>
            <a:extLst>
              <a:ext uri="{28A0092B-C50C-407E-A947-70E740481C1C}">
                <a14:useLocalDpi xmlns:a14="http://schemas.microsoft.com/office/drawing/2010/main" val="0"/>
              </a:ext>
            </a:extLst>
          </a:blip>
          <a:stretch>
            <a:fillRect/>
          </a:stretch>
        </p:blipFill>
        <p:spPr>
          <a:xfrm>
            <a:off x="2171208" y="4674180"/>
            <a:ext cx="594649" cy="567169"/>
          </a:xfrm>
          <a:prstGeom prst="rect">
            <a:avLst/>
          </a:prstGeom>
        </p:spPr>
      </p:pic>
      <p:sp>
        <p:nvSpPr>
          <p:cNvPr id="29" name="Rectangle 28">
            <a:extLst>
              <a:ext uri="{FF2B5EF4-FFF2-40B4-BE49-F238E27FC236}">
                <a16:creationId xmlns:a16="http://schemas.microsoft.com/office/drawing/2014/main" id="{7AB85E92-ABC1-3173-5720-0E95054F161E}"/>
              </a:ext>
            </a:extLst>
          </p:cNvPr>
          <p:cNvSpPr/>
          <p:nvPr/>
        </p:nvSpPr>
        <p:spPr>
          <a:xfrm>
            <a:off x="202165" y="5347818"/>
            <a:ext cx="10640458" cy="307563"/>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err="1"/>
              <a:t>Terrestrial</a:t>
            </a:r>
            <a:r>
              <a:rPr lang="de-DE"/>
              <a:t> Core NW/Backend</a:t>
            </a:r>
          </a:p>
        </p:txBody>
      </p:sp>
      <p:pic>
        <p:nvPicPr>
          <p:cNvPr id="31" name="Graphic 30" descr="Database with solid fill">
            <a:extLst>
              <a:ext uri="{FF2B5EF4-FFF2-40B4-BE49-F238E27FC236}">
                <a16:creationId xmlns:a16="http://schemas.microsoft.com/office/drawing/2014/main" id="{5AB696C7-E477-0DDF-9CFA-FE23D31EAE8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66875" y="5360627"/>
            <a:ext cx="289524" cy="289524"/>
          </a:xfrm>
          <a:prstGeom prst="rect">
            <a:avLst/>
          </a:prstGeom>
        </p:spPr>
      </p:pic>
      <p:pic>
        <p:nvPicPr>
          <p:cNvPr id="32" name="Graphic 31" descr="Database with solid fill">
            <a:extLst>
              <a:ext uri="{FF2B5EF4-FFF2-40B4-BE49-F238E27FC236}">
                <a16:creationId xmlns:a16="http://schemas.microsoft.com/office/drawing/2014/main" id="{38A2D090-EFDA-9DAE-CCEC-C3EF8A72265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879182" y="5360627"/>
            <a:ext cx="289524" cy="289524"/>
          </a:xfrm>
          <a:prstGeom prst="rect">
            <a:avLst/>
          </a:prstGeom>
        </p:spPr>
      </p:pic>
      <p:cxnSp>
        <p:nvCxnSpPr>
          <p:cNvPr id="41" name="Gerade Verbindung mit Pfeil 61">
            <a:extLst>
              <a:ext uri="{FF2B5EF4-FFF2-40B4-BE49-F238E27FC236}">
                <a16:creationId xmlns:a16="http://schemas.microsoft.com/office/drawing/2014/main" id="{FA972129-80D4-7890-D815-1D20D92D95D1}"/>
              </a:ext>
            </a:extLst>
          </p:cNvPr>
          <p:cNvCxnSpPr>
            <a:cxnSpLocks/>
          </p:cNvCxnSpPr>
          <p:nvPr/>
        </p:nvCxnSpPr>
        <p:spPr>
          <a:xfrm flipH="1" flipV="1">
            <a:off x="2371362" y="5217465"/>
            <a:ext cx="1507820" cy="287924"/>
          </a:xfrm>
          <a:prstGeom prst="straightConnector1">
            <a:avLst/>
          </a:prstGeom>
          <a:noFill/>
          <a:ln w="19050" cap="flat" cmpd="sng" algn="ctr">
            <a:solidFill>
              <a:srgbClr val="FF7C80"/>
            </a:solidFill>
            <a:prstDash val="solid"/>
            <a:miter lim="800000"/>
            <a:headEnd type="triangle" w="med" len="med"/>
            <a:tailEnd type="triangle" w="med" len="med"/>
          </a:ln>
          <a:effectLst/>
        </p:spPr>
      </p:cxnSp>
      <p:sp>
        <p:nvSpPr>
          <p:cNvPr id="52" name="Textfeld 79">
            <a:extLst>
              <a:ext uri="{FF2B5EF4-FFF2-40B4-BE49-F238E27FC236}">
                <a16:creationId xmlns:a16="http://schemas.microsoft.com/office/drawing/2014/main" id="{E35FD030-AD52-5C68-97B7-68ED6CA59E23}"/>
              </a:ext>
            </a:extLst>
          </p:cNvPr>
          <p:cNvSpPr txBox="1"/>
          <p:nvPr/>
        </p:nvSpPr>
        <p:spPr>
          <a:xfrm>
            <a:off x="563207" y="3890360"/>
            <a:ext cx="1004195" cy="230832"/>
          </a:xfrm>
          <a:prstGeom prst="rect">
            <a:avLst/>
          </a:prstGeom>
          <a:noFill/>
        </p:spPr>
        <p:txBody>
          <a:bodyPr wrap="square" rtlCol="0">
            <a:spAutoFit/>
          </a:bodyPr>
          <a:lstStyle/>
          <a:p>
            <a:pPr>
              <a:defRPr/>
            </a:pPr>
            <a:r>
              <a:rPr lang="en-US" sz="900" kern="0">
                <a:solidFill>
                  <a:schemeClr val="accent1">
                    <a:lumMod val="75000"/>
                  </a:schemeClr>
                </a:solidFill>
              </a:rPr>
              <a:t>Base Station-TN</a:t>
            </a:r>
          </a:p>
        </p:txBody>
      </p:sp>
      <p:sp>
        <p:nvSpPr>
          <p:cNvPr id="54" name="Textfeld 79">
            <a:extLst>
              <a:ext uri="{FF2B5EF4-FFF2-40B4-BE49-F238E27FC236}">
                <a16:creationId xmlns:a16="http://schemas.microsoft.com/office/drawing/2014/main" id="{6BE4D712-05B4-6B69-15FA-D2F122BB6D68}"/>
              </a:ext>
            </a:extLst>
          </p:cNvPr>
          <p:cNvSpPr txBox="1"/>
          <p:nvPr/>
        </p:nvSpPr>
        <p:spPr>
          <a:xfrm>
            <a:off x="7868882" y="644617"/>
            <a:ext cx="805029" cy="230832"/>
          </a:xfrm>
          <a:prstGeom prst="rect">
            <a:avLst/>
          </a:prstGeom>
          <a:noFill/>
        </p:spPr>
        <p:txBody>
          <a:bodyPr wrap="none" rtlCol="0">
            <a:spAutoFit/>
          </a:bodyPr>
          <a:lstStyle/>
          <a:p>
            <a:pPr>
              <a:defRPr/>
            </a:pPr>
            <a:r>
              <a:rPr lang="en-US" sz="900" kern="0">
                <a:solidFill>
                  <a:schemeClr val="accent1">
                    <a:lumMod val="75000"/>
                  </a:schemeClr>
                </a:solidFill>
              </a:rPr>
              <a:t>Satellite-NTN</a:t>
            </a:r>
          </a:p>
        </p:txBody>
      </p:sp>
      <p:sp>
        <p:nvSpPr>
          <p:cNvPr id="55" name="Textfeld 79">
            <a:extLst>
              <a:ext uri="{FF2B5EF4-FFF2-40B4-BE49-F238E27FC236}">
                <a16:creationId xmlns:a16="http://schemas.microsoft.com/office/drawing/2014/main" id="{FF09222B-FC2A-24CB-63C9-34661618D3CA}"/>
              </a:ext>
            </a:extLst>
          </p:cNvPr>
          <p:cNvSpPr txBox="1"/>
          <p:nvPr/>
        </p:nvSpPr>
        <p:spPr>
          <a:xfrm>
            <a:off x="4963409" y="929602"/>
            <a:ext cx="805029" cy="230832"/>
          </a:xfrm>
          <a:prstGeom prst="rect">
            <a:avLst/>
          </a:prstGeom>
          <a:noFill/>
        </p:spPr>
        <p:txBody>
          <a:bodyPr wrap="none" rtlCol="0">
            <a:spAutoFit/>
          </a:bodyPr>
          <a:lstStyle/>
          <a:p>
            <a:pPr>
              <a:defRPr/>
            </a:pPr>
            <a:r>
              <a:rPr lang="en-US" sz="900" kern="0">
                <a:solidFill>
                  <a:schemeClr val="accent1">
                    <a:lumMod val="75000"/>
                  </a:schemeClr>
                </a:solidFill>
              </a:rPr>
              <a:t>Satellite-NTN</a:t>
            </a:r>
          </a:p>
        </p:txBody>
      </p:sp>
      <p:sp>
        <p:nvSpPr>
          <p:cNvPr id="58" name="Textfeld 79">
            <a:extLst>
              <a:ext uri="{FF2B5EF4-FFF2-40B4-BE49-F238E27FC236}">
                <a16:creationId xmlns:a16="http://schemas.microsoft.com/office/drawing/2014/main" id="{789A3F3B-D42E-3783-8CCC-0ACF7A8F7754}"/>
              </a:ext>
            </a:extLst>
          </p:cNvPr>
          <p:cNvSpPr txBox="1"/>
          <p:nvPr/>
        </p:nvSpPr>
        <p:spPr>
          <a:xfrm>
            <a:off x="2622612" y="4418823"/>
            <a:ext cx="769591" cy="369332"/>
          </a:xfrm>
          <a:prstGeom prst="rect">
            <a:avLst/>
          </a:prstGeom>
          <a:noFill/>
        </p:spPr>
        <p:txBody>
          <a:bodyPr wrap="square" rtlCol="0">
            <a:spAutoFit/>
          </a:bodyPr>
          <a:lstStyle/>
          <a:p>
            <a:pPr>
              <a:defRPr/>
            </a:pPr>
            <a:r>
              <a:rPr lang="en-US" sz="900" kern="0">
                <a:solidFill>
                  <a:schemeClr val="accent1">
                    <a:lumMod val="75000"/>
                  </a:schemeClr>
                </a:solidFill>
              </a:rPr>
              <a:t>Ground Station-TN</a:t>
            </a:r>
          </a:p>
        </p:txBody>
      </p:sp>
      <p:sp>
        <p:nvSpPr>
          <p:cNvPr id="60" name="Textfeld 79">
            <a:extLst>
              <a:ext uri="{FF2B5EF4-FFF2-40B4-BE49-F238E27FC236}">
                <a16:creationId xmlns:a16="http://schemas.microsoft.com/office/drawing/2014/main" id="{A96C0BC4-6ACF-2B0C-1865-43FD80ABF4C0}"/>
              </a:ext>
            </a:extLst>
          </p:cNvPr>
          <p:cNvSpPr txBox="1"/>
          <p:nvPr/>
        </p:nvSpPr>
        <p:spPr>
          <a:xfrm>
            <a:off x="9439855" y="3768316"/>
            <a:ext cx="1004195" cy="230832"/>
          </a:xfrm>
          <a:prstGeom prst="rect">
            <a:avLst/>
          </a:prstGeom>
          <a:noFill/>
        </p:spPr>
        <p:txBody>
          <a:bodyPr wrap="square" rtlCol="0">
            <a:spAutoFit/>
          </a:bodyPr>
          <a:lstStyle/>
          <a:p>
            <a:pPr>
              <a:defRPr/>
            </a:pPr>
            <a:r>
              <a:rPr lang="en-US" sz="900" kern="0">
                <a:solidFill>
                  <a:schemeClr val="accent1">
                    <a:lumMod val="75000"/>
                  </a:schemeClr>
                </a:solidFill>
              </a:rPr>
              <a:t>Base Station-TN</a:t>
            </a:r>
          </a:p>
        </p:txBody>
      </p:sp>
      <p:sp>
        <p:nvSpPr>
          <p:cNvPr id="51" name="Rechteck: abgerundete Ecken 50">
            <a:extLst>
              <a:ext uri="{FF2B5EF4-FFF2-40B4-BE49-F238E27FC236}">
                <a16:creationId xmlns:a16="http://schemas.microsoft.com/office/drawing/2014/main" id="{F1B69E95-D646-4876-8883-5896C89B2DEF}"/>
              </a:ext>
            </a:extLst>
          </p:cNvPr>
          <p:cNvSpPr/>
          <p:nvPr/>
        </p:nvSpPr>
        <p:spPr>
          <a:xfrm>
            <a:off x="497307" y="1142444"/>
            <a:ext cx="2267576" cy="720000"/>
          </a:xfrm>
          <a:prstGeom prst="round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a:solidFill>
                  <a:schemeClr val="tx1"/>
                </a:solidFill>
              </a:rPr>
              <a:t>Moving user is served by another satellite</a:t>
            </a:r>
          </a:p>
        </p:txBody>
      </p:sp>
    </p:spTree>
    <p:extLst>
      <p:ext uri="{BB962C8B-B14F-4D97-AF65-F5344CB8AC3E}">
        <p14:creationId xmlns:p14="http://schemas.microsoft.com/office/powerpoint/2010/main" val="3749321561"/>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C84660-E3B5-4ED6-CDD8-5E23A429D2C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27534E1-8C81-E61D-BB1E-D0D9F5F53DC1}"/>
              </a:ext>
            </a:extLst>
          </p:cNvPr>
          <p:cNvSpPr>
            <a:spLocks noGrp="1"/>
          </p:cNvSpPr>
          <p:nvPr>
            <p:ph type="title"/>
          </p:nvPr>
        </p:nvSpPr>
        <p:spPr/>
        <p:txBody>
          <a:bodyPr/>
          <a:lstStyle/>
          <a:p>
            <a:r>
              <a:rPr lang="en-US">
                <a:ea typeface="Microsoft YaHei"/>
                <a:cs typeface="Arial"/>
              </a:rPr>
              <a:t>3D Network</a:t>
            </a:r>
            <a:endParaRPr lang="en-US"/>
          </a:p>
        </p:txBody>
      </p:sp>
      <p:pic>
        <p:nvPicPr>
          <p:cNvPr id="8" name="Inhaltsplatzhalter 11">
            <a:extLst>
              <a:ext uri="{FF2B5EF4-FFF2-40B4-BE49-F238E27FC236}">
                <a16:creationId xmlns:a16="http://schemas.microsoft.com/office/drawing/2014/main" id="{3E069A1E-62C9-BF72-1602-D325A0503187}"/>
              </a:ext>
            </a:extLst>
          </p:cNvPr>
          <p:cNvPicPr>
            <a:picLocks noChangeAspect="1"/>
          </p:cNvPicPr>
          <p:nvPr/>
        </p:nvPicPr>
        <p:blipFill rotWithShape="1">
          <a:blip r:embed="rId3">
            <a:duotone>
              <a:srgbClr val="4472C4">
                <a:shade val="45000"/>
                <a:satMod val="135000"/>
              </a:srgbClr>
              <a:prstClr val="white"/>
            </a:duotone>
            <a:extLst>
              <a:ext uri="{28A0092B-C50C-407E-A947-70E740481C1C}">
                <a14:useLocalDpi xmlns:a14="http://schemas.microsoft.com/office/drawing/2010/main" val="0"/>
              </a:ext>
            </a:extLst>
          </a:blip>
          <a:srcRect l="9403" t="2699" r="54756" b="8802"/>
          <a:stretch/>
        </p:blipFill>
        <p:spPr>
          <a:xfrm>
            <a:off x="824913" y="4118476"/>
            <a:ext cx="413382" cy="1169819"/>
          </a:xfrm>
          <a:prstGeom prst="rect">
            <a:avLst/>
          </a:prstGeom>
        </p:spPr>
      </p:pic>
      <p:pic>
        <p:nvPicPr>
          <p:cNvPr id="14" name="Inhaltsplatzhalter 11">
            <a:extLst>
              <a:ext uri="{FF2B5EF4-FFF2-40B4-BE49-F238E27FC236}">
                <a16:creationId xmlns:a16="http://schemas.microsoft.com/office/drawing/2014/main" id="{736C0659-EABF-6D4C-C539-A1B9816B4A40}"/>
              </a:ext>
            </a:extLst>
          </p:cNvPr>
          <p:cNvPicPr>
            <a:picLocks noChangeAspect="1"/>
          </p:cNvPicPr>
          <p:nvPr/>
        </p:nvPicPr>
        <p:blipFill rotWithShape="1">
          <a:blip r:embed="rId3">
            <a:duotone>
              <a:srgbClr val="4472C4">
                <a:shade val="45000"/>
                <a:satMod val="135000"/>
              </a:srgbClr>
              <a:prstClr val="white"/>
            </a:duotone>
            <a:extLst>
              <a:ext uri="{28A0092B-C50C-407E-A947-70E740481C1C}">
                <a14:useLocalDpi xmlns:a14="http://schemas.microsoft.com/office/drawing/2010/main" val="0"/>
              </a:ext>
            </a:extLst>
          </a:blip>
          <a:srcRect l="9403" t="2699" r="54756" b="8802"/>
          <a:stretch/>
        </p:blipFill>
        <p:spPr>
          <a:xfrm>
            <a:off x="9696855" y="4005776"/>
            <a:ext cx="413382" cy="1169819"/>
          </a:xfrm>
          <a:prstGeom prst="rect">
            <a:avLst/>
          </a:prstGeom>
        </p:spPr>
      </p:pic>
      <p:sp>
        <p:nvSpPr>
          <p:cNvPr id="15" name="Textfeld 79">
            <a:extLst>
              <a:ext uri="{FF2B5EF4-FFF2-40B4-BE49-F238E27FC236}">
                <a16:creationId xmlns:a16="http://schemas.microsoft.com/office/drawing/2014/main" id="{31C78D10-55AA-1FF1-9BCE-9ECCCBD467AB}"/>
              </a:ext>
            </a:extLst>
          </p:cNvPr>
          <p:cNvSpPr txBox="1"/>
          <p:nvPr/>
        </p:nvSpPr>
        <p:spPr>
          <a:xfrm>
            <a:off x="9477788" y="5092508"/>
            <a:ext cx="851515" cy="253916"/>
          </a:xfrm>
          <a:prstGeom prst="rect">
            <a:avLst/>
          </a:prstGeom>
          <a:noFill/>
        </p:spPr>
        <p:txBody>
          <a:bodyPr wrap="none" rtlCol="0">
            <a:spAutoFit/>
          </a:bodyPr>
          <a:lstStyle/>
          <a:p>
            <a:pPr>
              <a:defRPr/>
            </a:pPr>
            <a:r>
              <a:rPr lang="en-US" sz="1050" kern="0">
                <a:solidFill>
                  <a:schemeClr val="accent1">
                    <a:lumMod val="75000"/>
                  </a:schemeClr>
                </a:solidFill>
              </a:rPr>
              <a:t>Base station</a:t>
            </a:r>
          </a:p>
        </p:txBody>
      </p:sp>
      <p:grpSp>
        <p:nvGrpSpPr>
          <p:cNvPr id="21" name="Group 20">
            <a:extLst>
              <a:ext uri="{FF2B5EF4-FFF2-40B4-BE49-F238E27FC236}">
                <a16:creationId xmlns:a16="http://schemas.microsoft.com/office/drawing/2014/main" id="{C597D651-D7F2-C3B5-33F4-6216B15211EB}"/>
              </a:ext>
            </a:extLst>
          </p:cNvPr>
          <p:cNvGrpSpPr/>
          <p:nvPr/>
        </p:nvGrpSpPr>
        <p:grpSpPr>
          <a:xfrm>
            <a:off x="3764789" y="4397434"/>
            <a:ext cx="363940" cy="581068"/>
            <a:chOff x="8397385" y="4381221"/>
            <a:chExt cx="363940" cy="581068"/>
          </a:xfrm>
        </p:grpSpPr>
        <p:pic>
          <p:nvPicPr>
            <p:cNvPr id="9" name="Grafik 72">
              <a:extLst>
                <a:ext uri="{FF2B5EF4-FFF2-40B4-BE49-F238E27FC236}">
                  <a16:creationId xmlns:a16="http://schemas.microsoft.com/office/drawing/2014/main" id="{6BFEA8C6-E21A-1E80-2CEB-AA448510AE79}"/>
                </a:ext>
              </a:extLst>
            </p:cNvPr>
            <p:cNvPicPr>
              <a:picLocks noChangeAspect="1"/>
            </p:cNvPicPr>
            <p:nvPr/>
          </p:nvPicPr>
          <p:blipFill rotWithShape="1">
            <a:blip r:embed="rId4" cstate="print">
              <a:duotone>
                <a:srgbClr val="4472C4">
                  <a:shade val="45000"/>
                  <a:satMod val="135000"/>
                </a:srgbClr>
                <a:prstClr val="white"/>
              </a:duotone>
              <a:extLst>
                <a:ext uri="{28A0092B-C50C-407E-A947-70E740481C1C}">
                  <a14:useLocalDpi xmlns:a14="http://schemas.microsoft.com/office/drawing/2010/main" val="0"/>
                </a:ext>
              </a:extLst>
            </a:blip>
            <a:srcRect l="28161" r="29513"/>
            <a:stretch/>
          </p:blipFill>
          <p:spPr>
            <a:xfrm>
              <a:off x="8397385" y="4381221"/>
              <a:ext cx="363940" cy="581068"/>
            </a:xfrm>
            <a:prstGeom prst="rect">
              <a:avLst/>
            </a:prstGeom>
          </p:spPr>
        </p:pic>
        <p:sp>
          <p:nvSpPr>
            <p:cNvPr id="16" name="TextBox 15">
              <a:extLst>
                <a:ext uri="{FF2B5EF4-FFF2-40B4-BE49-F238E27FC236}">
                  <a16:creationId xmlns:a16="http://schemas.microsoft.com/office/drawing/2014/main" id="{25E479B9-BB51-543F-805A-E08E3FE217B7}"/>
                </a:ext>
              </a:extLst>
            </p:cNvPr>
            <p:cNvSpPr txBox="1"/>
            <p:nvPr/>
          </p:nvSpPr>
          <p:spPr>
            <a:xfrm>
              <a:off x="8401931" y="4533255"/>
              <a:ext cx="359394" cy="276999"/>
            </a:xfrm>
            <a:prstGeom prst="rect">
              <a:avLst/>
            </a:prstGeom>
            <a:noFill/>
          </p:spPr>
          <p:txBody>
            <a:bodyPr wrap="none" rtlCol="0">
              <a:spAutoFit/>
            </a:bodyPr>
            <a:lstStyle/>
            <a:p>
              <a:r>
                <a:rPr lang="de-DE" sz="1200">
                  <a:solidFill>
                    <a:schemeClr val="accent1">
                      <a:lumMod val="75000"/>
                    </a:schemeClr>
                  </a:solidFill>
                </a:rPr>
                <a:t>UE</a:t>
              </a:r>
              <a:endParaRPr lang="de-DE" sz="1400">
                <a:solidFill>
                  <a:schemeClr val="accent1">
                    <a:lumMod val="75000"/>
                  </a:schemeClr>
                </a:solidFill>
              </a:endParaRPr>
            </a:p>
          </p:txBody>
        </p:sp>
      </p:grpSp>
      <p:pic>
        <p:nvPicPr>
          <p:cNvPr id="27" name="Grafik 29">
            <a:extLst>
              <a:ext uri="{FF2B5EF4-FFF2-40B4-BE49-F238E27FC236}">
                <a16:creationId xmlns:a16="http://schemas.microsoft.com/office/drawing/2014/main" id="{16F18DEF-42CF-65C0-A31C-8892E948FDCD}"/>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7999054" y="4427861"/>
            <a:ext cx="272343" cy="574347"/>
          </a:xfrm>
          <a:prstGeom prst="rect">
            <a:avLst/>
          </a:prstGeom>
        </p:spPr>
      </p:pic>
      <p:pic>
        <p:nvPicPr>
          <p:cNvPr id="28" name="Grafik 30">
            <a:extLst>
              <a:ext uri="{FF2B5EF4-FFF2-40B4-BE49-F238E27FC236}">
                <a16:creationId xmlns:a16="http://schemas.microsoft.com/office/drawing/2014/main" id="{FBBD15C0-5C92-1DA7-EDD5-B97A6B7B8390}"/>
              </a:ext>
            </a:extLst>
          </p:cNvPr>
          <p:cNvPicPr>
            <a:picLocks noChangeAspect="1"/>
          </p:cNvPicPr>
          <p:nvPr/>
        </p:nvPicPr>
        <p:blipFill>
          <a:blip r:embed="rId6">
            <a:clrChange>
              <a:clrFrom>
                <a:srgbClr val="FFFFFA"/>
              </a:clrFrom>
              <a:clrTo>
                <a:srgbClr val="FFFFFA">
                  <a:alpha val="0"/>
                </a:srgbClr>
              </a:clrTo>
            </a:clrChange>
          </a:blip>
          <a:stretch>
            <a:fillRect/>
          </a:stretch>
        </p:blipFill>
        <p:spPr>
          <a:xfrm>
            <a:off x="6780863" y="4013391"/>
            <a:ext cx="303582" cy="783758"/>
          </a:xfrm>
          <a:prstGeom prst="rect">
            <a:avLst/>
          </a:prstGeom>
        </p:spPr>
      </p:pic>
      <p:pic>
        <p:nvPicPr>
          <p:cNvPr id="29" name="Grafik 31">
            <a:extLst>
              <a:ext uri="{FF2B5EF4-FFF2-40B4-BE49-F238E27FC236}">
                <a16:creationId xmlns:a16="http://schemas.microsoft.com/office/drawing/2014/main" id="{BE1D9D56-F36D-510E-8453-8DBA2776935C}"/>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7255472" y="3913185"/>
            <a:ext cx="417071" cy="852147"/>
          </a:xfrm>
          <a:prstGeom prst="rect">
            <a:avLst/>
          </a:prstGeom>
        </p:spPr>
      </p:pic>
      <p:pic>
        <p:nvPicPr>
          <p:cNvPr id="30" name="Grafik 32">
            <a:extLst>
              <a:ext uri="{FF2B5EF4-FFF2-40B4-BE49-F238E27FC236}">
                <a16:creationId xmlns:a16="http://schemas.microsoft.com/office/drawing/2014/main" id="{C386A418-1903-D339-4EDF-6911C2EABBC1}"/>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7033369" y="4285937"/>
            <a:ext cx="304132" cy="582960"/>
          </a:xfrm>
          <a:prstGeom prst="rect">
            <a:avLst/>
          </a:prstGeom>
        </p:spPr>
      </p:pic>
      <p:pic>
        <p:nvPicPr>
          <p:cNvPr id="31" name="Grafik 34">
            <a:extLst>
              <a:ext uri="{FF2B5EF4-FFF2-40B4-BE49-F238E27FC236}">
                <a16:creationId xmlns:a16="http://schemas.microsoft.com/office/drawing/2014/main" id="{4351AAAE-ED38-1D93-6B83-80FDBA718E22}"/>
              </a:ext>
            </a:extLst>
          </p:cNvPr>
          <p:cNvPicPr>
            <a:picLocks noChangeAspect="1"/>
          </p:cNvPicPr>
          <p:nvPr/>
        </p:nvPicPr>
        <p:blipFill>
          <a:blip r:embed="rId6">
            <a:clrChange>
              <a:clrFrom>
                <a:srgbClr val="FFFFFA"/>
              </a:clrFrom>
              <a:clrTo>
                <a:srgbClr val="FFFFFA">
                  <a:alpha val="0"/>
                </a:srgbClr>
              </a:clrTo>
            </a:clrChange>
          </a:blip>
          <a:stretch>
            <a:fillRect/>
          </a:stretch>
        </p:blipFill>
        <p:spPr>
          <a:xfrm>
            <a:off x="7601164" y="3874159"/>
            <a:ext cx="303582" cy="783758"/>
          </a:xfrm>
          <a:prstGeom prst="rect">
            <a:avLst/>
          </a:prstGeom>
        </p:spPr>
      </p:pic>
      <p:pic>
        <p:nvPicPr>
          <p:cNvPr id="32" name="Grafik 35">
            <a:extLst>
              <a:ext uri="{FF2B5EF4-FFF2-40B4-BE49-F238E27FC236}">
                <a16:creationId xmlns:a16="http://schemas.microsoft.com/office/drawing/2014/main" id="{D2B02EE9-DDB9-6287-113C-2DA723A6E107}"/>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8440782" y="4725422"/>
            <a:ext cx="523687" cy="395966"/>
          </a:xfrm>
          <a:prstGeom prst="rect">
            <a:avLst/>
          </a:prstGeom>
        </p:spPr>
      </p:pic>
      <p:pic>
        <p:nvPicPr>
          <p:cNvPr id="33" name="Grafik 63">
            <a:extLst>
              <a:ext uri="{FF2B5EF4-FFF2-40B4-BE49-F238E27FC236}">
                <a16:creationId xmlns:a16="http://schemas.microsoft.com/office/drawing/2014/main" id="{87BBFE7A-7ADC-CC4F-886F-202752232F6D}"/>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7820601" y="4369271"/>
            <a:ext cx="219249" cy="447962"/>
          </a:xfrm>
          <a:prstGeom prst="rect">
            <a:avLst/>
          </a:prstGeom>
        </p:spPr>
      </p:pic>
      <p:pic>
        <p:nvPicPr>
          <p:cNvPr id="34" name="Inhaltsplatzhalter 11">
            <a:extLst>
              <a:ext uri="{FF2B5EF4-FFF2-40B4-BE49-F238E27FC236}">
                <a16:creationId xmlns:a16="http://schemas.microsoft.com/office/drawing/2014/main" id="{0B308DD8-C84F-63CC-3052-3478983E3C36}"/>
              </a:ext>
            </a:extLst>
          </p:cNvPr>
          <p:cNvPicPr>
            <a:picLocks noChangeAspect="1"/>
          </p:cNvPicPr>
          <p:nvPr/>
        </p:nvPicPr>
        <p:blipFill rotWithShape="1">
          <a:blip r:embed="rId3">
            <a:duotone>
              <a:srgbClr val="4472C4">
                <a:shade val="45000"/>
                <a:satMod val="135000"/>
              </a:srgbClr>
              <a:prstClr val="white"/>
            </a:duotone>
            <a:extLst>
              <a:ext uri="{28A0092B-C50C-407E-A947-70E740481C1C}">
                <a14:useLocalDpi xmlns:a14="http://schemas.microsoft.com/office/drawing/2010/main" val="0"/>
              </a:ext>
            </a:extLst>
          </a:blip>
          <a:srcRect l="9403" t="2699" r="54756" b="8802"/>
          <a:stretch/>
        </p:blipFill>
        <p:spPr>
          <a:xfrm>
            <a:off x="9703117" y="4001501"/>
            <a:ext cx="413382" cy="1169819"/>
          </a:xfrm>
          <a:prstGeom prst="rect">
            <a:avLst/>
          </a:prstGeom>
        </p:spPr>
      </p:pic>
      <p:sp>
        <p:nvSpPr>
          <p:cNvPr id="35" name="Textfeld 79">
            <a:extLst>
              <a:ext uri="{FF2B5EF4-FFF2-40B4-BE49-F238E27FC236}">
                <a16:creationId xmlns:a16="http://schemas.microsoft.com/office/drawing/2014/main" id="{37CBA2AD-D5C5-C37A-98F4-92F4D5BFB245}"/>
              </a:ext>
            </a:extLst>
          </p:cNvPr>
          <p:cNvSpPr txBox="1"/>
          <p:nvPr/>
        </p:nvSpPr>
        <p:spPr>
          <a:xfrm>
            <a:off x="9477788" y="5092508"/>
            <a:ext cx="851515" cy="253916"/>
          </a:xfrm>
          <a:prstGeom prst="rect">
            <a:avLst/>
          </a:prstGeom>
          <a:noFill/>
        </p:spPr>
        <p:txBody>
          <a:bodyPr wrap="none" rtlCol="0">
            <a:spAutoFit/>
          </a:bodyPr>
          <a:lstStyle/>
          <a:p>
            <a:pPr>
              <a:defRPr/>
            </a:pPr>
            <a:r>
              <a:rPr lang="en-US" sz="1050" kern="0">
                <a:solidFill>
                  <a:schemeClr val="accent1">
                    <a:lumMod val="75000"/>
                  </a:schemeClr>
                </a:solidFill>
              </a:rPr>
              <a:t>Base station</a:t>
            </a:r>
          </a:p>
        </p:txBody>
      </p:sp>
      <p:cxnSp>
        <p:nvCxnSpPr>
          <p:cNvPr id="39" name="Gerader Verbinder 45">
            <a:extLst>
              <a:ext uri="{FF2B5EF4-FFF2-40B4-BE49-F238E27FC236}">
                <a16:creationId xmlns:a16="http://schemas.microsoft.com/office/drawing/2014/main" id="{A884C486-444C-D53C-F57C-FE1B530BAE81}"/>
              </a:ext>
            </a:extLst>
          </p:cNvPr>
          <p:cNvCxnSpPr>
            <a:cxnSpLocks/>
          </p:cNvCxnSpPr>
          <p:nvPr/>
        </p:nvCxnSpPr>
        <p:spPr>
          <a:xfrm flipV="1">
            <a:off x="8392678" y="4006371"/>
            <a:ext cx="1404057" cy="71905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41" name="Freihandform: Form 25">
            <a:extLst>
              <a:ext uri="{FF2B5EF4-FFF2-40B4-BE49-F238E27FC236}">
                <a16:creationId xmlns:a16="http://schemas.microsoft.com/office/drawing/2014/main" id="{DED43A9A-C6C6-28EF-112A-72EA04512110}"/>
              </a:ext>
            </a:extLst>
          </p:cNvPr>
          <p:cNvSpPr/>
          <p:nvPr/>
        </p:nvSpPr>
        <p:spPr>
          <a:xfrm>
            <a:off x="5426493" y="3991947"/>
            <a:ext cx="5434628" cy="1453919"/>
          </a:xfrm>
          <a:custGeom>
            <a:avLst/>
            <a:gdLst>
              <a:gd name="connsiteX0" fmla="*/ 354439 w 6305329"/>
              <a:gd name="connsiteY0" fmla="*/ 1307886 h 1602253"/>
              <a:gd name="connsiteX1" fmla="*/ 685179 w 6305329"/>
              <a:gd name="connsiteY1" fmla="*/ 1230065 h 1602253"/>
              <a:gd name="connsiteX2" fmla="*/ 1054830 w 6305329"/>
              <a:gd name="connsiteY2" fmla="*/ 481035 h 1602253"/>
              <a:gd name="connsiteX3" fmla="*/ 1278566 w 6305329"/>
              <a:gd name="connsiteY3" fmla="*/ 4380 h 1602253"/>
              <a:gd name="connsiteX4" fmla="*/ 1570396 w 6305329"/>
              <a:gd name="connsiteY4" fmla="*/ 753409 h 1602253"/>
              <a:gd name="connsiteX5" fmla="*/ 2134600 w 6305329"/>
              <a:gd name="connsiteY5" fmla="*/ 918780 h 1602253"/>
              <a:gd name="connsiteX6" fmla="*/ 2562617 w 6305329"/>
              <a:gd name="connsiteY6" fmla="*/ 665860 h 1602253"/>
              <a:gd name="connsiteX7" fmla="*/ 3019817 w 6305329"/>
              <a:gd name="connsiteY7" fmla="*/ 977146 h 1602253"/>
              <a:gd name="connsiteX8" fmla="*/ 3807758 w 6305329"/>
              <a:gd name="connsiteY8" fmla="*/ 1220337 h 1602253"/>
              <a:gd name="connsiteX9" fmla="*/ 5850566 w 6305329"/>
              <a:gd name="connsiteY9" fmla="*/ 1278703 h 1602253"/>
              <a:gd name="connsiteX10" fmla="*/ 5801928 w 6305329"/>
              <a:gd name="connsiteY10" fmla="*/ 1580260 h 1602253"/>
              <a:gd name="connsiteX11" fmla="*/ 432260 w 6305329"/>
              <a:gd name="connsiteY11" fmla="*/ 1551077 h 1602253"/>
              <a:gd name="connsiteX12" fmla="*/ 354439 w 6305329"/>
              <a:gd name="connsiteY12" fmla="*/ 1307886 h 160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5329" h="1602253">
                <a:moveTo>
                  <a:pt x="354439" y="1307886"/>
                </a:moveTo>
                <a:cubicBezTo>
                  <a:pt x="396592" y="1254384"/>
                  <a:pt x="568447" y="1367874"/>
                  <a:pt x="685179" y="1230065"/>
                </a:cubicBezTo>
                <a:cubicBezTo>
                  <a:pt x="801911" y="1092256"/>
                  <a:pt x="955932" y="685316"/>
                  <a:pt x="1054830" y="481035"/>
                </a:cubicBezTo>
                <a:cubicBezTo>
                  <a:pt x="1153728" y="276754"/>
                  <a:pt x="1192638" y="-41016"/>
                  <a:pt x="1278566" y="4380"/>
                </a:cubicBezTo>
                <a:cubicBezTo>
                  <a:pt x="1364494" y="49776"/>
                  <a:pt x="1427724" y="601009"/>
                  <a:pt x="1570396" y="753409"/>
                </a:cubicBezTo>
                <a:cubicBezTo>
                  <a:pt x="1713068" y="905809"/>
                  <a:pt x="1969230" y="933371"/>
                  <a:pt x="2134600" y="918780"/>
                </a:cubicBezTo>
                <a:cubicBezTo>
                  <a:pt x="2299970" y="904189"/>
                  <a:pt x="2415081" y="656132"/>
                  <a:pt x="2562617" y="665860"/>
                </a:cubicBezTo>
                <a:cubicBezTo>
                  <a:pt x="2710153" y="675588"/>
                  <a:pt x="2812294" y="884733"/>
                  <a:pt x="3019817" y="977146"/>
                </a:cubicBezTo>
                <a:cubicBezTo>
                  <a:pt x="3227341" y="1069559"/>
                  <a:pt x="3335967" y="1170078"/>
                  <a:pt x="3807758" y="1220337"/>
                </a:cubicBezTo>
                <a:cubicBezTo>
                  <a:pt x="4279549" y="1270596"/>
                  <a:pt x="5518204" y="1218716"/>
                  <a:pt x="5850566" y="1278703"/>
                </a:cubicBezTo>
                <a:cubicBezTo>
                  <a:pt x="6182928" y="1338690"/>
                  <a:pt x="6704979" y="1534864"/>
                  <a:pt x="5801928" y="1580260"/>
                </a:cubicBezTo>
                <a:cubicBezTo>
                  <a:pt x="4898877" y="1625656"/>
                  <a:pt x="1333690" y="1593230"/>
                  <a:pt x="432260" y="1551077"/>
                </a:cubicBezTo>
                <a:cubicBezTo>
                  <a:pt x="-469170" y="1508924"/>
                  <a:pt x="312286" y="1361388"/>
                  <a:pt x="354439" y="1307886"/>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3"/>
          </a:p>
        </p:txBody>
      </p:sp>
      <p:pic>
        <p:nvPicPr>
          <p:cNvPr id="7" name="Graphic 6" descr="Satellite outline">
            <a:extLst>
              <a:ext uri="{FF2B5EF4-FFF2-40B4-BE49-F238E27FC236}">
                <a16:creationId xmlns:a16="http://schemas.microsoft.com/office/drawing/2014/main" id="{FF5DFFD6-DFB2-F06D-2EC1-D1C5E1EE9DD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999181" y="856579"/>
            <a:ext cx="614182" cy="614182"/>
          </a:xfrm>
          <a:prstGeom prst="rect">
            <a:avLst/>
          </a:prstGeom>
        </p:spPr>
      </p:pic>
      <p:cxnSp>
        <p:nvCxnSpPr>
          <p:cNvPr id="20" name="Gerader Verbinder 45">
            <a:extLst>
              <a:ext uri="{FF2B5EF4-FFF2-40B4-BE49-F238E27FC236}">
                <a16:creationId xmlns:a16="http://schemas.microsoft.com/office/drawing/2014/main" id="{C1F35176-47F5-8789-547B-6D21C33F42D5}"/>
              </a:ext>
            </a:extLst>
          </p:cNvPr>
          <p:cNvCxnSpPr>
            <a:cxnSpLocks/>
          </p:cNvCxnSpPr>
          <p:nvPr/>
        </p:nvCxnSpPr>
        <p:spPr>
          <a:xfrm flipV="1">
            <a:off x="6707874" y="878164"/>
            <a:ext cx="1404057" cy="71905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3" name="Gerader Verbinder 46">
            <a:extLst>
              <a:ext uri="{FF2B5EF4-FFF2-40B4-BE49-F238E27FC236}">
                <a16:creationId xmlns:a16="http://schemas.microsoft.com/office/drawing/2014/main" id="{8F9C53A3-5FA2-B2E0-C04D-CB31FE5EEBFC}"/>
              </a:ext>
            </a:extLst>
          </p:cNvPr>
          <p:cNvCxnSpPr>
            <a:cxnSpLocks/>
          </p:cNvCxnSpPr>
          <p:nvPr/>
        </p:nvCxnSpPr>
        <p:spPr>
          <a:xfrm>
            <a:off x="8440782" y="878164"/>
            <a:ext cx="1415565" cy="74232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7" name="Gerade Verbindung mit Pfeil 61">
            <a:extLst>
              <a:ext uri="{FF2B5EF4-FFF2-40B4-BE49-F238E27FC236}">
                <a16:creationId xmlns:a16="http://schemas.microsoft.com/office/drawing/2014/main" id="{6A5BEF84-C6B5-4594-2C5C-001127E2AB2B}"/>
              </a:ext>
            </a:extLst>
          </p:cNvPr>
          <p:cNvCxnSpPr>
            <a:cxnSpLocks/>
            <a:stCxn id="9" idx="0"/>
            <a:endCxn id="42" idx="2"/>
          </p:cNvCxnSpPr>
          <p:nvPr/>
        </p:nvCxnSpPr>
        <p:spPr>
          <a:xfrm flipH="1" flipV="1">
            <a:off x="3470087" y="3251010"/>
            <a:ext cx="476672" cy="1146424"/>
          </a:xfrm>
          <a:prstGeom prst="straightConnector1">
            <a:avLst/>
          </a:prstGeom>
          <a:noFill/>
          <a:ln w="19050" cap="flat" cmpd="sng" algn="ctr">
            <a:solidFill>
              <a:srgbClr val="C00000"/>
            </a:solidFill>
            <a:prstDash val="solid"/>
            <a:miter lim="800000"/>
            <a:headEnd type="triangle" w="med" len="med"/>
            <a:tailEnd type="triangle" w="med" len="med"/>
          </a:ln>
          <a:effectLst/>
        </p:spPr>
      </p:cxnSp>
      <p:pic>
        <p:nvPicPr>
          <p:cNvPr id="6" name="Graphic 5" descr="Satellite outline">
            <a:extLst>
              <a:ext uri="{FF2B5EF4-FFF2-40B4-BE49-F238E27FC236}">
                <a16:creationId xmlns:a16="http://schemas.microsoft.com/office/drawing/2014/main" id="{266A0295-CE56-971F-6CD0-9E51F88E592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064305" y="1135612"/>
            <a:ext cx="614182" cy="614182"/>
          </a:xfrm>
          <a:prstGeom prst="rect">
            <a:avLst/>
          </a:prstGeom>
        </p:spPr>
      </p:pic>
      <p:cxnSp>
        <p:nvCxnSpPr>
          <p:cNvPr id="12" name="Gerader Verbinder 45">
            <a:extLst>
              <a:ext uri="{FF2B5EF4-FFF2-40B4-BE49-F238E27FC236}">
                <a16:creationId xmlns:a16="http://schemas.microsoft.com/office/drawing/2014/main" id="{9BD47967-6E02-1A00-39F5-647E7C94643D}"/>
              </a:ext>
            </a:extLst>
          </p:cNvPr>
          <p:cNvCxnSpPr>
            <a:cxnSpLocks/>
          </p:cNvCxnSpPr>
          <p:nvPr/>
        </p:nvCxnSpPr>
        <p:spPr>
          <a:xfrm flipV="1">
            <a:off x="3772998" y="1157197"/>
            <a:ext cx="1404057" cy="71905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3" name="Gerader Verbinder 46">
            <a:extLst>
              <a:ext uri="{FF2B5EF4-FFF2-40B4-BE49-F238E27FC236}">
                <a16:creationId xmlns:a16="http://schemas.microsoft.com/office/drawing/2014/main" id="{6B1E1022-A77D-DB0F-271F-AF68646A702D}"/>
              </a:ext>
            </a:extLst>
          </p:cNvPr>
          <p:cNvCxnSpPr>
            <a:cxnSpLocks/>
          </p:cNvCxnSpPr>
          <p:nvPr/>
        </p:nvCxnSpPr>
        <p:spPr>
          <a:xfrm>
            <a:off x="5505906" y="1157197"/>
            <a:ext cx="1400183" cy="725524"/>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pic>
        <p:nvPicPr>
          <p:cNvPr id="50" name="Grafik 30">
            <a:extLst>
              <a:ext uri="{FF2B5EF4-FFF2-40B4-BE49-F238E27FC236}">
                <a16:creationId xmlns:a16="http://schemas.microsoft.com/office/drawing/2014/main" id="{7E92A7F6-DE4D-B1F5-8277-B8098E2A589D}"/>
              </a:ext>
            </a:extLst>
          </p:cNvPr>
          <p:cNvPicPr>
            <a:picLocks noChangeAspect="1"/>
          </p:cNvPicPr>
          <p:nvPr/>
        </p:nvPicPr>
        <p:blipFill>
          <a:blip r:embed="rId6">
            <a:clrChange>
              <a:clrFrom>
                <a:srgbClr val="FFFFFA"/>
              </a:clrFrom>
              <a:clrTo>
                <a:srgbClr val="FFFFFA">
                  <a:alpha val="0"/>
                </a:srgbClr>
              </a:clrTo>
            </a:clrChange>
          </a:blip>
          <a:stretch>
            <a:fillRect/>
          </a:stretch>
        </p:blipFill>
        <p:spPr>
          <a:xfrm>
            <a:off x="5275242" y="4013391"/>
            <a:ext cx="303582" cy="783758"/>
          </a:xfrm>
          <a:prstGeom prst="rect">
            <a:avLst/>
          </a:prstGeom>
        </p:spPr>
      </p:pic>
      <p:pic>
        <p:nvPicPr>
          <p:cNvPr id="51" name="Grafik 31">
            <a:extLst>
              <a:ext uri="{FF2B5EF4-FFF2-40B4-BE49-F238E27FC236}">
                <a16:creationId xmlns:a16="http://schemas.microsoft.com/office/drawing/2014/main" id="{9950A7AA-E947-393A-57EA-DF1D12F17915}"/>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5749851" y="3913185"/>
            <a:ext cx="417071" cy="852147"/>
          </a:xfrm>
          <a:prstGeom prst="rect">
            <a:avLst/>
          </a:prstGeom>
        </p:spPr>
      </p:pic>
      <p:pic>
        <p:nvPicPr>
          <p:cNvPr id="52" name="Grafik 32">
            <a:extLst>
              <a:ext uri="{FF2B5EF4-FFF2-40B4-BE49-F238E27FC236}">
                <a16:creationId xmlns:a16="http://schemas.microsoft.com/office/drawing/2014/main" id="{96FF3B14-536A-6551-5490-49709F0F854B}"/>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5527748" y="4285937"/>
            <a:ext cx="304132" cy="582960"/>
          </a:xfrm>
          <a:prstGeom prst="rect">
            <a:avLst/>
          </a:prstGeom>
        </p:spPr>
      </p:pic>
      <p:sp>
        <p:nvSpPr>
          <p:cNvPr id="55" name="Freihandform: Form 25">
            <a:extLst>
              <a:ext uri="{FF2B5EF4-FFF2-40B4-BE49-F238E27FC236}">
                <a16:creationId xmlns:a16="http://schemas.microsoft.com/office/drawing/2014/main" id="{A55F3F7F-A425-263A-9F0D-BF59B5EAD54F}"/>
              </a:ext>
            </a:extLst>
          </p:cNvPr>
          <p:cNvSpPr/>
          <p:nvPr/>
        </p:nvSpPr>
        <p:spPr>
          <a:xfrm>
            <a:off x="3920872" y="3991947"/>
            <a:ext cx="5434628" cy="1453919"/>
          </a:xfrm>
          <a:custGeom>
            <a:avLst/>
            <a:gdLst>
              <a:gd name="connsiteX0" fmla="*/ 354439 w 6305329"/>
              <a:gd name="connsiteY0" fmla="*/ 1307886 h 1602253"/>
              <a:gd name="connsiteX1" fmla="*/ 685179 w 6305329"/>
              <a:gd name="connsiteY1" fmla="*/ 1230065 h 1602253"/>
              <a:gd name="connsiteX2" fmla="*/ 1054830 w 6305329"/>
              <a:gd name="connsiteY2" fmla="*/ 481035 h 1602253"/>
              <a:gd name="connsiteX3" fmla="*/ 1278566 w 6305329"/>
              <a:gd name="connsiteY3" fmla="*/ 4380 h 1602253"/>
              <a:gd name="connsiteX4" fmla="*/ 1570396 w 6305329"/>
              <a:gd name="connsiteY4" fmla="*/ 753409 h 1602253"/>
              <a:gd name="connsiteX5" fmla="*/ 2134600 w 6305329"/>
              <a:gd name="connsiteY5" fmla="*/ 918780 h 1602253"/>
              <a:gd name="connsiteX6" fmla="*/ 2562617 w 6305329"/>
              <a:gd name="connsiteY6" fmla="*/ 665860 h 1602253"/>
              <a:gd name="connsiteX7" fmla="*/ 3019817 w 6305329"/>
              <a:gd name="connsiteY7" fmla="*/ 977146 h 1602253"/>
              <a:gd name="connsiteX8" fmla="*/ 3807758 w 6305329"/>
              <a:gd name="connsiteY8" fmla="*/ 1220337 h 1602253"/>
              <a:gd name="connsiteX9" fmla="*/ 5850566 w 6305329"/>
              <a:gd name="connsiteY9" fmla="*/ 1278703 h 1602253"/>
              <a:gd name="connsiteX10" fmla="*/ 5801928 w 6305329"/>
              <a:gd name="connsiteY10" fmla="*/ 1580260 h 1602253"/>
              <a:gd name="connsiteX11" fmla="*/ 432260 w 6305329"/>
              <a:gd name="connsiteY11" fmla="*/ 1551077 h 1602253"/>
              <a:gd name="connsiteX12" fmla="*/ 354439 w 6305329"/>
              <a:gd name="connsiteY12" fmla="*/ 1307886 h 160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5329" h="1602253">
                <a:moveTo>
                  <a:pt x="354439" y="1307886"/>
                </a:moveTo>
                <a:cubicBezTo>
                  <a:pt x="396592" y="1254384"/>
                  <a:pt x="568447" y="1367874"/>
                  <a:pt x="685179" y="1230065"/>
                </a:cubicBezTo>
                <a:cubicBezTo>
                  <a:pt x="801911" y="1092256"/>
                  <a:pt x="955932" y="685316"/>
                  <a:pt x="1054830" y="481035"/>
                </a:cubicBezTo>
                <a:cubicBezTo>
                  <a:pt x="1153728" y="276754"/>
                  <a:pt x="1192638" y="-41016"/>
                  <a:pt x="1278566" y="4380"/>
                </a:cubicBezTo>
                <a:cubicBezTo>
                  <a:pt x="1364494" y="49776"/>
                  <a:pt x="1427724" y="601009"/>
                  <a:pt x="1570396" y="753409"/>
                </a:cubicBezTo>
                <a:cubicBezTo>
                  <a:pt x="1713068" y="905809"/>
                  <a:pt x="1969230" y="933371"/>
                  <a:pt x="2134600" y="918780"/>
                </a:cubicBezTo>
                <a:cubicBezTo>
                  <a:pt x="2299970" y="904189"/>
                  <a:pt x="2415081" y="656132"/>
                  <a:pt x="2562617" y="665860"/>
                </a:cubicBezTo>
                <a:cubicBezTo>
                  <a:pt x="2710153" y="675588"/>
                  <a:pt x="2812294" y="884733"/>
                  <a:pt x="3019817" y="977146"/>
                </a:cubicBezTo>
                <a:cubicBezTo>
                  <a:pt x="3227341" y="1069559"/>
                  <a:pt x="3335967" y="1170078"/>
                  <a:pt x="3807758" y="1220337"/>
                </a:cubicBezTo>
                <a:cubicBezTo>
                  <a:pt x="4279549" y="1270596"/>
                  <a:pt x="5518204" y="1218716"/>
                  <a:pt x="5850566" y="1278703"/>
                </a:cubicBezTo>
                <a:cubicBezTo>
                  <a:pt x="6182928" y="1338690"/>
                  <a:pt x="6704979" y="1534864"/>
                  <a:pt x="5801928" y="1580260"/>
                </a:cubicBezTo>
                <a:cubicBezTo>
                  <a:pt x="4898877" y="1625656"/>
                  <a:pt x="1333690" y="1593230"/>
                  <a:pt x="432260" y="1551077"/>
                </a:cubicBezTo>
                <a:cubicBezTo>
                  <a:pt x="-469170" y="1508924"/>
                  <a:pt x="312286" y="1361388"/>
                  <a:pt x="354439" y="1307886"/>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3"/>
          </a:p>
        </p:txBody>
      </p:sp>
      <p:cxnSp>
        <p:nvCxnSpPr>
          <p:cNvPr id="57" name="Gerade Verbindung mit Pfeil 61">
            <a:extLst>
              <a:ext uri="{FF2B5EF4-FFF2-40B4-BE49-F238E27FC236}">
                <a16:creationId xmlns:a16="http://schemas.microsoft.com/office/drawing/2014/main" id="{B63A0FC2-5AF6-BC35-AB5C-382A4AD9A715}"/>
              </a:ext>
            </a:extLst>
          </p:cNvPr>
          <p:cNvCxnSpPr>
            <a:cxnSpLocks/>
            <a:stCxn id="7" idx="1"/>
            <a:endCxn id="6" idx="3"/>
          </p:cNvCxnSpPr>
          <p:nvPr/>
        </p:nvCxnSpPr>
        <p:spPr>
          <a:xfrm flipH="1">
            <a:off x="5678487" y="1163670"/>
            <a:ext cx="2320694" cy="279033"/>
          </a:xfrm>
          <a:prstGeom prst="straightConnector1">
            <a:avLst/>
          </a:prstGeom>
          <a:noFill/>
          <a:ln w="19050" cap="flat" cmpd="sng" algn="ctr">
            <a:solidFill>
              <a:schemeClr val="accent1">
                <a:lumMod val="60000"/>
                <a:lumOff val="40000"/>
              </a:schemeClr>
            </a:solidFill>
            <a:prstDash val="solid"/>
            <a:miter lim="800000"/>
            <a:headEnd type="triangle" w="med" len="med"/>
            <a:tailEnd type="triangle" w="med" len="med"/>
          </a:ln>
          <a:effectLst/>
        </p:spPr>
      </p:cxnSp>
      <p:sp>
        <p:nvSpPr>
          <p:cNvPr id="64" name="Freihandform: Form 25">
            <a:extLst>
              <a:ext uri="{FF2B5EF4-FFF2-40B4-BE49-F238E27FC236}">
                <a16:creationId xmlns:a16="http://schemas.microsoft.com/office/drawing/2014/main" id="{E03BC40E-4CD1-95B6-A723-15459B6336A7}"/>
              </a:ext>
            </a:extLst>
          </p:cNvPr>
          <p:cNvSpPr/>
          <p:nvPr/>
        </p:nvSpPr>
        <p:spPr>
          <a:xfrm flipH="1">
            <a:off x="202165" y="4466837"/>
            <a:ext cx="5476321" cy="985544"/>
          </a:xfrm>
          <a:custGeom>
            <a:avLst/>
            <a:gdLst>
              <a:gd name="connsiteX0" fmla="*/ 354439 w 6305329"/>
              <a:gd name="connsiteY0" fmla="*/ 1307886 h 1602253"/>
              <a:gd name="connsiteX1" fmla="*/ 685179 w 6305329"/>
              <a:gd name="connsiteY1" fmla="*/ 1230065 h 1602253"/>
              <a:gd name="connsiteX2" fmla="*/ 1054830 w 6305329"/>
              <a:gd name="connsiteY2" fmla="*/ 481035 h 1602253"/>
              <a:gd name="connsiteX3" fmla="*/ 1278566 w 6305329"/>
              <a:gd name="connsiteY3" fmla="*/ 4380 h 1602253"/>
              <a:gd name="connsiteX4" fmla="*/ 1570396 w 6305329"/>
              <a:gd name="connsiteY4" fmla="*/ 753409 h 1602253"/>
              <a:gd name="connsiteX5" fmla="*/ 2134600 w 6305329"/>
              <a:gd name="connsiteY5" fmla="*/ 918780 h 1602253"/>
              <a:gd name="connsiteX6" fmla="*/ 2562617 w 6305329"/>
              <a:gd name="connsiteY6" fmla="*/ 665860 h 1602253"/>
              <a:gd name="connsiteX7" fmla="*/ 3019817 w 6305329"/>
              <a:gd name="connsiteY7" fmla="*/ 977146 h 1602253"/>
              <a:gd name="connsiteX8" fmla="*/ 3807758 w 6305329"/>
              <a:gd name="connsiteY8" fmla="*/ 1220337 h 1602253"/>
              <a:gd name="connsiteX9" fmla="*/ 5850566 w 6305329"/>
              <a:gd name="connsiteY9" fmla="*/ 1278703 h 1602253"/>
              <a:gd name="connsiteX10" fmla="*/ 5801928 w 6305329"/>
              <a:gd name="connsiteY10" fmla="*/ 1580260 h 1602253"/>
              <a:gd name="connsiteX11" fmla="*/ 432260 w 6305329"/>
              <a:gd name="connsiteY11" fmla="*/ 1551077 h 1602253"/>
              <a:gd name="connsiteX12" fmla="*/ 354439 w 6305329"/>
              <a:gd name="connsiteY12" fmla="*/ 1307886 h 160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5329" h="1602253">
                <a:moveTo>
                  <a:pt x="354439" y="1307886"/>
                </a:moveTo>
                <a:cubicBezTo>
                  <a:pt x="396592" y="1254384"/>
                  <a:pt x="568447" y="1367874"/>
                  <a:pt x="685179" y="1230065"/>
                </a:cubicBezTo>
                <a:cubicBezTo>
                  <a:pt x="801911" y="1092256"/>
                  <a:pt x="955932" y="685316"/>
                  <a:pt x="1054830" y="481035"/>
                </a:cubicBezTo>
                <a:cubicBezTo>
                  <a:pt x="1153728" y="276754"/>
                  <a:pt x="1192638" y="-41016"/>
                  <a:pt x="1278566" y="4380"/>
                </a:cubicBezTo>
                <a:cubicBezTo>
                  <a:pt x="1364494" y="49776"/>
                  <a:pt x="1427724" y="601009"/>
                  <a:pt x="1570396" y="753409"/>
                </a:cubicBezTo>
                <a:cubicBezTo>
                  <a:pt x="1713068" y="905809"/>
                  <a:pt x="1969230" y="933371"/>
                  <a:pt x="2134600" y="918780"/>
                </a:cubicBezTo>
                <a:cubicBezTo>
                  <a:pt x="2299970" y="904189"/>
                  <a:pt x="2415081" y="656132"/>
                  <a:pt x="2562617" y="665860"/>
                </a:cubicBezTo>
                <a:cubicBezTo>
                  <a:pt x="2710153" y="675588"/>
                  <a:pt x="2812294" y="884733"/>
                  <a:pt x="3019817" y="977146"/>
                </a:cubicBezTo>
                <a:cubicBezTo>
                  <a:pt x="3227341" y="1069559"/>
                  <a:pt x="3335967" y="1170078"/>
                  <a:pt x="3807758" y="1220337"/>
                </a:cubicBezTo>
                <a:cubicBezTo>
                  <a:pt x="4279549" y="1270596"/>
                  <a:pt x="5518204" y="1218716"/>
                  <a:pt x="5850566" y="1278703"/>
                </a:cubicBezTo>
                <a:cubicBezTo>
                  <a:pt x="6182928" y="1338690"/>
                  <a:pt x="6704979" y="1534864"/>
                  <a:pt x="5801928" y="1580260"/>
                </a:cubicBezTo>
                <a:cubicBezTo>
                  <a:pt x="4898877" y="1625656"/>
                  <a:pt x="1333690" y="1593230"/>
                  <a:pt x="432260" y="1551077"/>
                </a:cubicBezTo>
                <a:cubicBezTo>
                  <a:pt x="-469170" y="1508924"/>
                  <a:pt x="312286" y="1361388"/>
                  <a:pt x="354439" y="1307886"/>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3"/>
          </a:p>
        </p:txBody>
      </p:sp>
      <p:pic>
        <p:nvPicPr>
          <p:cNvPr id="42" name="Grafik 10">
            <a:extLst>
              <a:ext uri="{FF2B5EF4-FFF2-40B4-BE49-F238E27FC236}">
                <a16:creationId xmlns:a16="http://schemas.microsoft.com/office/drawing/2014/main" id="{4E23A96A-E848-532F-F025-9E333B74D31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019301" y="2531958"/>
            <a:ext cx="901571" cy="719052"/>
          </a:xfrm>
          <a:prstGeom prst="rect">
            <a:avLst/>
          </a:prstGeom>
        </p:spPr>
      </p:pic>
      <p:cxnSp>
        <p:nvCxnSpPr>
          <p:cNvPr id="44" name="Gerader Verbinder 45">
            <a:extLst>
              <a:ext uri="{FF2B5EF4-FFF2-40B4-BE49-F238E27FC236}">
                <a16:creationId xmlns:a16="http://schemas.microsoft.com/office/drawing/2014/main" id="{8F9603D4-8DC0-BF7B-B7A3-289CAEF2A0D7}"/>
              </a:ext>
            </a:extLst>
          </p:cNvPr>
          <p:cNvCxnSpPr>
            <a:cxnSpLocks/>
          </p:cNvCxnSpPr>
          <p:nvPr/>
        </p:nvCxnSpPr>
        <p:spPr>
          <a:xfrm flipV="1">
            <a:off x="2087050" y="2609984"/>
            <a:ext cx="1252697" cy="648743"/>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5" name="Gerader Verbinder 46">
            <a:extLst>
              <a:ext uri="{FF2B5EF4-FFF2-40B4-BE49-F238E27FC236}">
                <a16:creationId xmlns:a16="http://schemas.microsoft.com/office/drawing/2014/main" id="{FA6271C8-BBDA-8C74-4889-D19C521B7ABD}"/>
              </a:ext>
            </a:extLst>
          </p:cNvPr>
          <p:cNvCxnSpPr>
            <a:cxnSpLocks/>
          </p:cNvCxnSpPr>
          <p:nvPr/>
        </p:nvCxnSpPr>
        <p:spPr>
          <a:xfrm>
            <a:off x="3668598" y="2609984"/>
            <a:ext cx="1304216" cy="65840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7" name="Gerade Verbindung mit Pfeil 61">
            <a:extLst>
              <a:ext uri="{FF2B5EF4-FFF2-40B4-BE49-F238E27FC236}">
                <a16:creationId xmlns:a16="http://schemas.microsoft.com/office/drawing/2014/main" id="{8EC14E56-B7CE-3276-074E-299BCBDB2376}"/>
              </a:ext>
            </a:extLst>
          </p:cNvPr>
          <p:cNvCxnSpPr>
            <a:cxnSpLocks/>
            <a:stCxn id="6" idx="1"/>
            <a:endCxn id="42" idx="3"/>
          </p:cNvCxnSpPr>
          <p:nvPr/>
        </p:nvCxnSpPr>
        <p:spPr>
          <a:xfrm flipH="1">
            <a:off x="3920872" y="1442703"/>
            <a:ext cx="1143433" cy="1448781"/>
          </a:xfrm>
          <a:prstGeom prst="straightConnector1">
            <a:avLst/>
          </a:prstGeom>
          <a:noFill/>
          <a:ln w="19050" cap="flat" cmpd="sng" algn="ctr">
            <a:solidFill>
              <a:schemeClr val="accent1">
                <a:lumMod val="60000"/>
                <a:lumOff val="40000"/>
              </a:schemeClr>
            </a:solidFill>
            <a:prstDash val="solid"/>
            <a:miter lim="800000"/>
            <a:headEnd type="triangle" w="med" len="med"/>
            <a:tailEnd type="triangle" w="med" len="med"/>
          </a:ln>
          <a:effectLst/>
        </p:spPr>
      </p:cxnSp>
      <p:cxnSp>
        <p:nvCxnSpPr>
          <p:cNvPr id="59" name="Gerader Verbinder 45">
            <a:extLst>
              <a:ext uri="{FF2B5EF4-FFF2-40B4-BE49-F238E27FC236}">
                <a16:creationId xmlns:a16="http://schemas.microsoft.com/office/drawing/2014/main" id="{CCFA1141-46E1-F9F9-3CA1-110FD786FFC8}"/>
              </a:ext>
            </a:extLst>
          </p:cNvPr>
          <p:cNvCxnSpPr>
            <a:cxnSpLocks/>
          </p:cNvCxnSpPr>
          <p:nvPr/>
        </p:nvCxnSpPr>
        <p:spPr>
          <a:xfrm flipV="1">
            <a:off x="183667" y="4114200"/>
            <a:ext cx="753226" cy="41703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Gerader Verbinder 46">
            <a:extLst>
              <a:ext uri="{FF2B5EF4-FFF2-40B4-BE49-F238E27FC236}">
                <a16:creationId xmlns:a16="http://schemas.microsoft.com/office/drawing/2014/main" id="{CD0FDC1C-58BB-591D-AC23-0DFF5AC7FFF8}"/>
              </a:ext>
            </a:extLst>
          </p:cNvPr>
          <p:cNvCxnSpPr>
            <a:cxnSpLocks/>
          </p:cNvCxnSpPr>
          <p:nvPr/>
        </p:nvCxnSpPr>
        <p:spPr>
          <a:xfrm>
            <a:off x="1185348" y="4112479"/>
            <a:ext cx="750342" cy="418752"/>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pic>
        <p:nvPicPr>
          <p:cNvPr id="84" name="Picture 2" descr="Drone icon PNG and SVG Vector Free Download">
            <a:extLst>
              <a:ext uri="{FF2B5EF4-FFF2-40B4-BE49-F238E27FC236}">
                <a16:creationId xmlns:a16="http://schemas.microsoft.com/office/drawing/2014/main" id="{FEFC84C0-C21F-8EB0-7983-77EBDB15EBB7}"/>
              </a:ext>
            </a:extLst>
          </p:cNvPr>
          <p:cNvPicPr>
            <a:picLocks noChangeAspect="1" noChangeArrowheads="1"/>
          </p:cNvPicPr>
          <p:nvPr/>
        </p:nvPicPr>
        <p:blipFill>
          <a:blip r:embed="rId12">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175874" y="3339682"/>
            <a:ext cx="565685" cy="330064"/>
          </a:xfrm>
          <a:prstGeom prst="rect">
            <a:avLst/>
          </a:prstGeom>
          <a:noFill/>
          <a:extLst>
            <a:ext uri="{909E8E84-426E-40DD-AFC4-6F175D3DCCD1}">
              <a14:hiddenFill xmlns:a14="http://schemas.microsoft.com/office/drawing/2010/main">
                <a:solidFill>
                  <a:srgbClr val="FFFFFF"/>
                </a:solidFill>
              </a14:hiddenFill>
            </a:ext>
          </a:extLst>
        </p:spPr>
      </p:pic>
      <p:cxnSp>
        <p:nvCxnSpPr>
          <p:cNvPr id="94" name="Gerader Verbinder 45">
            <a:extLst>
              <a:ext uri="{FF2B5EF4-FFF2-40B4-BE49-F238E27FC236}">
                <a16:creationId xmlns:a16="http://schemas.microsoft.com/office/drawing/2014/main" id="{63F9FC79-E694-C5BB-BE50-B4FC7CDA6D5D}"/>
              </a:ext>
            </a:extLst>
          </p:cNvPr>
          <p:cNvCxnSpPr>
            <a:cxnSpLocks/>
          </p:cNvCxnSpPr>
          <p:nvPr/>
        </p:nvCxnSpPr>
        <p:spPr>
          <a:xfrm flipV="1">
            <a:off x="6370397" y="3225442"/>
            <a:ext cx="916701" cy="61289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95" name="Gerader Verbinder 46">
            <a:extLst>
              <a:ext uri="{FF2B5EF4-FFF2-40B4-BE49-F238E27FC236}">
                <a16:creationId xmlns:a16="http://schemas.microsoft.com/office/drawing/2014/main" id="{DE6D7CDA-4326-77D7-0C7C-B4AB8CD4FF48}"/>
              </a:ext>
            </a:extLst>
          </p:cNvPr>
          <p:cNvCxnSpPr>
            <a:cxnSpLocks/>
          </p:cNvCxnSpPr>
          <p:nvPr/>
        </p:nvCxnSpPr>
        <p:spPr>
          <a:xfrm>
            <a:off x="7615949" y="3225442"/>
            <a:ext cx="981324" cy="616092"/>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03" name="Textfeld 79">
            <a:extLst>
              <a:ext uri="{FF2B5EF4-FFF2-40B4-BE49-F238E27FC236}">
                <a16:creationId xmlns:a16="http://schemas.microsoft.com/office/drawing/2014/main" id="{66DE3250-B62A-AAF1-92CA-AE511925D1D1}"/>
              </a:ext>
            </a:extLst>
          </p:cNvPr>
          <p:cNvSpPr txBox="1"/>
          <p:nvPr/>
        </p:nvSpPr>
        <p:spPr>
          <a:xfrm>
            <a:off x="5611699" y="1946134"/>
            <a:ext cx="774571" cy="230832"/>
          </a:xfrm>
          <a:prstGeom prst="rect">
            <a:avLst/>
          </a:prstGeom>
          <a:noFill/>
        </p:spPr>
        <p:txBody>
          <a:bodyPr wrap="none" rtlCol="0">
            <a:spAutoFit/>
          </a:bodyPr>
          <a:lstStyle/>
          <a:p>
            <a:pPr>
              <a:defRPr/>
            </a:pPr>
            <a:r>
              <a:rPr lang="en-US" sz="900" kern="0">
                <a:solidFill>
                  <a:schemeClr val="accent1">
                    <a:lumMod val="75000"/>
                  </a:schemeClr>
                </a:solidFill>
              </a:rPr>
              <a:t>Aircraft-NTN</a:t>
            </a:r>
          </a:p>
        </p:txBody>
      </p:sp>
      <p:cxnSp>
        <p:nvCxnSpPr>
          <p:cNvPr id="106" name="Gerader Verbinder 45">
            <a:extLst>
              <a:ext uri="{FF2B5EF4-FFF2-40B4-BE49-F238E27FC236}">
                <a16:creationId xmlns:a16="http://schemas.microsoft.com/office/drawing/2014/main" id="{A0BCAAA4-9EFB-1907-6CC9-D5B3D1A2CAD3}"/>
              </a:ext>
            </a:extLst>
          </p:cNvPr>
          <p:cNvCxnSpPr>
            <a:cxnSpLocks/>
          </p:cNvCxnSpPr>
          <p:nvPr/>
        </p:nvCxnSpPr>
        <p:spPr>
          <a:xfrm flipV="1">
            <a:off x="4520292" y="2176439"/>
            <a:ext cx="1252697" cy="648743"/>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07" name="Gerader Verbinder 46">
            <a:extLst>
              <a:ext uri="{FF2B5EF4-FFF2-40B4-BE49-F238E27FC236}">
                <a16:creationId xmlns:a16="http://schemas.microsoft.com/office/drawing/2014/main" id="{DF858278-A408-E91B-F5A5-95D7ADA6FBDD}"/>
              </a:ext>
            </a:extLst>
          </p:cNvPr>
          <p:cNvCxnSpPr>
            <a:cxnSpLocks/>
          </p:cNvCxnSpPr>
          <p:nvPr/>
        </p:nvCxnSpPr>
        <p:spPr>
          <a:xfrm>
            <a:off x="6101840" y="2176439"/>
            <a:ext cx="1304216" cy="65840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pic>
        <p:nvPicPr>
          <p:cNvPr id="83" name="Picture 4">
            <a:extLst>
              <a:ext uri="{FF2B5EF4-FFF2-40B4-BE49-F238E27FC236}">
                <a16:creationId xmlns:a16="http://schemas.microsoft.com/office/drawing/2014/main" id="{6124AA37-C68C-EFB8-DD7A-A795E0313BDB}"/>
              </a:ext>
            </a:extLst>
          </p:cNvPr>
          <p:cNvPicPr>
            <a:picLocks noChangeAspect="1" noChangeArrowheads="1"/>
          </p:cNvPicPr>
          <p:nvPr/>
        </p:nvPicPr>
        <p:blipFill rotWithShape="1">
          <a:blip r:embed="rId13">
            <a:duotone>
              <a:srgbClr val="4472C4">
                <a:shade val="45000"/>
                <a:satMod val="135000"/>
              </a:srgbClr>
              <a:prstClr val="white"/>
            </a:duotone>
            <a:extLst>
              <a:ext uri="{28A0092B-C50C-407E-A947-70E740481C1C}">
                <a14:useLocalDpi xmlns:a14="http://schemas.microsoft.com/office/drawing/2010/main" val="0"/>
              </a:ext>
            </a:extLst>
          </a:blip>
          <a:srcRect t="31226" b="28496"/>
          <a:stretch/>
        </p:blipFill>
        <p:spPr bwMode="auto">
          <a:xfrm flipH="1">
            <a:off x="5559553" y="2283603"/>
            <a:ext cx="874616" cy="331212"/>
          </a:xfrm>
          <a:prstGeom prst="rect">
            <a:avLst/>
          </a:prstGeom>
          <a:noFill/>
          <a:extLst>
            <a:ext uri="{909E8E84-426E-40DD-AFC4-6F175D3DCCD1}">
              <a14:hiddenFill xmlns:a14="http://schemas.microsoft.com/office/drawing/2010/main">
                <a:solidFill>
                  <a:srgbClr val="FFFFFF"/>
                </a:solidFill>
              </a14:hiddenFill>
            </a:ext>
          </a:extLst>
        </p:spPr>
      </p:pic>
      <p:cxnSp>
        <p:nvCxnSpPr>
          <p:cNvPr id="108" name="Gerade Verbindung mit Pfeil 61">
            <a:extLst>
              <a:ext uri="{FF2B5EF4-FFF2-40B4-BE49-F238E27FC236}">
                <a16:creationId xmlns:a16="http://schemas.microsoft.com/office/drawing/2014/main" id="{8B8CF2E5-234C-9845-4524-150533B2292B}"/>
              </a:ext>
            </a:extLst>
          </p:cNvPr>
          <p:cNvCxnSpPr>
            <a:cxnSpLocks/>
            <a:stCxn id="84" idx="1"/>
            <a:endCxn id="83" idx="1"/>
          </p:cNvCxnSpPr>
          <p:nvPr/>
        </p:nvCxnSpPr>
        <p:spPr>
          <a:xfrm flipH="1" flipV="1">
            <a:off x="6434169" y="2449209"/>
            <a:ext cx="741705" cy="1055505"/>
          </a:xfrm>
          <a:prstGeom prst="straightConnector1">
            <a:avLst/>
          </a:prstGeom>
          <a:noFill/>
          <a:ln w="19050" cap="flat" cmpd="sng" algn="ctr">
            <a:solidFill>
              <a:schemeClr val="accent1">
                <a:lumMod val="60000"/>
                <a:lumOff val="40000"/>
              </a:schemeClr>
            </a:solidFill>
            <a:prstDash val="solid"/>
            <a:miter lim="800000"/>
            <a:headEnd type="triangle" w="med" len="med"/>
            <a:tailEnd type="triangle" w="med" len="med"/>
          </a:ln>
          <a:effectLst/>
        </p:spPr>
      </p:cxnSp>
      <p:cxnSp>
        <p:nvCxnSpPr>
          <p:cNvPr id="111" name="Gerade Verbindung mit Pfeil 61">
            <a:extLst>
              <a:ext uri="{FF2B5EF4-FFF2-40B4-BE49-F238E27FC236}">
                <a16:creationId xmlns:a16="http://schemas.microsoft.com/office/drawing/2014/main" id="{25ED01F4-E9C3-81BB-4BC5-1CB282D154C3}"/>
              </a:ext>
            </a:extLst>
          </p:cNvPr>
          <p:cNvCxnSpPr>
            <a:cxnSpLocks/>
            <a:stCxn id="83" idx="1"/>
            <a:endCxn id="7" idx="1"/>
          </p:cNvCxnSpPr>
          <p:nvPr/>
        </p:nvCxnSpPr>
        <p:spPr>
          <a:xfrm flipV="1">
            <a:off x="6434169" y="1163670"/>
            <a:ext cx="1565012" cy="1285539"/>
          </a:xfrm>
          <a:prstGeom prst="straightConnector1">
            <a:avLst/>
          </a:prstGeom>
          <a:noFill/>
          <a:ln w="19050" cap="flat" cmpd="sng" algn="ctr">
            <a:solidFill>
              <a:schemeClr val="accent1">
                <a:lumMod val="60000"/>
                <a:lumOff val="40000"/>
              </a:schemeClr>
            </a:solidFill>
            <a:prstDash val="solid"/>
            <a:miter lim="800000"/>
            <a:headEnd type="triangle" w="med" len="med"/>
            <a:tailEnd type="triangle" w="med" len="med"/>
          </a:ln>
          <a:effectLst/>
        </p:spPr>
      </p:cxnSp>
      <p:cxnSp>
        <p:nvCxnSpPr>
          <p:cNvPr id="114" name="Gerade Verbindung mit Pfeil 61">
            <a:extLst>
              <a:ext uri="{FF2B5EF4-FFF2-40B4-BE49-F238E27FC236}">
                <a16:creationId xmlns:a16="http://schemas.microsoft.com/office/drawing/2014/main" id="{24AB5662-8480-8319-683A-396F208BA7F2}"/>
              </a:ext>
            </a:extLst>
          </p:cNvPr>
          <p:cNvCxnSpPr>
            <a:cxnSpLocks/>
            <a:stCxn id="8" idx="3"/>
            <a:endCxn id="42" idx="1"/>
          </p:cNvCxnSpPr>
          <p:nvPr/>
        </p:nvCxnSpPr>
        <p:spPr>
          <a:xfrm flipV="1">
            <a:off x="1238295" y="2891484"/>
            <a:ext cx="1781006" cy="1811902"/>
          </a:xfrm>
          <a:prstGeom prst="straightConnector1">
            <a:avLst/>
          </a:prstGeom>
          <a:noFill/>
          <a:ln w="19050" cap="flat" cmpd="sng" algn="ctr">
            <a:solidFill>
              <a:srgbClr val="FF7C80"/>
            </a:solidFill>
            <a:prstDash val="solid"/>
            <a:miter lim="800000"/>
            <a:headEnd type="triangle" w="med" len="med"/>
            <a:tailEnd type="triangle" w="med" len="med"/>
          </a:ln>
          <a:effectLst/>
        </p:spPr>
      </p:cxnSp>
      <p:sp>
        <p:nvSpPr>
          <p:cNvPr id="46" name="Rectangle: Rounded Corners 45">
            <a:extLst>
              <a:ext uri="{FF2B5EF4-FFF2-40B4-BE49-F238E27FC236}">
                <a16:creationId xmlns:a16="http://schemas.microsoft.com/office/drawing/2014/main" id="{EDD33569-C52F-3DEB-4C17-B7FE1365B546}"/>
              </a:ext>
            </a:extLst>
          </p:cNvPr>
          <p:cNvSpPr/>
          <p:nvPr/>
        </p:nvSpPr>
        <p:spPr>
          <a:xfrm>
            <a:off x="3880962" y="2992015"/>
            <a:ext cx="428381" cy="238369"/>
          </a:xfrm>
          <a:prstGeom prst="round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800" err="1">
                <a:solidFill>
                  <a:schemeClr val="accent1">
                    <a:lumMod val="75000"/>
                  </a:schemeClr>
                </a:solidFill>
              </a:rPr>
              <a:t>gNB</a:t>
            </a:r>
            <a:endParaRPr lang="de-DE">
              <a:solidFill>
                <a:schemeClr val="accent1">
                  <a:lumMod val="75000"/>
                </a:schemeClr>
              </a:solidFill>
            </a:endParaRPr>
          </a:p>
        </p:txBody>
      </p:sp>
      <p:sp>
        <p:nvSpPr>
          <p:cNvPr id="49" name="Rectangle: Rounded Corners 48">
            <a:extLst>
              <a:ext uri="{FF2B5EF4-FFF2-40B4-BE49-F238E27FC236}">
                <a16:creationId xmlns:a16="http://schemas.microsoft.com/office/drawing/2014/main" id="{6B02CAA7-1B5F-8D25-320E-91A0D00A3C62}"/>
              </a:ext>
            </a:extLst>
          </p:cNvPr>
          <p:cNvSpPr/>
          <p:nvPr/>
        </p:nvSpPr>
        <p:spPr>
          <a:xfrm>
            <a:off x="6468362" y="1003865"/>
            <a:ext cx="428381" cy="238369"/>
          </a:xfrm>
          <a:prstGeom prst="roundRect">
            <a:avLst/>
          </a:prstGeom>
          <a:noFill/>
          <a:ln w="190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800">
                <a:solidFill>
                  <a:schemeClr val="accent1">
                    <a:lumMod val="75000"/>
                  </a:schemeClr>
                </a:solidFill>
              </a:rPr>
              <a:t>ISL</a:t>
            </a:r>
            <a:endParaRPr lang="de-DE">
              <a:solidFill>
                <a:schemeClr val="accent1">
                  <a:lumMod val="75000"/>
                </a:schemeClr>
              </a:solidFill>
            </a:endParaRPr>
          </a:p>
        </p:txBody>
      </p:sp>
      <p:pic>
        <p:nvPicPr>
          <p:cNvPr id="62" name="Grafik 61" descr="Ein Bild, das Kunst, Design enthält.&#10;&#10;KI-generierte Inhalte können fehlerhaft sein.">
            <a:extLst>
              <a:ext uri="{FF2B5EF4-FFF2-40B4-BE49-F238E27FC236}">
                <a16:creationId xmlns:a16="http://schemas.microsoft.com/office/drawing/2014/main" id="{A137BFC1-BF56-C065-FA3E-090475B927BB}"/>
              </a:ext>
            </a:extLst>
          </p:cNvPr>
          <p:cNvPicPr>
            <a:picLocks noChangeAspect="1"/>
          </p:cNvPicPr>
          <p:nvPr/>
        </p:nvPicPr>
        <p:blipFill>
          <a:blip r:embed="rId14">
            <a:duotone>
              <a:srgbClr val="4472C4">
                <a:shade val="45000"/>
                <a:satMod val="135000"/>
              </a:srgbClr>
              <a:prstClr val="white"/>
            </a:duotone>
            <a:extLst>
              <a:ext uri="{28A0092B-C50C-407E-A947-70E740481C1C}">
                <a14:useLocalDpi xmlns:a14="http://schemas.microsoft.com/office/drawing/2010/main" val="0"/>
              </a:ext>
            </a:extLst>
          </a:blip>
          <a:stretch>
            <a:fillRect/>
          </a:stretch>
        </p:blipFill>
        <p:spPr>
          <a:xfrm>
            <a:off x="2171208" y="4674180"/>
            <a:ext cx="594649" cy="567169"/>
          </a:xfrm>
          <a:prstGeom prst="rect">
            <a:avLst/>
          </a:prstGeom>
        </p:spPr>
      </p:pic>
      <p:sp>
        <p:nvSpPr>
          <p:cNvPr id="53" name="Rectangle 52">
            <a:extLst>
              <a:ext uri="{FF2B5EF4-FFF2-40B4-BE49-F238E27FC236}">
                <a16:creationId xmlns:a16="http://schemas.microsoft.com/office/drawing/2014/main" id="{BE6EA1B8-7C9B-48C2-38C6-681DF023BCF8}"/>
              </a:ext>
            </a:extLst>
          </p:cNvPr>
          <p:cNvSpPr/>
          <p:nvPr/>
        </p:nvSpPr>
        <p:spPr>
          <a:xfrm>
            <a:off x="202165" y="5347818"/>
            <a:ext cx="10640458" cy="307563"/>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err="1"/>
              <a:t>Terrestrial</a:t>
            </a:r>
            <a:r>
              <a:rPr lang="de-DE"/>
              <a:t> Core NW/Backend</a:t>
            </a:r>
          </a:p>
        </p:txBody>
      </p:sp>
      <p:pic>
        <p:nvPicPr>
          <p:cNvPr id="56" name="Graphic 55" descr="Database with solid fill">
            <a:extLst>
              <a:ext uri="{FF2B5EF4-FFF2-40B4-BE49-F238E27FC236}">
                <a16:creationId xmlns:a16="http://schemas.microsoft.com/office/drawing/2014/main" id="{FDE34B56-F471-9F9B-DCA4-329D6F2C7FD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866875" y="5360627"/>
            <a:ext cx="289524" cy="289524"/>
          </a:xfrm>
          <a:prstGeom prst="rect">
            <a:avLst/>
          </a:prstGeom>
        </p:spPr>
      </p:pic>
      <p:pic>
        <p:nvPicPr>
          <p:cNvPr id="63" name="Graphic 62" descr="Database with solid fill">
            <a:extLst>
              <a:ext uri="{FF2B5EF4-FFF2-40B4-BE49-F238E27FC236}">
                <a16:creationId xmlns:a16="http://schemas.microsoft.com/office/drawing/2014/main" id="{E1A00617-6979-0D03-B763-98FE72E4CDC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879182" y="5360627"/>
            <a:ext cx="289524" cy="289524"/>
          </a:xfrm>
          <a:prstGeom prst="rect">
            <a:avLst/>
          </a:prstGeom>
        </p:spPr>
      </p:pic>
      <p:sp>
        <p:nvSpPr>
          <p:cNvPr id="4" name="Textfeld 79">
            <a:extLst>
              <a:ext uri="{FF2B5EF4-FFF2-40B4-BE49-F238E27FC236}">
                <a16:creationId xmlns:a16="http://schemas.microsoft.com/office/drawing/2014/main" id="{8CC23AB9-C409-98B3-26F0-E8F535C8B10A}"/>
              </a:ext>
            </a:extLst>
          </p:cNvPr>
          <p:cNvSpPr txBox="1"/>
          <p:nvPr/>
        </p:nvSpPr>
        <p:spPr>
          <a:xfrm>
            <a:off x="7093595" y="3019853"/>
            <a:ext cx="713657" cy="230832"/>
          </a:xfrm>
          <a:prstGeom prst="rect">
            <a:avLst/>
          </a:prstGeom>
          <a:noFill/>
        </p:spPr>
        <p:txBody>
          <a:bodyPr wrap="none" lIns="91440" tIns="45720" rIns="91440" bIns="45720" rtlCol="0" anchor="t">
            <a:spAutoFit/>
          </a:bodyPr>
          <a:lstStyle/>
          <a:p>
            <a:pPr>
              <a:defRPr/>
            </a:pPr>
            <a:r>
              <a:rPr lang="en-US" sz="900" kern="0">
                <a:solidFill>
                  <a:schemeClr val="accent1">
                    <a:lumMod val="75000"/>
                  </a:schemeClr>
                </a:solidFill>
              </a:rPr>
              <a:t>Drone-NTN</a:t>
            </a:r>
          </a:p>
        </p:txBody>
      </p:sp>
      <p:sp>
        <p:nvSpPr>
          <p:cNvPr id="18" name="Textfeld 79">
            <a:extLst>
              <a:ext uri="{FF2B5EF4-FFF2-40B4-BE49-F238E27FC236}">
                <a16:creationId xmlns:a16="http://schemas.microsoft.com/office/drawing/2014/main" id="{6E07D154-DA6B-0BA1-369E-25B2ED519704}"/>
              </a:ext>
            </a:extLst>
          </p:cNvPr>
          <p:cNvSpPr txBox="1"/>
          <p:nvPr/>
        </p:nvSpPr>
        <p:spPr>
          <a:xfrm>
            <a:off x="3158840" y="2381969"/>
            <a:ext cx="622286" cy="230832"/>
          </a:xfrm>
          <a:prstGeom prst="rect">
            <a:avLst/>
          </a:prstGeom>
          <a:noFill/>
        </p:spPr>
        <p:txBody>
          <a:bodyPr wrap="none" lIns="91440" tIns="45720" rIns="91440" bIns="45720" rtlCol="0" anchor="t">
            <a:spAutoFit/>
          </a:bodyPr>
          <a:lstStyle/>
          <a:p>
            <a:pPr>
              <a:defRPr/>
            </a:pPr>
            <a:r>
              <a:rPr lang="en-US" sz="900" kern="0">
                <a:solidFill>
                  <a:schemeClr val="accent1">
                    <a:lumMod val="75000"/>
                  </a:schemeClr>
                </a:solidFill>
              </a:rPr>
              <a:t>HAP-NTN</a:t>
            </a:r>
            <a:endParaRPr lang="de-DE"/>
          </a:p>
        </p:txBody>
      </p:sp>
      <p:sp>
        <p:nvSpPr>
          <p:cNvPr id="5" name="Rectangle: Rounded Corners 45">
            <a:extLst>
              <a:ext uri="{FF2B5EF4-FFF2-40B4-BE49-F238E27FC236}">
                <a16:creationId xmlns:a16="http://schemas.microsoft.com/office/drawing/2014/main" id="{D4A27D20-2F02-47B8-B600-B323617191C0}"/>
              </a:ext>
            </a:extLst>
          </p:cNvPr>
          <p:cNvSpPr/>
          <p:nvPr/>
        </p:nvSpPr>
        <p:spPr>
          <a:xfrm>
            <a:off x="324796" y="4538705"/>
            <a:ext cx="428381" cy="238369"/>
          </a:xfrm>
          <a:prstGeom prst="roundRect">
            <a:avLst/>
          </a:prstGeom>
          <a:noFill/>
          <a:ln w="19050">
            <a:solidFill>
              <a:srgbClr val="FF7C8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800">
                <a:solidFill>
                  <a:schemeClr val="accent1">
                    <a:lumMod val="75000"/>
                  </a:schemeClr>
                </a:solidFill>
              </a:rPr>
              <a:t>UPF</a:t>
            </a:r>
            <a:endParaRPr lang="de-DE">
              <a:solidFill>
                <a:schemeClr val="accent1">
                  <a:lumMod val="75000"/>
                </a:schemeClr>
              </a:solidFill>
            </a:endParaRPr>
          </a:p>
        </p:txBody>
      </p:sp>
      <p:cxnSp>
        <p:nvCxnSpPr>
          <p:cNvPr id="66" name="Gerade Verbindung mit Pfeil 61">
            <a:extLst>
              <a:ext uri="{FF2B5EF4-FFF2-40B4-BE49-F238E27FC236}">
                <a16:creationId xmlns:a16="http://schemas.microsoft.com/office/drawing/2014/main" id="{CAA37426-23D1-940E-C28F-E9D888B0823B}"/>
              </a:ext>
            </a:extLst>
          </p:cNvPr>
          <p:cNvCxnSpPr>
            <a:cxnSpLocks/>
            <a:stCxn id="63" idx="1"/>
          </p:cNvCxnSpPr>
          <p:nvPr/>
        </p:nvCxnSpPr>
        <p:spPr>
          <a:xfrm flipH="1" flipV="1">
            <a:off x="1031604" y="5241349"/>
            <a:ext cx="2847578" cy="264040"/>
          </a:xfrm>
          <a:prstGeom prst="straightConnector1">
            <a:avLst/>
          </a:prstGeom>
          <a:noFill/>
          <a:ln w="19050" cap="flat" cmpd="sng" algn="ctr">
            <a:solidFill>
              <a:srgbClr val="FF7C80"/>
            </a:solidFill>
            <a:prstDash val="solid"/>
            <a:miter lim="800000"/>
            <a:headEnd type="triangle" w="med" len="med"/>
            <a:tailEnd type="triangle" w="med" len="med"/>
          </a:ln>
          <a:effectLst/>
        </p:spPr>
      </p:cxnSp>
      <p:sp>
        <p:nvSpPr>
          <p:cNvPr id="82" name="Textfeld 79">
            <a:extLst>
              <a:ext uri="{FF2B5EF4-FFF2-40B4-BE49-F238E27FC236}">
                <a16:creationId xmlns:a16="http://schemas.microsoft.com/office/drawing/2014/main" id="{A2B2D018-A3CC-0849-EAF1-568DB8D1787B}"/>
              </a:ext>
            </a:extLst>
          </p:cNvPr>
          <p:cNvSpPr txBox="1"/>
          <p:nvPr/>
        </p:nvSpPr>
        <p:spPr>
          <a:xfrm>
            <a:off x="563207" y="3890360"/>
            <a:ext cx="1004195" cy="230832"/>
          </a:xfrm>
          <a:prstGeom prst="rect">
            <a:avLst/>
          </a:prstGeom>
          <a:noFill/>
        </p:spPr>
        <p:txBody>
          <a:bodyPr wrap="square" rtlCol="0">
            <a:spAutoFit/>
          </a:bodyPr>
          <a:lstStyle/>
          <a:p>
            <a:pPr>
              <a:defRPr/>
            </a:pPr>
            <a:r>
              <a:rPr lang="en-US" sz="900" kern="0">
                <a:solidFill>
                  <a:schemeClr val="accent1">
                    <a:lumMod val="75000"/>
                  </a:schemeClr>
                </a:solidFill>
              </a:rPr>
              <a:t>Base Station-TN</a:t>
            </a:r>
          </a:p>
        </p:txBody>
      </p:sp>
      <p:sp>
        <p:nvSpPr>
          <p:cNvPr id="85" name="Textfeld 79">
            <a:extLst>
              <a:ext uri="{FF2B5EF4-FFF2-40B4-BE49-F238E27FC236}">
                <a16:creationId xmlns:a16="http://schemas.microsoft.com/office/drawing/2014/main" id="{5A8377F6-DD7D-B641-8D74-44CCCA48F339}"/>
              </a:ext>
            </a:extLst>
          </p:cNvPr>
          <p:cNvSpPr txBox="1"/>
          <p:nvPr/>
        </p:nvSpPr>
        <p:spPr>
          <a:xfrm>
            <a:off x="9439855" y="3768316"/>
            <a:ext cx="1004195" cy="230832"/>
          </a:xfrm>
          <a:prstGeom prst="rect">
            <a:avLst/>
          </a:prstGeom>
          <a:noFill/>
        </p:spPr>
        <p:txBody>
          <a:bodyPr wrap="square" rtlCol="0">
            <a:spAutoFit/>
          </a:bodyPr>
          <a:lstStyle/>
          <a:p>
            <a:pPr>
              <a:defRPr/>
            </a:pPr>
            <a:r>
              <a:rPr lang="en-US" sz="900" kern="0">
                <a:solidFill>
                  <a:schemeClr val="accent1">
                    <a:lumMod val="75000"/>
                  </a:schemeClr>
                </a:solidFill>
              </a:rPr>
              <a:t>Base Station-TN</a:t>
            </a:r>
          </a:p>
        </p:txBody>
      </p:sp>
      <p:sp>
        <p:nvSpPr>
          <p:cNvPr id="86" name="Textfeld 79">
            <a:extLst>
              <a:ext uri="{FF2B5EF4-FFF2-40B4-BE49-F238E27FC236}">
                <a16:creationId xmlns:a16="http://schemas.microsoft.com/office/drawing/2014/main" id="{D8F5F812-A660-423E-6598-F0FA3883A9C3}"/>
              </a:ext>
            </a:extLst>
          </p:cNvPr>
          <p:cNvSpPr txBox="1"/>
          <p:nvPr/>
        </p:nvSpPr>
        <p:spPr>
          <a:xfrm>
            <a:off x="7868882" y="644617"/>
            <a:ext cx="805029" cy="230832"/>
          </a:xfrm>
          <a:prstGeom prst="rect">
            <a:avLst/>
          </a:prstGeom>
          <a:noFill/>
        </p:spPr>
        <p:txBody>
          <a:bodyPr wrap="none" rtlCol="0">
            <a:spAutoFit/>
          </a:bodyPr>
          <a:lstStyle/>
          <a:p>
            <a:pPr>
              <a:defRPr/>
            </a:pPr>
            <a:r>
              <a:rPr lang="en-US" sz="900" kern="0">
                <a:solidFill>
                  <a:schemeClr val="accent1">
                    <a:lumMod val="75000"/>
                  </a:schemeClr>
                </a:solidFill>
              </a:rPr>
              <a:t>Satellite-NTN</a:t>
            </a:r>
          </a:p>
        </p:txBody>
      </p:sp>
      <p:sp>
        <p:nvSpPr>
          <p:cNvPr id="87" name="Textfeld 79">
            <a:extLst>
              <a:ext uri="{FF2B5EF4-FFF2-40B4-BE49-F238E27FC236}">
                <a16:creationId xmlns:a16="http://schemas.microsoft.com/office/drawing/2014/main" id="{8EBEA50F-B285-0348-9894-D8D3E10B8DEC}"/>
              </a:ext>
            </a:extLst>
          </p:cNvPr>
          <p:cNvSpPr txBox="1"/>
          <p:nvPr/>
        </p:nvSpPr>
        <p:spPr>
          <a:xfrm>
            <a:off x="4963409" y="929602"/>
            <a:ext cx="805029" cy="230832"/>
          </a:xfrm>
          <a:prstGeom prst="rect">
            <a:avLst/>
          </a:prstGeom>
          <a:noFill/>
        </p:spPr>
        <p:txBody>
          <a:bodyPr wrap="none" rtlCol="0">
            <a:spAutoFit/>
          </a:bodyPr>
          <a:lstStyle/>
          <a:p>
            <a:pPr>
              <a:defRPr/>
            </a:pPr>
            <a:r>
              <a:rPr lang="en-US" sz="900" kern="0">
                <a:solidFill>
                  <a:schemeClr val="accent1">
                    <a:lumMod val="75000"/>
                  </a:schemeClr>
                </a:solidFill>
              </a:rPr>
              <a:t>Satellite-NTN</a:t>
            </a:r>
          </a:p>
        </p:txBody>
      </p:sp>
      <p:sp>
        <p:nvSpPr>
          <p:cNvPr id="88" name="Textfeld 79">
            <a:extLst>
              <a:ext uri="{FF2B5EF4-FFF2-40B4-BE49-F238E27FC236}">
                <a16:creationId xmlns:a16="http://schemas.microsoft.com/office/drawing/2014/main" id="{9620C15B-EE33-5215-0EE2-32F11F0CF702}"/>
              </a:ext>
            </a:extLst>
          </p:cNvPr>
          <p:cNvSpPr txBox="1"/>
          <p:nvPr/>
        </p:nvSpPr>
        <p:spPr>
          <a:xfrm>
            <a:off x="2622612" y="4418823"/>
            <a:ext cx="769591" cy="369332"/>
          </a:xfrm>
          <a:prstGeom prst="rect">
            <a:avLst/>
          </a:prstGeom>
          <a:noFill/>
        </p:spPr>
        <p:txBody>
          <a:bodyPr wrap="square" rtlCol="0">
            <a:spAutoFit/>
          </a:bodyPr>
          <a:lstStyle/>
          <a:p>
            <a:pPr>
              <a:defRPr/>
            </a:pPr>
            <a:r>
              <a:rPr lang="en-US" sz="900" kern="0">
                <a:solidFill>
                  <a:schemeClr val="accent1">
                    <a:lumMod val="75000"/>
                  </a:schemeClr>
                </a:solidFill>
              </a:rPr>
              <a:t>Ground Station-TN</a:t>
            </a:r>
          </a:p>
        </p:txBody>
      </p:sp>
      <p:cxnSp>
        <p:nvCxnSpPr>
          <p:cNvPr id="89" name="Gerader Verbinder 46">
            <a:extLst>
              <a:ext uri="{FF2B5EF4-FFF2-40B4-BE49-F238E27FC236}">
                <a16:creationId xmlns:a16="http://schemas.microsoft.com/office/drawing/2014/main" id="{EEAE6FDE-75E9-CB0A-C67D-BBA70569D278}"/>
              </a:ext>
            </a:extLst>
          </p:cNvPr>
          <p:cNvCxnSpPr>
            <a:cxnSpLocks/>
          </p:cNvCxnSpPr>
          <p:nvPr/>
        </p:nvCxnSpPr>
        <p:spPr>
          <a:xfrm>
            <a:off x="10077481" y="4019441"/>
            <a:ext cx="765142" cy="511790"/>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67" name="Rechteck: abgerundete Ecken 66">
            <a:extLst>
              <a:ext uri="{FF2B5EF4-FFF2-40B4-BE49-F238E27FC236}">
                <a16:creationId xmlns:a16="http://schemas.microsoft.com/office/drawing/2014/main" id="{5F6F78AF-ED7A-40B7-B407-9DF926A39FBA}"/>
              </a:ext>
            </a:extLst>
          </p:cNvPr>
          <p:cNvSpPr/>
          <p:nvPr/>
        </p:nvSpPr>
        <p:spPr>
          <a:xfrm>
            <a:off x="497307" y="1142444"/>
            <a:ext cx="2267576" cy="720000"/>
          </a:xfrm>
          <a:prstGeom prst="round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a:solidFill>
                  <a:schemeClr val="tx1"/>
                </a:solidFill>
              </a:rPr>
              <a:t>High Altitude Platforms (HAPs) provides access</a:t>
            </a:r>
          </a:p>
        </p:txBody>
      </p:sp>
    </p:spTree>
    <p:extLst>
      <p:ext uri="{BB962C8B-B14F-4D97-AF65-F5344CB8AC3E}">
        <p14:creationId xmlns:p14="http://schemas.microsoft.com/office/powerpoint/2010/main" val="3013585730"/>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49378-4BBD-4E19-A796-55B9A214AC6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81C4984-FAC7-09FC-7D38-4D8B1E9099FB}"/>
              </a:ext>
            </a:extLst>
          </p:cNvPr>
          <p:cNvSpPr>
            <a:spLocks noGrp="1"/>
          </p:cNvSpPr>
          <p:nvPr>
            <p:ph type="title"/>
          </p:nvPr>
        </p:nvSpPr>
        <p:spPr/>
        <p:txBody>
          <a:bodyPr/>
          <a:lstStyle/>
          <a:p>
            <a:r>
              <a:rPr lang="en-US">
                <a:ea typeface="Microsoft YaHei"/>
                <a:cs typeface="Arial"/>
              </a:rPr>
              <a:t>3D Network</a:t>
            </a:r>
            <a:endParaRPr lang="en-US"/>
          </a:p>
        </p:txBody>
      </p:sp>
      <p:pic>
        <p:nvPicPr>
          <p:cNvPr id="8" name="Inhaltsplatzhalter 11">
            <a:extLst>
              <a:ext uri="{FF2B5EF4-FFF2-40B4-BE49-F238E27FC236}">
                <a16:creationId xmlns:a16="http://schemas.microsoft.com/office/drawing/2014/main" id="{7CE26DE5-6654-8782-D2C6-F9596EF0004C}"/>
              </a:ext>
            </a:extLst>
          </p:cNvPr>
          <p:cNvPicPr>
            <a:picLocks noChangeAspect="1"/>
          </p:cNvPicPr>
          <p:nvPr/>
        </p:nvPicPr>
        <p:blipFill rotWithShape="1">
          <a:blip r:embed="rId3">
            <a:duotone>
              <a:srgbClr val="4472C4">
                <a:shade val="45000"/>
                <a:satMod val="135000"/>
              </a:srgbClr>
              <a:prstClr val="white"/>
            </a:duotone>
            <a:extLst>
              <a:ext uri="{28A0092B-C50C-407E-A947-70E740481C1C}">
                <a14:useLocalDpi xmlns:a14="http://schemas.microsoft.com/office/drawing/2010/main" val="0"/>
              </a:ext>
            </a:extLst>
          </a:blip>
          <a:srcRect l="9403" t="2699" r="54756" b="8802"/>
          <a:stretch/>
        </p:blipFill>
        <p:spPr>
          <a:xfrm>
            <a:off x="824913" y="4118476"/>
            <a:ext cx="413382" cy="1169819"/>
          </a:xfrm>
          <a:prstGeom prst="rect">
            <a:avLst/>
          </a:prstGeom>
        </p:spPr>
      </p:pic>
      <p:pic>
        <p:nvPicPr>
          <p:cNvPr id="14" name="Inhaltsplatzhalter 11">
            <a:extLst>
              <a:ext uri="{FF2B5EF4-FFF2-40B4-BE49-F238E27FC236}">
                <a16:creationId xmlns:a16="http://schemas.microsoft.com/office/drawing/2014/main" id="{7920AF94-812B-BA63-8F3D-C733F75F0095}"/>
              </a:ext>
            </a:extLst>
          </p:cNvPr>
          <p:cNvPicPr>
            <a:picLocks noChangeAspect="1"/>
          </p:cNvPicPr>
          <p:nvPr/>
        </p:nvPicPr>
        <p:blipFill rotWithShape="1">
          <a:blip r:embed="rId3">
            <a:duotone>
              <a:srgbClr val="4472C4">
                <a:shade val="45000"/>
                <a:satMod val="135000"/>
              </a:srgbClr>
              <a:prstClr val="white"/>
            </a:duotone>
            <a:extLst>
              <a:ext uri="{28A0092B-C50C-407E-A947-70E740481C1C}">
                <a14:useLocalDpi xmlns:a14="http://schemas.microsoft.com/office/drawing/2010/main" val="0"/>
              </a:ext>
            </a:extLst>
          </a:blip>
          <a:srcRect l="9403" t="2699" r="54756" b="8802"/>
          <a:stretch/>
        </p:blipFill>
        <p:spPr>
          <a:xfrm>
            <a:off x="9696855" y="4005776"/>
            <a:ext cx="413382" cy="1169819"/>
          </a:xfrm>
          <a:prstGeom prst="rect">
            <a:avLst/>
          </a:prstGeom>
        </p:spPr>
      </p:pic>
      <p:sp>
        <p:nvSpPr>
          <p:cNvPr id="15" name="Textfeld 79">
            <a:extLst>
              <a:ext uri="{FF2B5EF4-FFF2-40B4-BE49-F238E27FC236}">
                <a16:creationId xmlns:a16="http://schemas.microsoft.com/office/drawing/2014/main" id="{1A8793FE-1F72-2B22-9A3D-20C2841AA3D5}"/>
              </a:ext>
            </a:extLst>
          </p:cNvPr>
          <p:cNvSpPr txBox="1"/>
          <p:nvPr/>
        </p:nvSpPr>
        <p:spPr>
          <a:xfrm>
            <a:off x="9477788" y="5092508"/>
            <a:ext cx="851515" cy="253916"/>
          </a:xfrm>
          <a:prstGeom prst="rect">
            <a:avLst/>
          </a:prstGeom>
          <a:noFill/>
        </p:spPr>
        <p:txBody>
          <a:bodyPr wrap="none" rtlCol="0">
            <a:spAutoFit/>
          </a:bodyPr>
          <a:lstStyle/>
          <a:p>
            <a:pPr>
              <a:defRPr/>
            </a:pPr>
            <a:r>
              <a:rPr lang="en-US" sz="1050" kern="0">
                <a:solidFill>
                  <a:schemeClr val="accent1">
                    <a:lumMod val="75000"/>
                  </a:schemeClr>
                </a:solidFill>
              </a:rPr>
              <a:t>Base station</a:t>
            </a:r>
          </a:p>
        </p:txBody>
      </p:sp>
      <p:grpSp>
        <p:nvGrpSpPr>
          <p:cNvPr id="21" name="Group 20">
            <a:extLst>
              <a:ext uri="{FF2B5EF4-FFF2-40B4-BE49-F238E27FC236}">
                <a16:creationId xmlns:a16="http://schemas.microsoft.com/office/drawing/2014/main" id="{0219B000-F2CC-110B-DCDA-C66C64C919F6}"/>
              </a:ext>
            </a:extLst>
          </p:cNvPr>
          <p:cNvGrpSpPr/>
          <p:nvPr/>
        </p:nvGrpSpPr>
        <p:grpSpPr>
          <a:xfrm>
            <a:off x="1429738" y="4586410"/>
            <a:ext cx="363940" cy="581068"/>
            <a:chOff x="8397385" y="4381221"/>
            <a:chExt cx="363940" cy="581068"/>
          </a:xfrm>
        </p:grpSpPr>
        <p:pic>
          <p:nvPicPr>
            <p:cNvPr id="9" name="Grafik 72">
              <a:extLst>
                <a:ext uri="{FF2B5EF4-FFF2-40B4-BE49-F238E27FC236}">
                  <a16:creationId xmlns:a16="http://schemas.microsoft.com/office/drawing/2014/main" id="{A4B23EB9-02FD-83B0-3774-204F2AC0435C}"/>
                </a:ext>
              </a:extLst>
            </p:cNvPr>
            <p:cNvPicPr>
              <a:picLocks noChangeAspect="1"/>
            </p:cNvPicPr>
            <p:nvPr/>
          </p:nvPicPr>
          <p:blipFill rotWithShape="1">
            <a:blip r:embed="rId4" cstate="print">
              <a:duotone>
                <a:srgbClr val="4472C4">
                  <a:shade val="45000"/>
                  <a:satMod val="135000"/>
                </a:srgbClr>
                <a:prstClr val="white"/>
              </a:duotone>
              <a:extLst>
                <a:ext uri="{28A0092B-C50C-407E-A947-70E740481C1C}">
                  <a14:useLocalDpi xmlns:a14="http://schemas.microsoft.com/office/drawing/2010/main" val="0"/>
                </a:ext>
              </a:extLst>
            </a:blip>
            <a:srcRect l="28161" r="29513"/>
            <a:stretch/>
          </p:blipFill>
          <p:spPr>
            <a:xfrm>
              <a:off x="8397385" y="4381221"/>
              <a:ext cx="363940" cy="581068"/>
            </a:xfrm>
            <a:prstGeom prst="rect">
              <a:avLst/>
            </a:prstGeom>
          </p:spPr>
        </p:pic>
        <p:sp>
          <p:nvSpPr>
            <p:cNvPr id="16" name="TextBox 15">
              <a:extLst>
                <a:ext uri="{FF2B5EF4-FFF2-40B4-BE49-F238E27FC236}">
                  <a16:creationId xmlns:a16="http://schemas.microsoft.com/office/drawing/2014/main" id="{DF40BD96-C367-0562-C496-2A5EF53A01D7}"/>
                </a:ext>
              </a:extLst>
            </p:cNvPr>
            <p:cNvSpPr txBox="1"/>
            <p:nvPr/>
          </p:nvSpPr>
          <p:spPr>
            <a:xfrm>
              <a:off x="8401931" y="4533255"/>
              <a:ext cx="359394" cy="276999"/>
            </a:xfrm>
            <a:prstGeom prst="rect">
              <a:avLst/>
            </a:prstGeom>
            <a:noFill/>
          </p:spPr>
          <p:txBody>
            <a:bodyPr wrap="none" rtlCol="0">
              <a:spAutoFit/>
            </a:bodyPr>
            <a:lstStyle/>
            <a:p>
              <a:r>
                <a:rPr lang="de-DE" sz="1200">
                  <a:solidFill>
                    <a:schemeClr val="accent1">
                      <a:lumMod val="75000"/>
                    </a:schemeClr>
                  </a:solidFill>
                </a:rPr>
                <a:t>UE</a:t>
              </a:r>
              <a:endParaRPr lang="de-DE" sz="1400">
                <a:solidFill>
                  <a:schemeClr val="accent1">
                    <a:lumMod val="75000"/>
                  </a:schemeClr>
                </a:solidFill>
              </a:endParaRPr>
            </a:p>
          </p:txBody>
        </p:sp>
      </p:grpSp>
      <p:pic>
        <p:nvPicPr>
          <p:cNvPr id="27" name="Grafik 29">
            <a:extLst>
              <a:ext uri="{FF2B5EF4-FFF2-40B4-BE49-F238E27FC236}">
                <a16:creationId xmlns:a16="http://schemas.microsoft.com/office/drawing/2014/main" id="{242098AB-F9C8-C93E-06F4-06ED8406B5D9}"/>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7999054" y="4427861"/>
            <a:ext cx="272343" cy="574347"/>
          </a:xfrm>
          <a:prstGeom prst="rect">
            <a:avLst/>
          </a:prstGeom>
        </p:spPr>
      </p:pic>
      <p:pic>
        <p:nvPicPr>
          <p:cNvPr id="28" name="Grafik 30">
            <a:extLst>
              <a:ext uri="{FF2B5EF4-FFF2-40B4-BE49-F238E27FC236}">
                <a16:creationId xmlns:a16="http://schemas.microsoft.com/office/drawing/2014/main" id="{0B556771-D41C-8DFF-6572-E9DC33F759A2}"/>
              </a:ext>
            </a:extLst>
          </p:cNvPr>
          <p:cNvPicPr>
            <a:picLocks noChangeAspect="1"/>
          </p:cNvPicPr>
          <p:nvPr/>
        </p:nvPicPr>
        <p:blipFill>
          <a:blip r:embed="rId6">
            <a:clrChange>
              <a:clrFrom>
                <a:srgbClr val="FFFFFA"/>
              </a:clrFrom>
              <a:clrTo>
                <a:srgbClr val="FFFFFA">
                  <a:alpha val="0"/>
                </a:srgbClr>
              </a:clrTo>
            </a:clrChange>
          </a:blip>
          <a:stretch>
            <a:fillRect/>
          </a:stretch>
        </p:blipFill>
        <p:spPr>
          <a:xfrm>
            <a:off x="6780863" y="4013391"/>
            <a:ext cx="303582" cy="783758"/>
          </a:xfrm>
          <a:prstGeom prst="rect">
            <a:avLst/>
          </a:prstGeom>
        </p:spPr>
      </p:pic>
      <p:pic>
        <p:nvPicPr>
          <p:cNvPr id="29" name="Grafik 31">
            <a:extLst>
              <a:ext uri="{FF2B5EF4-FFF2-40B4-BE49-F238E27FC236}">
                <a16:creationId xmlns:a16="http://schemas.microsoft.com/office/drawing/2014/main" id="{C93D4E2C-6D1A-BD70-2D1B-CABE21F489A3}"/>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7255472" y="3913185"/>
            <a:ext cx="417071" cy="852147"/>
          </a:xfrm>
          <a:prstGeom prst="rect">
            <a:avLst/>
          </a:prstGeom>
        </p:spPr>
      </p:pic>
      <p:pic>
        <p:nvPicPr>
          <p:cNvPr id="30" name="Grafik 32">
            <a:extLst>
              <a:ext uri="{FF2B5EF4-FFF2-40B4-BE49-F238E27FC236}">
                <a16:creationId xmlns:a16="http://schemas.microsoft.com/office/drawing/2014/main" id="{296DE9E4-86C9-5108-953F-6220DBBF75F2}"/>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7033369" y="4285937"/>
            <a:ext cx="304132" cy="582960"/>
          </a:xfrm>
          <a:prstGeom prst="rect">
            <a:avLst/>
          </a:prstGeom>
        </p:spPr>
      </p:pic>
      <p:pic>
        <p:nvPicPr>
          <p:cNvPr id="31" name="Grafik 34">
            <a:extLst>
              <a:ext uri="{FF2B5EF4-FFF2-40B4-BE49-F238E27FC236}">
                <a16:creationId xmlns:a16="http://schemas.microsoft.com/office/drawing/2014/main" id="{3FE2858A-52D9-9559-2B1C-8B42E1D9F2F2}"/>
              </a:ext>
            </a:extLst>
          </p:cNvPr>
          <p:cNvPicPr>
            <a:picLocks noChangeAspect="1"/>
          </p:cNvPicPr>
          <p:nvPr/>
        </p:nvPicPr>
        <p:blipFill>
          <a:blip r:embed="rId6">
            <a:clrChange>
              <a:clrFrom>
                <a:srgbClr val="FFFFFA"/>
              </a:clrFrom>
              <a:clrTo>
                <a:srgbClr val="FFFFFA">
                  <a:alpha val="0"/>
                </a:srgbClr>
              </a:clrTo>
            </a:clrChange>
          </a:blip>
          <a:stretch>
            <a:fillRect/>
          </a:stretch>
        </p:blipFill>
        <p:spPr>
          <a:xfrm>
            <a:off x="7601164" y="3874159"/>
            <a:ext cx="303582" cy="783758"/>
          </a:xfrm>
          <a:prstGeom prst="rect">
            <a:avLst/>
          </a:prstGeom>
        </p:spPr>
      </p:pic>
      <p:pic>
        <p:nvPicPr>
          <p:cNvPr id="32" name="Grafik 35">
            <a:extLst>
              <a:ext uri="{FF2B5EF4-FFF2-40B4-BE49-F238E27FC236}">
                <a16:creationId xmlns:a16="http://schemas.microsoft.com/office/drawing/2014/main" id="{77055429-9602-3ECC-809B-4AB054F04270}"/>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8440782" y="4725422"/>
            <a:ext cx="523687" cy="395966"/>
          </a:xfrm>
          <a:prstGeom prst="rect">
            <a:avLst/>
          </a:prstGeom>
        </p:spPr>
      </p:pic>
      <p:pic>
        <p:nvPicPr>
          <p:cNvPr id="33" name="Grafik 63">
            <a:extLst>
              <a:ext uri="{FF2B5EF4-FFF2-40B4-BE49-F238E27FC236}">
                <a16:creationId xmlns:a16="http://schemas.microsoft.com/office/drawing/2014/main" id="{ACB35EA4-C98D-14A0-10B6-AF1F21B9B330}"/>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7820601" y="4369271"/>
            <a:ext cx="219249" cy="447962"/>
          </a:xfrm>
          <a:prstGeom prst="rect">
            <a:avLst/>
          </a:prstGeom>
        </p:spPr>
      </p:pic>
      <p:pic>
        <p:nvPicPr>
          <p:cNvPr id="34" name="Inhaltsplatzhalter 11">
            <a:extLst>
              <a:ext uri="{FF2B5EF4-FFF2-40B4-BE49-F238E27FC236}">
                <a16:creationId xmlns:a16="http://schemas.microsoft.com/office/drawing/2014/main" id="{BFE04C7C-FCD1-D830-CB6D-56C148035042}"/>
              </a:ext>
            </a:extLst>
          </p:cNvPr>
          <p:cNvPicPr>
            <a:picLocks noChangeAspect="1"/>
          </p:cNvPicPr>
          <p:nvPr/>
        </p:nvPicPr>
        <p:blipFill rotWithShape="1">
          <a:blip r:embed="rId3">
            <a:duotone>
              <a:srgbClr val="4472C4">
                <a:shade val="45000"/>
                <a:satMod val="135000"/>
              </a:srgbClr>
              <a:prstClr val="white"/>
            </a:duotone>
            <a:extLst>
              <a:ext uri="{28A0092B-C50C-407E-A947-70E740481C1C}">
                <a14:useLocalDpi xmlns:a14="http://schemas.microsoft.com/office/drawing/2010/main" val="0"/>
              </a:ext>
            </a:extLst>
          </a:blip>
          <a:srcRect l="9403" t="2699" r="54756" b="8802"/>
          <a:stretch/>
        </p:blipFill>
        <p:spPr>
          <a:xfrm>
            <a:off x="9703117" y="4001501"/>
            <a:ext cx="413382" cy="1169819"/>
          </a:xfrm>
          <a:prstGeom prst="rect">
            <a:avLst/>
          </a:prstGeom>
        </p:spPr>
      </p:pic>
      <p:sp>
        <p:nvSpPr>
          <p:cNvPr id="35" name="Textfeld 79">
            <a:extLst>
              <a:ext uri="{FF2B5EF4-FFF2-40B4-BE49-F238E27FC236}">
                <a16:creationId xmlns:a16="http://schemas.microsoft.com/office/drawing/2014/main" id="{75C7141F-0219-C0F8-C9DD-CBAED9DBA48B}"/>
              </a:ext>
            </a:extLst>
          </p:cNvPr>
          <p:cNvSpPr txBox="1"/>
          <p:nvPr/>
        </p:nvSpPr>
        <p:spPr>
          <a:xfrm>
            <a:off x="9477788" y="5092508"/>
            <a:ext cx="851515" cy="253916"/>
          </a:xfrm>
          <a:prstGeom prst="rect">
            <a:avLst/>
          </a:prstGeom>
          <a:noFill/>
        </p:spPr>
        <p:txBody>
          <a:bodyPr wrap="none" rtlCol="0">
            <a:spAutoFit/>
          </a:bodyPr>
          <a:lstStyle/>
          <a:p>
            <a:pPr>
              <a:defRPr/>
            </a:pPr>
            <a:r>
              <a:rPr lang="en-US" sz="1050" kern="0">
                <a:solidFill>
                  <a:schemeClr val="accent1">
                    <a:lumMod val="75000"/>
                  </a:schemeClr>
                </a:solidFill>
              </a:rPr>
              <a:t>Base station</a:t>
            </a:r>
          </a:p>
        </p:txBody>
      </p:sp>
      <p:cxnSp>
        <p:nvCxnSpPr>
          <p:cNvPr id="39" name="Gerader Verbinder 45">
            <a:extLst>
              <a:ext uri="{FF2B5EF4-FFF2-40B4-BE49-F238E27FC236}">
                <a16:creationId xmlns:a16="http://schemas.microsoft.com/office/drawing/2014/main" id="{04E40122-A88C-7BC8-D611-A69D4FC25BFC}"/>
              </a:ext>
            </a:extLst>
          </p:cNvPr>
          <p:cNvCxnSpPr>
            <a:cxnSpLocks/>
          </p:cNvCxnSpPr>
          <p:nvPr/>
        </p:nvCxnSpPr>
        <p:spPr>
          <a:xfrm flipV="1">
            <a:off x="8392678" y="4006371"/>
            <a:ext cx="1404057" cy="71905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41" name="Freihandform: Form 25">
            <a:extLst>
              <a:ext uri="{FF2B5EF4-FFF2-40B4-BE49-F238E27FC236}">
                <a16:creationId xmlns:a16="http://schemas.microsoft.com/office/drawing/2014/main" id="{31E6E41A-4CB3-ED39-63D1-63CEEB1C472D}"/>
              </a:ext>
            </a:extLst>
          </p:cNvPr>
          <p:cNvSpPr/>
          <p:nvPr/>
        </p:nvSpPr>
        <p:spPr>
          <a:xfrm>
            <a:off x="5426493" y="3991947"/>
            <a:ext cx="5434628" cy="1453919"/>
          </a:xfrm>
          <a:custGeom>
            <a:avLst/>
            <a:gdLst>
              <a:gd name="connsiteX0" fmla="*/ 354439 w 6305329"/>
              <a:gd name="connsiteY0" fmla="*/ 1307886 h 1602253"/>
              <a:gd name="connsiteX1" fmla="*/ 685179 w 6305329"/>
              <a:gd name="connsiteY1" fmla="*/ 1230065 h 1602253"/>
              <a:gd name="connsiteX2" fmla="*/ 1054830 w 6305329"/>
              <a:gd name="connsiteY2" fmla="*/ 481035 h 1602253"/>
              <a:gd name="connsiteX3" fmla="*/ 1278566 w 6305329"/>
              <a:gd name="connsiteY3" fmla="*/ 4380 h 1602253"/>
              <a:gd name="connsiteX4" fmla="*/ 1570396 w 6305329"/>
              <a:gd name="connsiteY4" fmla="*/ 753409 h 1602253"/>
              <a:gd name="connsiteX5" fmla="*/ 2134600 w 6305329"/>
              <a:gd name="connsiteY5" fmla="*/ 918780 h 1602253"/>
              <a:gd name="connsiteX6" fmla="*/ 2562617 w 6305329"/>
              <a:gd name="connsiteY6" fmla="*/ 665860 h 1602253"/>
              <a:gd name="connsiteX7" fmla="*/ 3019817 w 6305329"/>
              <a:gd name="connsiteY7" fmla="*/ 977146 h 1602253"/>
              <a:gd name="connsiteX8" fmla="*/ 3807758 w 6305329"/>
              <a:gd name="connsiteY8" fmla="*/ 1220337 h 1602253"/>
              <a:gd name="connsiteX9" fmla="*/ 5850566 w 6305329"/>
              <a:gd name="connsiteY9" fmla="*/ 1278703 h 1602253"/>
              <a:gd name="connsiteX10" fmla="*/ 5801928 w 6305329"/>
              <a:gd name="connsiteY10" fmla="*/ 1580260 h 1602253"/>
              <a:gd name="connsiteX11" fmla="*/ 432260 w 6305329"/>
              <a:gd name="connsiteY11" fmla="*/ 1551077 h 1602253"/>
              <a:gd name="connsiteX12" fmla="*/ 354439 w 6305329"/>
              <a:gd name="connsiteY12" fmla="*/ 1307886 h 160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5329" h="1602253">
                <a:moveTo>
                  <a:pt x="354439" y="1307886"/>
                </a:moveTo>
                <a:cubicBezTo>
                  <a:pt x="396592" y="1254384"/>
                  <a:pt x="568447" y="1367874"/>
                  <a:pt x="685179" y="1230065"/>
                </a:cubicBezTo>
                <a:cubicBezTo>
                  <a:pt x="801911" y="1092256"/>
                  <a:pt x="955932" y="685316"/>
                  <a:pt x="1054830" y="481035"/>
                </a:cubicBezTo>
                <a:cubicBezTo>
                  <a:pt x="1153728" y="276754"/>
                  <a:pt x="1192638" y="-41016"/>
                  <a:pt x="1278566" y="4380"/>
                </a:cubicBezTo>
                <a:cubicBezTo>
                  <a:pt x="1364494" y="49776"/>
                  <a:pt x="1427724" y="601009"/>
                  <a:pt x="1570396" y="753409"/>
                </a:cubicBezTo>
                <a:cubicBezTo>
                  <a:pt x="1713068" y="905809"/>
                  <a:pt x="1969230" y="933371"/>
                  <a:pt x="2134600" y="918780"/>
                </a:cubicBezTo>
                <a:cubicBezTo>
                  <a:pt x="2299970" y="904189"/>
                  <a:pt x="2415081" y="656132"/>
                  <a:pt x="2562617" y="665860"/>
                </a:cubicBezTo>
                <a:cubicBezTo>
                  <a:pt x="2710153" y="675588"/>
                  <a:pt x="2812294" y="884733"/>
                  <a:pt x="3019817" y="977146"/>
                </a:cubicBezTo>
                <a:cubicBezTo>
                  <a:pt x="3227341" y="1069559"/>
                  <a:pt x="3335967" y="1170078"/>
                  <a:pt x="3807758" y="1220337"/>
                </a:cubicBezTo>
                <a:cubicBezTo>
                  <a:pt x="4279549" y="1270596"/>
                  <a:pt x="5518204" y="1218716"/>
                  <a:pt x="5850566" y="1278703"/>
                </a:cubicBezTo>
                <a:cubicBezTo>
                  <a:pt x="6182928" y="1338690"/>
                  <a:pt x="6704979" y="1534864"/>
                  <a:pt x="5801928" y="1580260"/>
                </a:cubicBezTo>
                <a:cubicBezTo>
                  <a:pt x="4898877" y="1625656"/>
                  <a:pt x="1333690" y="1593230"/>
                  <a:pt x="432260" y="1551077"/>
                </a:cubicBezTo>
                <a:cubicBezTo>
                  <a:pt x="-469170" y="1508924"/>
                  <a:pt x="312286" y="1361388"/>
                  <a:pt x="354439" y="1307886"/>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3"/>
          </a:p>
        </p:txBody>
      </p:sp>
      <p:pic>
        <p:nvPicPr>
          <p:cNvPr id="7" name="Graphic 6" descr="Satellite outline">
            <a:extLst>
              <a:ext uri="{FF2B5EF4-FFF2-40B4-BE49-F238E27FC236}">
                <a16:creationId xmlns:a16="http://schemas.microsoft.com/office/drawing/2014/main" id="{51E50A48-4587-A7B8-FB54-010A76DE7C0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999181" y="856579"/>
            <a:ext cx="614182" cy="614182"/>
          </a:xfrm>
          <a:prstGeom prst="rect">
            <a:avLst/>
          </a:prstGeom>
        </p:spPr>
      </p:pic>
      <p:cxnSp>
        <p:nvCxnSpPr>
          <p:cNvPr id="20" name="Gerader Verbinder 45">
            <a:extLst>
              <a:ext uri="{FF2B5EF4-FFF2-40B4-BE49-F238E27FC236}">
                <a16:creationId xmlns:a16="http://schemas.microsoft.com/office/drawing/2014/main" id="{F173BF52-99F3-ECE2-B3E9-E9FB7157138B}"/>
              </a:ext>
            </a:extLst>
          </p:cNvPr>
          <p:cNvCxnSpPr>
            <a:cxnSpLocks/>
          </p:cNvCxnSpPr>
          <p:nvPr/>
        </p:nvCxnSpPr>
        <p:spPr>
          <a:xfrm flipV="1">
            <a:off x="6707874" y="878164"/>
            <a:ext cx="1404057" cy="71905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3" name="Gerader Verbinder 46">
            <a:extLst>
              <a:ext uri="{FF2B5EF4-FFF2-40B4-BE49-F238E27FC236}">
                <a16:creationId xmlns:a16="http://schemas.microsoft.com/office/drawing/2014/main" id="{69C8111E-615F-E464-D64A-86C1A4600310}"/>
              </a:ext>
            </a:extLst>
          </p:cNvPr>
          <p:cNvCxnSpPr>
            <a:cxnSpLocks/>
          </p:cNvCxnSpPr>
          <p:nvPr/>
        </p:nvCxnSpPr>
        <p:spPr>
          <a:xfrm>
            <a:off x="8440782" y="878164"/>
            <a:ext cx="1415565" cy="74232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pic>
        <p:nvPicPr>
          <p:cNvPr id="6" name="Graphic 5" descr="Satellite outline">
            <a:extLst>
              <a:ext uri="{FF2B5EF4-FFF2-40B4-BE49-F238E27FC236}">
                <a16:creationId xmlns:a16="http://schemas.microsoft.com/office/drawing/2014/main" id="{45CA2112-461C-102E-58BE-AAA1FDFC16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064305" y="1135612"/>
            <a:ext cx="614182" cy="614182"/>
          </a:xfrm>
          <a:prstGeom prst="rect">
            <a:avLst/>
          </a:prstGeom>
        </p:spPr>
      </p:pic>
      <p:cxnSp>
        <p:nvCxnSpPr>
          <p:cNvPr id="12" name="Gerader Verbinder 45">
            <a:extLst>
              <a:ext uri="{FF2B5EF4-FFF2-40B4-BE49-F238E27FC236}">
                <a16:creationId xmlns:a16="http://schemas.microsoft.com/office/drawing/2014/main" id="{3DDB1AEC-64BE-83F5-30BE-42D418B4ABF5}"/>
              </a:ext>
            </a:extLst>
          </p:cNvPr>
          <p:cNvCxnSpPr>
            <a:cxnSpLocks/>
          </p:cNvCxnSpPr>
          <p:nvPr/>
        </p:nvCxnSpPr>
        <p:spPr>
          <a:xfrm flipV="1">
            <a:off x="3772998" y="1157197"/>
            <a:ext cx="1404057" cy="71905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3" name="Gerader Verbinder 46">
            <a:extLst>
              <a:ext uri="{FF2B5EF4-FFF2-40B4-BE49-F238E27FC236}">
                <a16:creationId xmlns:a16="http://schemas.microsoft.com/office/drawing/2014/main" id="{6356F8A7-65C5-1E10-6294-B67B679F8DC6}"/>
              </a:ext>
            </a:extLst>
          </p:cNvPr>
          <p:cNvCxnSpPr>
            <a:cxnSpLocks/>
          </p:cNvCxnSpPr>
          <p:nvPr/>
        </p:nvCxnSpPr>
        <p:spPr>
          <a:xfrm>
            <a:off x="5505906" y="1157197"/>
            <a:ext cx="1400183" cy="725524"/>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pic>
        <p:nvPicPr>
          <p:cNvPr id="50" name="Grafik 30">
            <a:extLst>
              <a:ext uri="{FF2B5EF4-FFF2-40B4-BE49-F238E27FC236}">
                <a16:creationId xmlns:a16="http://schemas.microsoft.com/office/drawing/2014/main" id="{0AA08DCE-10D1-4693-759E-30B5F3E8A94C}"/>
              </a:ext>
            </a:extLst>
          </p:cNvPr>
          <p:cNvPicPr>
            <a:picLocks noChangeAspect="1"/>
          </p:cNvPicPr>
          <p:nvPr/>
        </p:nvPicPr>
        <p:blipFill>
          <a:blip r:embed="rId6">
            <a:clrChange>
              <a:clrFrom>
                <a:srgbClr val="FFFFFA"/>
              </a:clrFrom>
              <a:clrTo>
                <a:srgbClr val="FFFFFA">
                  <a:alpha val="0"/>
                </a:srgbClr>
              </a:clrTo>
            </a:clrChange>
          </a:blip>
          <a:stretch>
            <a:fillRect/>
          </a:stretch>
        </p:blipFill>
        <p:spPr>
          <a:xfrm>
            <a:off x="5275242" y="4013391"/>
            <a:ext cx="303582" cy="783758"/>
          </a:xfrm>
          <a:prstGeom prst="rect">
            <a:avLst/>
          </a:prstGeom>
        </p:spPr>
      </p:pic>
      <p:pic>
        <p:nvPicPr>
          <p:cNvPr id="51" name="Grafik 31">
            <a:extLst>
              <a:ext uri="{FF2B5EF4-FFF2-40B4-BE49-F238E27FC236}">
                <a16:creationId xmlns:a16="http://schemas.microsoft.com/office/drawing/2014/main" id="{D48CCC97-7939-EE65-A05F-DC34EFB7AFEB}"/>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5749851" y="3913185"/>
            <a:ext cx="417071" cy="852147"/>
          </a:xfrm>
          <a:prstGeom prst="rect">
            <a:avLst/>
          </a:prstGeom>
        </p:spPr>
      </p:pic>
      <p:pic>
        <p:nvPicPr>
          <p:cNvPr id="52" name="Grafik 32">
            <a:extLst>
              <a:ext uri="{FF2B5EF4-FFF2-40B4-BE49-F238E27FC236}">
                <a16:creationId xmlns:a16="http://schemas.microsoft.com/office/drawing/2014/main" id="{D315B608-F777-F851-1C5B-D759C1B76962}"/>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5527748" y="4285937"/>
            <a:ext cx="304132" cy="582960"/>
          </a:xfrm>
          <a:prstGeom prst="rect">
            <a:avLst/>
          </a:prstGeom>
        </p:spPr>
      </p:pic>
      <p:sp>
        <p:nvSpPr>
          <p:cNvPr id="55" name="Freihandform: Form 25">
            <a:extLst>
              <a:ext uri="{FF2B5EF4-FFF2-40B4-BE49-F238E27FC236}">
                <a16:creationId xmlns:a16="http://schemas.microsoft.com/office/drawing/2014/main" id="{BB02576D-6C3D-1385-DE5D-60EC644CC42E}"/>
              </a:ext>
            </a:extLst>
          </p:cNvPr>
          <p:cNvSpPr/>
          <p:nvPr/>
        </p:nvSpPr>
        <p:spPr>
          <a:xfrm>
            <a:off x="3920872" y="3991947"/>
            <a:ext cx="5434628" cy="1453919"/>
          </a:xfrm>
          <a:custGeom>
            <a:avLst/>
            <a:gdLst>
              <a:gd name="connsiteX0" fmla="*/ 354439 w 6305329"/>
              <a:gd name="connsiteY0" fmla="*/ 1307886 h 1602253"/>
              <a:gd name="connsiteX1" fmla="*/ 685179 w 6305329"/>
              <a:gd name="connsiteY1" fmla="*/ 1230065 h 1602253"/>
              <a:gd name="connsiteX2" fmla="*/ 1054830 w 6305329"/>
              <a:gd name="connsiteY2" fmla="*/ 481035 h 1602253"/>
              <a:gd name="connsiteX3" fmla="*/ 1278566 w 6305329"/>
              <a:gd name="connsiteY3" fmla="*/ 4380 h 1602253"/>
              <a:gd name="connsiteX4" fmla="*/ 1570396 w 6305329"/>
              <a:gd name="connsiteY4" fmla="*/ 753409 h 1602253"/>
              <a:gd name="connsiteX5" fmla="*/ 2134600 w 6305329"/>
              <a:gd name="connsiteY5" fmla="*/ 918780 h 1602253"/>
              <a:gd name="connsiteX6" fmla="*/ 2562617 w 6305329"/>
              <a:gd name="connsiteY6" fmla="*/ 665860 h 1602253"/>
              <a:gd name="connsiteX7" fmla="*/ 3019817 w 6305329"/>
              <a:gd name="connsiteY7" fmla="*/ 977146 h 1602253"/>
              <a:gd name="connsiteX8" fmla="*/ 3807758 w 6305329"/>
              <a:gd name="connsiteY8" fmla="*/ 1220337 h 1602253"/>
              <a:gd name="connsiteX9" fmla="*/ 5850566 w 6305329"/>
              <a:gd name="connsiteY9" fmla="*/ 1278703 h 1602253"/>
              <a:gd name="connsiteX10" fmla="*/ 5801928 w 6305329"/>
              <a:gd name="connsiteY10" fmla="*/ 1580260 h 1602253"/>
              <a:gd name="connsiteX11" fmla="*/ 432260 w 6305329"/>
              <a:gd name="connsiteY11" fmla="*/ 1551077 h 1602253"/>
              <a:gd name="connsiteX12" fmla="*/ 354439 w 6305329"/>
              <a:gd name="connsiteY12" fmla="*/ 1307886 h 160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5329" h="1602253">
                <a:moveTo>
                  <a:pt x="354439" y="1307886"/>
                </a:moveTo>
                <a:cubicBezTo>
                  <a:pt x="396592" y="1254384"/>
                  <a:pt x="568447" y="1367874"/>
                  <a:pt x="685179" y="1230065"/>
                </a:cubicBezTo>
                <a:cubicBezTo>
                  <a:pt x="801911" y="1092256"/>
                  <a:pt x="955932" y="685316"/>
                  <a:pt x="1054830" y="481035"/>
                </a:cubicBezTo>
                <a:cubicBezTo>
                  <a:pt x="1153728" y="276754"/>
                  <a:pt x="1192638" y="-41016"/>
                  <a:pt x="1278566" y="4380"/>
                </a:cubicBezTo>
                <a:cubicBezTo>
                  <a:pt x="1364494" y="49776"/>
                  <a:pt x="1427724" y="601009"/>
                  <a:pt x="1570396" y="753409"/>
                </a:cubicBezTo>
                <a:cubicBezTo>
                  <a:pt x="1713068" y="905809"/>
                  <a:pt x="1969230" y="933371"/>
                  <a:pt x="2134600" y="918780"/>
                </a:cubicBezTo>
                <a:cubicBezTo>
                  <a:pt x="2299970" y="904189"/>
                  <a:pt x="2415081" y="656132"/>
                  <a:pt x="2562617" y="665860"/>
                </a:cubicBezTo>
                <a:cubicBezTo>
                  <a:pt x="2710153" y="675588"/>
                  <a:pt x="2812294" y="884733"/>
                  <a:pt x="3019817" y="977146"/>
                </a:cubicBezTo>
                <a:cubicBezTo>
                  <a:pt x="3227341" y="1069559"/>
                  <a:pt x="3335967" y="1170078"/>
                  <a:pt x="3807758" y="1220337"/>
                </a:cubicBezTo>
                <a:cubicBezTo>
                  <a:pt x="4279549" y="1270596"/>
                  <a:pt x="5518204" y="1218716"/>
                  <a:pt x="5850566" y="1278703"/>
                </a:cubicBezTo>
                <a:cubicBezTo>
                  <a:pt x="6182928" y="1338690"/>
                  <a:pt x="6704979" y="1534864"/>
                  <a:pt x="5801928" y="1580260"/>
                </a:cubicBezTo>
                <a:cubicBezTo>
                  <a:pt x="4898877" y="1625656"/>
                  <a:pt x="1333690" y="1593230"/>
                  <a:pt x="432260" y="1551077"/>
                </a:cubicBezTo>
                <a:cubicBezTo>
                  <a:pt x="-469170" y="1508924"/>
                  <a:pt x="312286" y="1361388"/>
                  <a:pt x="354439" y="1307886"/>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3"/>
          </a:p>
        </p:txBody>
      </p:sp>
      <p:cxnSp>
        <p:nvCxnSpPr>
          <p:cNvPr id="57" name="Gerade Verbindung mit Pfeil 61">
            <a:extLst>
              <a:ext uri="{FF2B5EF4-FFF2-40B4-BE49-F238E27FC236}">
                <a16:creationId xmlns:a16="http://schemas.microsoft.com/office/drawing/2014/main" id="{5AB55FE5-367C-223C-7D12-7FB1E48298BC}"/>
              </a:ext>
            </a:extLst>
          </p:cNvPr>
          <p:cNvCxnSpPr>
            <a:cxnSpLocks/>
            <a:stCxn id="7" idx="1"/>
            <a:endCxn id="6" idx="3"/>
          </p:cNvCxnSpPr>
          <p:nvPr/>
        </p:nvCxnSpPr>
        <p:spPr>
          <a:xfrm flipH="1">
            <a:off x="5678487" y="1163670"/>
            <a:ext cx="2320694" cy="279033"/>
          </a:xfrm>
          <a:prstGeom prst="straightConnector1">
            <a:avLst/>
          </a:prstGeom>
          <a:noFill/>
          <a:ln w="19050" cap="flat" cmpd="sng" algn="ctr">
            <a:solidFill>
              <a:schemeClr val="accent1">
                <a:lumMod val="60000"/>
                <a:lumOff val="40000"/>
              </a:schemeClr>
            </a:solidFill>
            <a:prstDash val="solid"/>
            <a:miter lim="800000"/>
            <a:headEnd type="triangle" w="med" len="med"/>
            <a:tailEnd type="triangle" w="med" len="med"/>
          </a:ln>
          <a:effectLst/>
        </p:spPr>
      </p:cxnSp>
      <p:sp>
        <p:nvSpPr>
          <p:cNvPr id="64" name="Freihandform: Form 25">
            <a:extLst>
              <a:ext uri="{FF2B5EF4-FFF2-40B4-BE49-F238E27FC236}">
                <a16:creationId xmlns:a16="http://schemas.microsoft.com/office/drawing/2014/main" id="{F71F8F62-DC2F-3FB7-7092-B9B0069953BF}"/>
              </a:ext>
            </a:extLst>
          </p:cNvPr>
          <p:cNvSpPr/>
          <p:nvPr/>
        </p:nvSpPr>
        <p:spPr>
          <a:xfrm flipH="1">
            <a:off x="202165" y="4466837"/>
            <a:ext cx="5476321" cy="985544"/>
          </a:xfrm>
          <a:custGeom>
            <a:avLst/>
            <a:gdLst>
              <a:gd name="connsiteX0" fmla="*/ 354439 w 6305329"/>
              <a:gd name="connsiteY0" fmla="*/ 1307886 h 1602253"/>
              <a:gd name="connsiteX1" fmla="*/ 685179 w 6305329"/>
              <a:gd name="connsiteY1" fmla="*/ 1230065 h 1602253"/>
              <a:gd name="connsiteX2" fmla="*/ 1054830 w 6305329"/>
              <a:gd name="connsiteY2" fmla="*/ 481035 h 1602253"/>
              <a:gd name="connsiteX3" fmla="*/ 1278566 w 6305329"/>
              <a:gd name="connsiteY3" fmla="*/ 4380 h 1602253"/>
              <a:gd name="connsiteX4" fmla="*/ 1570396 w 6305329"/>
              <a:gd name="connsiteY4" fmla="*/ 753409 h 1602253"/>
              <a:gd name="connsiteX5" fmla="*/ 2134600 w 6305329"/>
              <a:gd name="connsiteY5" fmla="*/ 918780 h 1602253"/>
              <a:gd name="connsiteX6" fmla="*/ 2562617 w 6305329"/>
              <a:gd name="connsiteY6" fmla="*/ 665860 h 1602253"/>
              <a:gd name="connsiteX7" fmla="*/ 3019817 w 6305329"/>
              <a:gd name="connsiteY7" fmla="*/ 977146 h 1602253"/>
              <a:gd name="connsiteX8" fmla="*/ 3807758 w 6305329"/>
              <a:gd name="connsiteY8" fmla="*/ 1220337 h 1602253"/>
              <a:gd name="connsiteX9" fmla="*/ 5850566 w 6305329"/>
              <a:gd name="connsiteY9" fmla="*/ 1278703 h 1602253"/>
              <a:gd name="connsiteX10" fmla="*/ 5801928 w 6305329"/>
              <a:gd name="connsiteY10" fmla="*/ 1580260 h 1602253"/>
              <a:gd name="connsiteX11" fmla="*/ 432260 w 6305329"/>
              <a:gd name="connsiteY11" fmla="*/ 1551077 h 1602253"/>
              <a:gd name="connsiteX12" fmla="*/ 354439 w 6305329"/>
              <a:gd name="connsiteY12" fmla="*/ 1307886 h 160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5329" h="1602253">
                <a:moveTo>
                  <a:pt x="354439" y="1307886"/>
                </a:moveTo>
                <a:cubicBezTo>
                  <a:pt x="396592" y="1254384"/>
                  <a:pt x="568447" y="1367874"/>
                  <a:pt x="685179" y="1230065"/>
                </a:cubicBezTo>
                <a:cubicBezTo>
                  <a:pt x="801911" y="1092256"/>
                  <a:pt x="955932" y="685316"/>
                  <a:pt x="1054830" y="481035"/>
                </a:cubicBezTo>
                <a:cubicBezTo>
                  <a:pt x="1153728" y="276754"/>
                  <a:pt x="1192638" y="-41016"/>
                  <a:pt x="1278566" y="4380"/>
                </a:cubicBezTo>
                <a:cubicBezTo>
                  <a:pt x="1364494" y="49776"/>
                  <a:pt x="1427724" y="601009"/>
                  <a:pt x="1570396" y="753409"/>
                </a:cubicBezTo>
                <a:cubicBezTo>
                  <a:pt x="1713068" y="905809"/>
                  <a:pt x="1969230" y="933371"/>
                  <a:pt x="2134600" y="918780"/>
                </a:cubicBezTo>
                <a:cubicBezTo>
                  <a:pt x="2299970" y="904189"/>
                  <a:pt x="2415081" y="656132"/>
                  <a:pt x="2562617" y="665860"/>
                </a:cubicBezTo>
                <a:cubicBezTo>
                  <a:pt x="2710153" y="675588"/>
                  <a:pt x="2812294" y="884733"/>
                  <a:pt x="3019817" y="977146"/>
                </a:cubicBezTo>
                <a:cubicBezTo>
                  <a:pt x="3227341" y="1069559"/>
                  <a:pt x="3335967" y="1170078"/>
                  <a:pt x="3807758" y="1220337"/>
                </a:cubicBezTo>
                <a:cubicBezTo>
                  <a:pt x="4279549" y="1270596"/>
                  <a:pt x="5518204" y="1218716"/>
                  <a:pt x="5850566" y="1278703"/>
                </a:cubicBezTo>
                <a:cubicBezTo>
                  <a:pt x="6182928" y="1338690"/>
                  <a:pt x="6704979" y="1534864"/>
                  <a:pt x="5801928" y="1580260"/>
                </a:cubicBezTo>
                <a:cubicBezTo>
                  <a:pt x="4898877" y="1625656"/>
                  <a:pt x="1333690" y="1593230"/>
                  <a:pt x="432260" y="1551077"/>
                </a:cubicBezTo>
                <a:cubicBezTo>
                  <a:pt x="-469170" y="1508924"/>
                  <a:pt x="312286" y="1361388"/>
                  <a:pt x="354439" y="1307886"/>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3"/>
          </a:p>
        </p:txBody>
      </p:sp>
      <p:pic>
        <p:nvPicPr>
          <p:cNvPr id="42" name="Grafik 10">
            <a:extLst>
              <a:ext uri="{FF2B5EF4-FFF2-40B4-BE49-F238E27FC236}">
                <a16:creationId xmlns:a16="http://schemas.microsoft.com/office/drawing/2014/main" id="{51EB477E-E198-CE92-EADB-0FB30F810A2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019301" y="2531958"/>
            <a:ext cx="901571" cy="719052"/>
          </a:xfrm>
          <a:prstGeom prst="rect">
            <a:avLst/>
          </a:prstGeom>
        </p:spPr>
      </p:pic>
      <p:cxnSp>
        <p:nvCxnSpPr>
          <p:cNvPr id="44" name="Gerader Verbinder 45">
            <a:extLst>
              <a:ext uri="{FF2B5EF4-FFF2-40B4-BE49-F238E27FC236}">
                <a16:creationId xmlns:a16="http://schemas.microsoft.com/office/drawing/2014/main" id="{BDFB4B2B-1E7A-049C-E5CD-F30975161D95}"/>
              </a:ext>
            </a:extLst>
          </p:cNvPr>
          <p:cNvCxnSpPr>
            <a:cxnSpLocks/>
          </p:cNvCxnSpPr>
          <p:nvPr/>
        </p:nvCxnSpPr>
        <p:spPr>
          <a:xfrm flipV="1">
            <a:off x="2087050" y="2609984"/>
            <a:ext cx="1252697" cy="648743"/>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5" name="Gerader Verbinder 46">
            <a:extLst>
              <a:ext uri="{FF2B5EF4-FFF2-40B4-BE49-F238E27FC236}">
                <a16:creationId xmlns:a16="http://schemas.microsoft.com/office/drawing/2014/main" id="{07E3EFF4-17E9-8CE0-EFE7-1FE3B9371B2A}"/>
              </a:ext>
            </a:extLst>
          </p:cNvPr>
          <p:cNvCxnSpPr>
            <a:cxnSpLocks/>
          </p:cNvCxnSpPr>
          <p:nvPr/>
        </p:nvCxnSpPr>
        <p:spPr>
          <a:xfrm>
            <a:off x="3668598" y="2609984"/>
            <a:ext cx="1304216" cy="65840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7" name="Gerade Verbindung mit Pfeil 61">
            <a:extLst>
              <a:ext uri="{FF2B5EF4-FFF2-40B4-BE49-F238E27FC236}">
                <a16:creationId xmlns:a16="http://schemas.microsoft.com/office/drawing/2014/main" id="{65895630-3BCA-6D9E-94AB-C92D2AD2CC84}"/>
              </a:ext>
            </a:extLst>
          </p:cNvPr>
          <p:cNvCxnSpPr>
            <a:cxnSpLocks/>
            <a:stCxn id="6" idx="1"/>
            <a:endCxn id="42" idx="3"/>
          </p:cNvCxnSpPr>
          <p:nvPr/>
        </p:nvCxnSpPr>
        <p:spPr>
          <a:xfrm flipH="1">
            <a:off x="3920872" y="1442703"/>
            <a:ext cx="1143433" cy="1448781"/>
          </a:xfrm>
          <a:prstGeom prst="straightConnector1">
            <a:avLst/>
          </a:prstGeom>
          <a:noFill/>
          <a:ln w="19050" cap="flat" cmpd="sng" algn="ctr">
            <a:solidFill>
              <a:schemeClr val="accent1">
                <a:lumMod val="60000"/>
                <a:lumOff val="40000"/>
              </a:schemeClr>
            </a:solidFill>
            <a:prstDash val="solid"/>
            <a:miter lim="800000"/>
            <a:headEnd type="triangle" w="med" len="med"/>
            <a:tailEnd type="triangle" w="med" len="med"/>
          </a:ln>
          <a:effectLst/>
        </p:spPr>
      </p:cxnSp>
      <p:cxnSp>
        <p:nvCxnSpPr>
          <p:cNvPr id="59" name="Gerader Verbinder 45">
            <a:extLst>
              <a:ext uri="{FF2B5EF4-FFF2-40B4-BE49-F238E27FC236}">
                <a16:creationId xmlns:a16="http://schemas.microsoft.com/office/drawing/2014/main" id="{22AB71CD-DF57-3AD4-1765-0AB179DD5B03}"/>
              </a:ext>
            </a:extLst>
          </p:cNvPr>
          <p:cNvCxnSpPr>
            <a:cxnSpLocks/>
          </p:cNvCxnSpPr>
          <p:nvPr/>
        </p:nvCxnSpPr>
        <p:spPr>
          <a:xfrm flipV="1">
            <a:off x="183667" y="4114200"/>
            <a:ext cx="753226" cy="41703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Gerader Verbinder 46">
            <a:extLst>
              <a:ext uri="{FF2B5EF4-FFF2-40B4-BE49-F238E27FC236}">
                <a16:creationId xmlns:a16="http://schemas.microsoft.com/office/drawing/2014/main" id="{470AACEA-734C-C9C6-172E-54D58AA50BF0}"/>
              </a:ext>
            </a:extLst>
          </p:cNvPr>
          <p:cNvCxnSpPr>
            <a:cxnSpLocks/>
          </p:cNvCxnSpPr>
          <p:nvPr/>
        </p:nvCxnSpPr>
        <p:spPr>
          <a:xfrm>
            <a:off x="1185348" y="4112479"/>
            <a:ext cx="750342" cy="418752"/>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11" name="Gerade Verbindung mit Pfeil 61">
            <a:extLst>
              <a:ext uri="{FF2B5EF4-FFF2-40B4-BE49-F238E27FC236}">
                <a16:creationId xmlns:a16="http://schemas.microsoft.com/office/drawing/2014/main" id="{EC228ED6-FB30-A42D-57A5-DF0607E075C6}"/>
              </a:ext>
            </a:extLst>
          </p:cNvPr>
          <p:cNvCxnSpPr>
            <a:cxnSpLocks/>
            <a:stCxn id="85" idx="1"/>
            <a:endCxn id="7" idx="1"/>
          </p:cNvCxnSpPr>
          <p:nvPr/>
        </p:nvCxnSpPr>
        <p:spPr>
          <a:xfrm flipV="1">
            <a:off x="6434169" y="1163670"/>
            <a:ext cx="1565012" cy="1285539"/>
          </a:xfrm>
          <a:prstGeom prst="straightConnector1">
            <a:avLst/>
          </a:prstGeom>
          <a:noFill/>
          <a:ln w="19050" cap="flat" cmpd="sng" algn="ctr">
            <a:solidFill>
              <a:schemeClr val="accent1">
                <a:lumMod val="60000"/>
                <a:lumOff val="40000"/>
              </a:schemeClr>
            </a:solidFill>
            <a:prstDash val="solid"/>
            <a:miter lim="800000"/>
            <a:headEnd type="triangle" w="med" len="med"/>
            <a:tailEnd type="triangle" w="med" len="med"/>
          </a:ln>
          <a:effectLst/>
        </p:spPr>
      </p:cxnSp>
      <p:cxnSp>
        <p:nvCxnSpPr>
          <p:cNvPr id="114" name="Gerade Verbindung mit Pfeil 61">
            <a:extLst>
              <a:ext uri="{FF2B5EF4-FFF2-40B4-BE49-F238E27FC236}">
                <a16:creationId xmlns:a16="http://schemas.microsoft.com/office/drawing/2014/main" id="{E896352D-0489-3CE8-1E53-A144A7E91F18}"/>
              </a:ext>
            </a:extLst>
          </p:cNvPr>
          <p:cNvCxnSpPr>
            <a:cxnSpLocks/>
            <a:stCxn id="8" idx="3"/>
            <a:endCxn id="42" idx="1"/>
          </p:cNvCxnSpPr>
          <p:nvPr/>
        </p:nvCxnSpPr>
        <p:spPr>
          <a:xfrm flipV="1">
            <a:off x="1238295" y="2891484"/>
            <a:ext cx="1781006" cy="1811902"/>
          </a:xfrm>
          <a:prstGeom prst="straightConnector1">
            <a:avLst/>
          </a:prstGeom>
          <a:noFill/>
          <a:ln w="19050" cap="flat" cmpd="sng" algn="ctr">
            <a:solidFill>
              <a:schemeClr val="accent1">
                <a:lumMod val="60000"/>
                <a:lumOff val="40000"/>
              </a:schemeClr>
            </a:solidFill>
            <a:prstDash val="solid"/>
            <a:miter lim="800000"/>
            <a:headEnd type="triangle" w="med" len="med"/>
            <a:tailEnd type="triangle" w="med" len="med"/>
          </a:ln>
          <a:effectLst/>
        </p:spPr>
      </p:cxnSp>
      <p:grpSp>
        <p:nvGrpSpPr>
          <p:cNvPr id="37" name="Group 36">
            <a:extLst>
              <a:ext uri="{FF2B5EF4-FFF2-40B4-BE49-F238E27FC236}">
                <a16:creationId xmlns:a16="http://schemas.microsoft.com/office/drawing/2014/main" id="{AAAB7E94-70B7-84E3-73F8-547AAED904E9}"/>
              </a:ext>
            </a:extLst>
          </p:cNvPr>
          <p:cNvGrpSpPr/>
          <p:nvPr/>
        </p:nvGrpSpPr>
        <p:grpSpPr>
          <a:xfrm>
            <a:off x="324796" y="4538705"/>
            <a:ext cx="428382" cy="476738"/>
            <a:chOff x="10154341" y="4421579"/>
            <a:chExt cx="428382" cy="476738"/>
          </a:xfrm>
        </p:grpSpPr>
        <p:sp>
          <p:nvSpPr>
            <p:cNvPr id="38" name="Rectangle: Rounded Corners 37">
              <a:extLst>
                <a:ext uri="{FF2B5EF4-FFF2-40B4-BE49-F238E27FC236}">
                  <a16:creationId xmlns:a16="http://schemas.microsoft.com/office/drawing/2014/main" id="{1FC862AD-311C-2A10-AD23-68387E56F100}"/>
                </a:ext>
              </a:extLst>
            </p:cNvPr>
            <p:cNvSpPr/>
            <p:nvPr/>
          </p:nvSpPr>
          <p:spPr>
            <a:xfrm>
              <a:off x="10154342" y="4659948"/>
              <a:ext cx="428381" cy="238369"/>
            </a:xfrm>
            <a:prstGeom prst="round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800" err="1">
                  <a:solidFill>
                    <a:schemeClr val="accent1">
                      <a:lumMod val="75000"/>
                    </a:schemeClr>
                  </a:solidFill>
                </a:rPr>
                <a:t>gNB</a:t>
              </a:r>
              <a:endParaRPr lang="de-DE">
                <a:solidFill>
                  <a:schemeClr val="accent1">
                    <a:lumMod val="75000"/>
                  </a:schemeClr>
                </a:solidFill>
              </a:endParaRPr>
            </a:p>
          </p:txBody>
        </p:sp>
        <p:sp>
          <p:nvSpPr>
            <p:cNvPr id="46" name="Rectangle: Rounded Corners 45">
              <a:extLst>
                <a:ext uri="{FF2B5EF4-FFF2-40B4-BE49-F238E27FC236}">
                  <a16:creationId xmlns:a16="http://schemas.microsoft.com/office/drawing/2014/main" id="{ACDC4C8D-2AAF-9463-36CA-D2A34CAC23E3}"/>
                </a:ext>
              </a:extLst>
            </p:cNvPr>
            <p:cNvSpPr/>
            <p:nvPr/>
          </p:nvSpPr>
          <p:spPr>
            <a:xfrm>
              <a:off x="10154341" y="4421579"/>
              <a:ext cx="428381" cy="238369"/>
            </a:xfrm>
            <a:prstGeom prst="roundRect">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800">
                  <a:solidFill>
                    <a:schemeClr val="accent1">
                      <a:lumMod val="75000"/>
                    </a:schemeClr>
                  </a:solidFill>
                </a:rPr>
                <a:t>UPF</a:t>
              </a:r>
              <a:endParaRPr lang="de-DE">
                <a:solidFill>
                  <a:schemeClr val="accent1">
                    <a:lumMod val="75000"/>
                  </a:schemeClr>
                </a:solidFill>
              </a:endParaRPr>
            </a:p>
          </p:txBody>
        </p:sp>
      </p:grpSp>
      <p:sp>
        <p:nvSpPr>
          <p:cNvPr id="56" name="Rectangle: Rounded Corners 55">
            <a:extLst>
              <a:ext uri="{FF2B5EF4-FFF2-40B4-BE49-F238E27FC236}">
                <a16:creationId xmlns:a16="http://schemas.microsoft.com/office/drawing/2014/main" id="{8B5D863F-11DA-8A27-DCF2-47D06ED8B6A0}"/>
              </a:ext>
            </a:extLst>
          </p:cNvPr>
          <p:cNvSpPr/>
          <p:nvPr/>
        </p:nvSpPr>
        <p:spPr>
          <a:xfrm>
            <a:off x="6468362" y="1003865"/>
            <a:ext cx="428381" cy="238369"/>
          </a:xfrm>
          <a:prstGeom prst="roundRect">
            <a:avLst/>
          </a:prstGeom>
          <a:noFill/>
          <a:ln w="190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800">
                <a:solidFill>
                  <a:schemeClr val="accent1">
                    <a:lumMod val="75000"/>
                  </a:schemeClr>
                </a:solidFill>
              </a:rPr>
              <a:t>ISL</a:t>
            </a:r>
            <a:endParaRPr lang="de-DE">
              <a:solidFill>
                <a:schemeClr val="accent1">
                  <a:lumMod val="75000"/>
                </a:schemeClr>
              </a:solidFill>
            </a:endParaRPr>
          </a:p>
        </p:txBody>
      </p:sp>
      <p:pic>
        <p:nvPicPr>
          <p:cNvPr id="81" name="Grafik 80" descr="Ein Bild, das Kunst, Design enthält.&#10;&#10;KI-generierte Inhalte können fehlerhaft sein.">
            <a:extLst>
              <a:ext uri="{FF2B5EF4-FFF2-40B4-BE49-F238E27FC236}">
                <a16:creationId xmlns:a16="http://schemas.microsoft.com/office/drawing/2014/main" id="{44A8E8C5-B458-A187-FF33-BDAD157A7784}"/>
              </a:ext>
            </a:extLst>
          </p:cNvPr>
          <p:cNvPicPr>
            <a:picLocks noChangeAspect="1"/>
          </p:cNvPicPr>
          <p:nvPr/>
        </p:nvPicPr>
        <p:blipFill>
          <a:blip r:embed="rId12">
            <a:duotone>
              <a:srgbClr val="4472C4">
                <a:shade val="45000"/>
                <a:satMod val="135000"/>
              </a:srgbClr>
              <a:prstClr val="white"/>
            </a:duotone>
            <a:extLst>
              <a:ext uri="{28A0092B-C50C-407E-A947-70E740481C1C}">
                <a14:useLocalDpi xmlns:a14="http://schemas.microsoft.com/office/drawing/2010/main" val="0"/>
              </a:ext>
            </a:extLst>
          </a:blip>
          <a:stretch>
            <a:fillRect/>
          </a:stretch>
        </p:blipFill>
        <p:spPr>
          <a:xfrm>
            <a:off x="2171208" y="4674180"/>
            <a:ext cx="594649" cy="567169"/>
          </a:xfrm>
          <a:prstGeom prst="rect">
            <a:avLst/>
          </a:prstGeom>
        </p:spPr>
      </p:pic>
      <p:sp>
        <p:nvSpPr>
          <p:cNvPr id="76" name="Rectangle 75">
            <a:extLst>
              <a:ext uri="{FF2B5EF4-FFF2-40B4-BE49-F238E27FC236}">
                <a16:creationId xmlns:a16="http://schemas.microsoft.com/office/drawing/2014/main" id="{D05723C5-FF83-3429-FCF5-8C11F8AC670F}"/>
              </a:ext>
            </a:extLst>
          </p:cNvPr>
          <p:cNvSpPr/>
          <p:nvPr/>
        </p:nvSpPr>
        <p:spPr>
          <a:xfrm>
            <a:off x="202165" y="5347818"/>
            <a:ext cx="10640458" cy="307563"/>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err="1"/>
              <a:t>Terrestrial</a:t>
            </a:r>
            <a:r>
              <a:rPr lang="de-DE"/>
              <a:t> Core NW/Backend</a:t>
            </a:r>
          </a:p>
        </p:txBody>
      </p:sp>
      <p:pic>
        <p:nvPicPr>
          <p:cNvPr id="80" name="Graphic 79" descr="Database with solid fill">
            <a:extLst>
              <a:ext uri="{FF2B5EF4-FFF2-40B4-BE49-F238E27FC236}">
                <a16:creationId xmlns:a16="http://schemas.microsoft.com/office/drawing/2014/main" id="{85A68DDB-B3E6-7A92-E7CB-FFA5A4357EE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866875" y="5360627"/>
            <a:ext cx="289524" cy="289524"/>
          </a:xfrm>
          <a:prstGeom prst="rect">
            <a:avLst/>
          </a:prstGeom>
        </p:spPr>
      </p:pic>
      <p:pic>
        <p:nvPicPr>
          <p:cNvPr id="82" name="Graphic 81" descr="Database with solid fill">
            <a:extLst>
              <a:ext uri="{FF2B5EF4-FFF2-40B4-BE49-F238E27FC236}">
                <a16:creationId xmlns:a16="http://schemas.microsoft.com/office/drawing/2014/main" id="{C119E6A7-3ADF-4BD0-CC5B-40ED4ADBD17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879182" y="5360627"/>
            <a:ext cx="289524" cy="289524"/>
          </a:xfrm>
          <a:prstGeom prst="rect">
            <a:avLst/>
          </a:prstGeom>
        </p:spPr>
      </p:pic>
      <p:cxnSp>
        <p:nvCxnSpPr>
          <p:cNvPr id="5" name="Gerade Verbindung mit Pfeil 61">
            <a:extLst>
              <a:ext uri="{FF2B5EF4-FFF2-40B4-BE49-F238E27FC236}">
                <a16:creationId xmlns:a16="http://schemas.microsoft.com/office/drawing/2014/main" id="{E93AF955-4C6C-1232-85A0-2FDB3629338F}"/>
              </a:ext>
            </a:extLst>
          </p:cNvPr>
          <p:cNvCxnSpPr>
            <a:cxnSpLocks/>
            <a:stCxn id="82" idx="1"/>
          </p:cNvCxnSpPr>
          <p:nvPr/>
        </p:nvCxnSpPr>
        <p:spPr>
          <a:xfrm flipH="1" flipV="1">
            <a:off x="1031604" y="5241349"/>
            <a:ext cx="2847578" cy="264040"/>
          </a:xfrm>
          <a:prstGeom prst="straightConnector1">
            <a:avLst/>
          </a:prstGeom>
          <a:noFill/>
          <a:ln w="19050" cap="flat" cmpd="sng" algn="ctr">
            <a:solidFill>
              <a:srgbClr val="FF7C80"/>
            </a:solidFill>
            <a:prstDash val="solid"/>
            <a:miter lim="800000"/>
            <a:headEnd type="triangle" w="med" len="med"/>
            <a:tailEnd type="triangle" w="med" len="med"/>
          </a:ln>
          <a:effectLst/>
        </p:spPr>
      </p:cxnSp>
      <p:pic>
        <p:nvPicPr>
          <p:cNvPr id="74" name="Picture 2" descr="Drone icon PNG and SVG Vector Free Download">
            <a:extLst>
              <a:ext uri="{FF2B5EF4-FFF2-40B4-BE49-F238E27FC236}">
                <a16:creationId xmlns:a16="http://schemas.microsoft.com/office/drawing/2014/main" id="{0BEA8172-D0DE-772B-74F2-CFAE5D94D894}"/>
              </a:ext>
            </a:extLst>
          </p:cNvPr>
          <p:cNvPicPr>
            <a:picLocks noChangeAspect="1" noChangeArrowheads="1"/>
          </p:cNvPicPr>
          <p:nvPr/>
        </p:nvPicPr>
        <p:blipFill>
          <a:blip r:embed="rId15">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175874" y="3339682"/>
            <a:ext cx="565685" cy="330064"/>
          </a:xfrm>
          <a:prstGeom prst="rect">
            <a:avLst/>
          </a:prstGeom>
          <a:noFill/>
          <a:extLst>
            <a:ext uri="{909E8E84-426E-40DD-AFC4-6F175D3DCCD1}">
              <a14:hiddenFill xmlns:a14="http://schemas.microsoft.com/office/drawing/2010/main">
                <a:solidFill>
                  <a:srgbClr val="FFFFFF"/>
                </a:solidFill>
              </a14:hiddenFill>
            </a:ext>
          </a:extLst>
        </p:spPr>
      </p:pic>
      <p:cxnSp>
        <p:nvCxnSpPr>
          <p:cNvPr id="75" name="Gerader Verbinder 45">
            <a:extLst>
              <a:ext uri="{FF2B5EF4-FFF2-40B4-BE49-F238E27FC236}">
                <a16:creationId xmlns:a16="http://schemas.microsoft.com/office/drawing/2014/main" id="{AD3D2F11-4F31-648F-C5E9-E8688B78E082}"/>
              </a:ext>
            </a:extLst>
          </p:cNvPr>
          <p:cNvCxnSpPr>
            <a:cxnSpLocks/>
          </p:cNvCxnSpPr>
          <p:nvPr/>
        </p:nvCxnSpPr>
        <p:spPr>
          <a:xfrm flipV="1">
            <a:off x="6370397" y="3225442"/>
            <a:ext cx="916701" cy="61289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77" name="Gerader Verbinder 46">
            <a:extLst>
              <a:ext uri="{FF2B5EF4-FFF2-40B4-BE49-F238E27FC236}">
                <a16:creationId xmlns:a16="http://schemas.microsoft.com/office/drawing/2014/main" id="{F8190FB3-279B-9C73-1589-41F70AAA3363}"/>
              </a:ext>
            </a:extLst>
          </p:cNvPr>
          <p:cNvCxnSpPr>
            <a:cxnSpLocks/>
          </p:cNvCxnSpPr>
          <p:nvPr/>
        </p:nvCxnSpPr>
        <p:spPr>
          <a:xfrm>
            <a:off x="7615949" y="3225442"/>
            <a:ext cx="981324" cy="616092"/>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78" name="Gerader Verbinder 45">
            <a:extLst>
              <a:ext uri="{FF2B5EF4-FFF2-40B4-BE49-F238E27FC236}">
                <a16:creationId xmlns:a16="http://schemas.microsoft.com/office/drawing/2014/main" id="{FAC5D0F6-BACF-6293-E249-18D0DE150E40}"/>
              </a:ext>
            </a:extLst>
          </p:cNvPr>
          <p:cNvCxnSpPr>
            <a:cxnSpLocks/>
          </p:cNvCxnSpPr>
          <p:nvPr/>
        </p:nvCxnSpPr>
        <p:spPr>
          <a:xfrm flipV="1">
            <a:off x="4520292" y="2176439"/>
            <a:ext cx="1252697" cy="648743"/>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79" name="Gerader Verbinder 46">
            <a:extLst>
              <a:ext uri="{FF2B5EF4-FFF2-40B4-BE49-F238E27FC236}">
                <a16:creationId xmlns:a16="http://schemas.microsoft.com/office/drawing/2014/main" id="{E33AC563-0FB9-0B57-45C3-361F1695E64E}"/>
              </a:ext>
            </a:extLst>
          </p:cNvPr>
          <p:cNvCxnSpPr>
            <a:cxnSpLocks/>
          </p:cNvCxnSpPr>
          <p:nvPr/>
        </p:nvCxnSpPr>
        <p:spPr>
          <a:xfrm>
            <a:off x="6101840" y="2176439"/>
            <a:ext cx="1304216" cy="65840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pic>
        <p:nvPicPr>
          <p:cNvPr id="85" name="Picture 4">
            <a:extLst>
              <a:ext uri="{FF2B5EF4-FFF2-40B4-BE49-F238E27FC236}">
                <a16:creationId xmlns:a16="http://schemas.microsoft.com/office/drawing/2014/main" id="{CCCB3419-D9B4-9543-C37D-71F04500BA2B}"/>
              </a:ext>
            </a:extLst>
          </p:cNvPr>
          <p:cNvPicPr>
            <a:picLocks noChangeAspect="1" noChangeArrowheads="1"/>
          </p:cNvPicPr>
          <p:nvPr/>
        </p:nvPicPr>
        <p:blipFill rotWithShape="1">
          <a:blip r:embed="rId16">
            <a:duotone>
              <a:srgbClr val="4472C4">
                <a:shade val="45000"/>
                <a:satMod val="135000"/>
              </a:srgbClr>
              <a:prstClr val="white"/>
            </a:duotone>
            <a:extLst>
              <a:ext uri="{28A0092B-C50C-407E-A947-70E740481C1C}">
                <a14:useLocalDpi xmlns:a14="http://schemas.microsoft.com/office/drawing/2010/main" val="0"/>
              </a:ext>
            </a:extLst>
          </a:blip>
          <a:srcRect t="31226" b="28496"/>
          <a:stretch/>
        </p:blipFill>
        <p:spPr bwMode="auto">
          <a:xfrm flipH="1">
            <a:off x="5559553" y="2283603"/>
            <a:ext cx="874616" cy="331212"/>
          </a:xfrm>
          <a:prstGeom prst="rect">
            <a:avLst/>
          </a:prstGeom>
          <a:noFill/>
          <a:extLst>
            <a:ext uri="{909E8E84-426E-40DD-AFC4-6F175D3DCCD1}">
              <a14:hiddenFill xmlns:a14="http://schemas.microsoft.com/office/drawing/2010/main">
                <a:solidFill>
                  <a:srgbClr val="FFFFFF"/>
                </a:solidFill>
              </a14:hiddenFill>
            </a:ext>
          </a:extLst>
        </p:spPr>
      </p:pic>
      <p:cxnSp>
        <p:nvCxnSpPr>
          <p:cNvPr id="86" name="Gerade Verbindung mit Pfeil 61">
            <a:extLst>
              <a:ext uri="{FF2B5EF4-FFF2-40B4-BE49-F238E27FC236}">
                <a16:creationId xmlns:a16="http://schemas.microsoft.com/office/drawing/2014/main" id="{DC8DD379-3479-1379-5CB6-5EB43D679152}"/>
              </a:ext>
            </a:extLst>
          </p:cNvPr>
          <p:cNvCxnSpPr>
            <a:cxnSpLocks/>
            <a:stCxn id="74" idx="1"/>
            <a:endCxn id="85" idx="1"/>
          </p:cNvCxnSpPr>
          <p:nvPr/>
        </p:nvCxnSpPr>
        <p:spPr>
          <a:xfrm flipH="1" flipV="1">
            <a:off x="6434169" y="2449209"/>
            <a:ext cx="741705" cy="1055505"/>
          </a:xfrm>
          <a:prstGeom prst="straightConnector1">
            <a:avLst/>
          </a:prstGeom>
          <a:noFill/>
          <a:ln w="19050" cap="flat" cmpd="sng" algn="ctr">
            <a:solidFill>
              <a:schemeClr val="accent1">
                <a:lumMod val="60000"/>
                <a:lumOff val="40000"/>
              </a:schemeClr>
            </a:solidFill>
            <a:prstDash val="solid"/>
            <a:miter lim="800000"/>
            <a:headEnd type="triangle" w="med" len="med"/>
            <a:tailEnd type="triangle" w="med" len="med"/>
          </a:ln>
          <a:effectLst/>
        </p:spPr>
      </p:cxnSp>
      <p:sp>
        <p:nvSpPr>
          <p:cNvPr id="90" name="Textfeld 79">
            <a:extLst>
              <a:ext uri="{FF2B5EF4-FFF2-40B4-BE49-F238E27FC236}">
                <a16:creationId xmlns:a16="http://schemas.microsoft.com/office/drawing/2014/main" id="{91B72D5E-F569-858E-B84F-13441ABECAF0}"/>
              </a:ext>
            </a:extLst>
          </p:cNvPr>
          <p:cNvSpPr txBox="1"/>
          <p:nvPr/>
        </p:nvSpPr>
        <p:spPr>
          <a:xfrm>
            <a:off x="5611699" y="1946134"/>
            <a:ext cx="774571" cy="230832"/>
          </a:xfrm>
          <a:prstGeom prst="rect">
            <a:avLst/>
          </a:prstGeom>
          <a:noFill/>
        </p:spPr>
        <p:txBody>
          <a:bodyPr wrap="none" rtlCol="0">
            <a:spAutoFit/>
          </a:bodyPr>
          <a:lstStyle/>
          <a:p>
            <a:pPr>
              <a:defRPr/>
            </a:pPr>
            <a:r>
              <a:rPr lang="en-US" sz="900" kern="0">
                <a:solidFill>
                  <a:schemeClr val="accent1">
                    <a:lumMod val="75000"/>
                  </a:schemeClr>
                </a:solidFill>
              </a:rPr>
              <a:t>Aircraft-NTN</a:t>
            </a:r>
          </a:p>
        </p:txBody>
      </p:sp>
      <p:sp>
        <p:nvSpPr>
          <p:cNvPr id="91" name="Textfeld 79">
            <a:extLst>
              <a:ext uri="{FF2B5EF4-FFF2-40B4-BE49-F238E27FC236}">
                <a16:creationId xmlns:a16="http://schemas.microsoft.com/office/drawing/2014/main" id="{496FD099-34AB-E2BF-D470-A5BD4B9DA8C1}"/>
              </a:ext>
            </a:extLst>
          </p:cNvPr>
          <p:cNvSpPr txBox="1"/>
          <p:nvPr/>
        </p:nvSpPr>
        <p:spPr>
          <a:xfrm>
            <a:off x="7093595" y="3019853"/>
            <a:ext cx="713657" cy="230832"/>
          </a:xfrm>
          <a:prstGeom prst="rect">
            <a:avLst/>
          </a:prstGeom>
          <a:noFill/>
        </p:spPr>
        <p:txBody>
          <a:bodyPr wrap="none" lIns="91440" tIns="45720" rIns="91440" bIns="45720" rtlCol="0" anchor="t">
            <a:spAutoFit/>
          </a:bodyPr>
          <a:lstStyle/>
          <a:p>
            <a:pPr>
              <a:defRPr/>
            </a:pPr>
            <a:r>
              <a:rPr lang="en-US" sz="900" kern="0">
                <a:solidFill>
                  <a:schemeClr val="accent1">
                    <a:lumMod val="75000"/>
                  </a:schemeClr>
                </a:solidFill>
              </a:rPr>
              <a:t>Drone-NTN</a:t>
            </a:r>
          </a:p>
        </p:txBody>
      </p:sp>
      <p:sp>
        <p:nvSpPr>
          <p:cNvPr id="92" name="Textfeld 79">
            <a:extLst>
              <a:ext uri="{FF2B5EF4-FFF2-40B4-BE49-F238E27FC236}">
                <a16:creationId xmlns:a16="http://schemas.microsoft.com/office/drawing/2014/main" id="{CB1DF9B2-B4B1-059E-035C-4C3D27BAFC4D}"/>
              </a:ext>
            </a:extLst>
          </p:cNvPr>
          <p:cNvSpPr txBox="1"/>
          <p:nvPr/>
        </p:nvSpPr>
        <p:spPr>
          <a:xfrm>
            <a:off x="3158840" y="2381969"/>
            <a:ext cx="622286" cy="230832"/>
          </a:xfrm>
          <a:prstGeom prst="rect">
            <a:avLst/>
          </a:prstGeom>
          <a:noFill/>
        </p:spPr>
        <p:txBody>
          <a:bodyPr wrap="none" lIns="91440" tIns="45720" rIns="91440" bIns="45720" rtlCol="0" anchor="t">
            <a:spAutoFit/>
          </a:bodyPr>
          <a:lstStyle/>
          <a:p>
            <a:pPr>
              <a:defRPr/>
            </a:pPr>
            <a:r>
              <a:rPr lang="en-US" sz="900" kern="0">
                <a:solidFill>
                  <a:schemeClr val="accent1">
                    <a:lumMod val="75000"/>
                  </a:schemeClr>
                </a:solidFill>
              </a:rPr>
              <a:t>HAP-NTN</a:t>
            </a:r>
            <a:endParaRPr lang="de-DE"/>
          </a:p>
        </p:txBody>
      </p:sp>
      <p:sp>
        <p:nvSpPr>
          <p:cNvPr id="96" name="Textfeld 79">
            <a:extLst>
              <a:ext uri="{FF2B5EF4-FFF2-40B4-BE49-F238E27FC236}">
                <a16:creationId xmlns:a16="http://schemas.microsoft.com/office/drawing/2014/main" id="{35971D50-61AF-2698-D541-728C45D66A41}"/>
              </a:ext>
            </a:extLst>
          </p:cNvPr>
          <p:cNvSpPr txBox="1"/>
          <p:nvPr/>
        </p:nvSpPr>
        <p:spPr>
          <a:xfrm>
            <a:off x="563207" y="3890360"/>
            <a:ext cx="1004195" cy="230832"/>
          </a:xfrm>
          <a:prstGeom prst="rect">
            <a:avLst/>
          </a:prstGeom>
          <a:noFill/>
        </p:spPr>
        <p:txBody>
          <a:bodyPr wrap="square" rtlCol="0">
            <a:spAutoFit/>
          </a:bodyPr>
          <a:lstStyle/>
          <a:p>
            <a:pPr>
              <a:defRPr/>
            </a:pPr>
            <a:r>
              <a:rPr lang="en-US" sz="900" kern="0">
                <a:solidFill>
                  <a:schemeClr val="accent1">
                    <a:lumMod val="75000"/>
                  </a:schemeClr>
                </a:solidFill>
              </a:rPr>
              <a:t>Base Station-TN</a:t>
            </a:r>
          </a:p>
        </p:txBody>
      </p:sp>
      <p:sp>
        <p:nvSpPr>
          <p:cNvPr id="97" name="Textfeld 79">
            <a:extLst>
              <a:ext uri="{FF2B5EF4-FFF2-40B4-BE49-F238E27FC236}">
                <a16:creationId xmlns:a16="http://schemas.microsoft.com/office/drawing/2014/main" id="{C7EB1156-75AD-DFE9-19D0-9F711F355822}"/>
              </a:ext>
            </a:extLst>
          </p:cNvPr>
          <p:cNvSpPr txBox="1"/>
          <p:nvPr/>
        </p:nvSpPr>
        <p:spPr>
          <a:xfrm>
            <a:off x="9439855" y="3768316"/>
            <a:ext cx="1004195" cy="230832"/>
          </a:xfrm>
          <a:prstGeom prst="rect">
            <a:avLst/>
          </a:prstGeom>
          <a:noFill/>
        </p:spPr>
        <p:txBody>
          <a:bodyPr wrap="square" rtlCol="0">
            <a:spAutoFit/>
          </a:bodyPr>
          <a:lstStyle/>
          <a:p>
            <a:pPr>
              <a:defRPr/>
            </a:pPr>
            <a:r>
              <a:rPr lang="en-US" sz="900" kern="0">
                <a:solidFill>
                  <a:schemeClr val="accent1">
                    <a:lumMod val="75000"/>
                  </a:schemeClr>
                </a:solidFill>
              </a:rPr>
              <a:t>Base Station-TN</a:t>
            </a:r>
          </a:p>
        </p:txBody>
      </p:sp>
      <p:sp>
        <p:nvSpPr>
          <p:cNvPr id="98" name="Textfeld 79">
            <a:extLst>
              <a:ext uri="{FF2B5EF4-FFF2-40B4-BE49-F238E27FC236}">
                <a16:creationId xmlns:a16="http://schemas.microsoft.com/office/drawing/2014/main" id="{E5D76F97-AB84-6286-4D0E-4C885C574157}"/>
              </a:ext>
            </a:extLst>
          </p:cNvPr>
          <p:cNvSpPr txBox="1"/>
          <p:nvPr/>
        </p:nvSpPr>
        <p:spPr>
          <a:xfrm>
            <a:off x="7868882" y="644617"/>
            <a:ext cx="805029" cy="230832"/>
          </a:xfrm>
          <a:prstGeom prst="rect">
            <a:avLst/>
          </a:prstGeom>
          <a:noFill/>
        </p:spPr>
        <p:txBody>
          <a:bodyPr wrap="none" rtlCol="0">
            <a:spAutoFit/>
          </a:bodyPr>
          <a:lstStyle/>
          <a:p>
            <a:pPr>
              <a:defRPr/>
            </a:pPr>
            <a:r>
              <a:rPr lang="en-US" sz="900" kern="0">
                <a:solidFill>
                  <a:schemeClr val="accent1">
                    <a:lumMod val="75000"/>
                  </a:schemeClr>
                </a:solidFill>
              </a:rPr>
              <a:t>Satellite-NTN</a:t>
            </a:r>
          </a:p>
        </p:txBody>
      </p:sp>
      <p:sp>
        <p:nvSpPr>
          <p:cNvPr id="99" name="Textfeld 79">
            <a:extLst>
              <a:ext uri="{FF2B5EF4-FFF2-40B4-BE49-F238E27FC236}">
                <a16:creationId xmlns:a16="http://schemas.microsoft.com/office/drawing/2014/main" id="{D1122937-D709-56F5-C464-2B6984FF51BF}"/>
              </a:ext>
            </a:extLst>
          </p:cNvPr>
          <p:cNvSpPr txBox="1"/>
          <p:nvPr/>
        </p:nvSpPr>
        <p:spPr>
          <a:xfrm>
            <a:off x="4963409" y="929602"/>
            <a:ext cx="805029" cy="230832"/>
          </a:xfrm>
          <a:prstGeom prst="rect">
            <a:avLst/>
          </a:prstGeom>
          <a:noFill/>
        </p:spPr>
        <p:txBody>
          <a:bodyPr wrap="none" rtlCol="0">
            <a:spAutoFit/>
          </a:bodyPr>
          <a:lstStyle/>
          <a:p>
            <a:pPr>
              <a:defRPr/>
            </a:pPr>
            <a:r>
              <a:rPr lang="en-US" sz="900" kern="0">
                <a:solidFill>
                  <a:schemeClr val="accent1">
                    <a:lumMod val="75000"/>
                  </a:schemeClr>
                </a:solidFill>
              </a:rPr>
              <a:t>Satellite-NTN</a:t>
            </a:r>
          </a:p>
        </p:txBody>
      </p:sp>
      <p:sp>
        <p:nvSpPr>
          <p:cNvPr id="100" name="Textfeld 79">
            <a:extLst>
              <a:ext uri="{FF2B5EF4-FFF2-40B4-BE49-F238E27FC236}">
                <a16:creationId xmlns:a16="http://schemas.microsoft.com/office/drawing/2014/main" id="{7444AFD7-112D-53B1-89CF-E057F944C2FB}"/>
              </a:ext>
            </a:extLst>
          </p:cNvPr>
          <p:cNvSpPr txBox="1"/>
          <p:nvPr/>
        </p:nvSpPr>
        <p:spPr>
          <a:xfrm>
            <a:off x="2622612" y="4418823"/>
            <a:ext cx="769591" cy="369332"/>
          </a:xfrm>
          <a:prstGeom prst="rect">
            <a:avLst/>
          </a:prstGeom>
          <a:noFill/>
        </p:spPr>
        <p:txBody>
          <a:bodyPr wrap="square" rtlCol="0">
            <a:spAutoFit/>
          </a:bodyPr>
          <a:lstStyle/>
          <a:p>
            <a:pPr>
              <a:defRPr/>
            </a:pPr>
            <a:r>
              <a:rPr lang="en-US" sz="900" kern="0">
                <a:solidFill>
                  <a:schemeClr val="accent1">
                    <a:lumMod val="75000"/>
                  </a:schemeClr>
                </a:solidFill>
              </a:rPr>
              <a:t>Ground Station-TN</a:t>
            </a:r>
          </a:p>
        </p:txBody>
      </p:sp>
      <p:cxnSp>
        <p:nvCxnSpPr>
          <p:cNvPr id="101" name="Gerade Verbindung mit Pfeil 61">
            <a:extLst>
              <a:ext uri="{FF2B5EF4-FFF2-40B4-BE49-F238E27FC236}">
                <a16:creationId xmlns:a16="http://schemas.microsoft.com/office/drawing/2014/main" id="{ECD89574-49B3-ADB9-8190-CA1CF6F5D1C2}"/>
              </a:ext>
            </a:extLst>
          </p:cNvPr>
          <p:cNvCxnSpPr>
            <a:cxnSpLocks/>
            <a:stCxn id="8" idx="3"/>
            <a:endCxn id="16" idx="1"/>
          </p:cNvCxnSpPr>
          <p:nvPr/>
        </p:nvCxnSpPr>
        <p:spPr>
          <a:xfrm>
            <a:off x="1238295" y="4703386"/>
            <a:ext cx="195989" cy="173558"/>
          </a:xfrm>
          <a:prstGeom prst="straightConnector1">
            <a:avLst/>
          </a:prstGeom>
          <a:noFill/>
          <a:ln w="19050" cap="flat" cmpd="sng" algn="ctr">
            <a:solidFill>
              <a:srgbClr val="C00000"/>
            </a:solidFill>
            <a:prstDash val="solid"/>
            <a:miter lim="800000"/>
            <a:headEnd type="triangle" w="med" len="med"/>
            <a:tailEnd type="triangle" w="med" len="med"/>
          </a:ln>
          <a:effectLst/>
        </p:spPr>
      </p:cxnSp>
      <p:cxnSp>
        <p:nvCxnSpPr>
          <p:cNvPr id="110" name="Gerader Verbinder 46">
            <a:extLst>
              <a:ext uri="{FF2B5EF4-FFF2-40B4-BE49-F238E27FC236}">
                <a16:creationId xmlns:a16="http://schemas.microsoft.com/office/drawing/2014/main" id="{1595F64D-51EB-5CE7-EFE6-09C00E8D2C8B}"/>
              </a:ext>
            </a:extLst>
          </p:cNvPr>
          <p:cNvCxnSpPr>
            <a:cxnSpLocks/>
          </p:cNvCxnSpPr>
          <p:nvPr/>
        </p:nvCxnSpPr>
        <p:spPr>
          <a:xfrm>
            <a:off x="10077481" y="4019441"/>
            <a:ext cx="765142" cy="511790"/>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66" name="Rechteck: abgerundete Ecken 65">
            <a:extLst>
              <a:ext uri="{FF2B5EF4-FFF2-40B4-BE49-F238E27FC236}">
                <a16:creationId xmlns:a16="http://schemas.microsoft.com/office/drawing/2014/main" id="{0F196312-AF04-4BE4-9B5B-B047E120B863}"/>
              </a:ext>
            </a:extLst>
          </p:cNvPr>
          <p:cNvSpPr/>
          <p:nvPr/>
        </p:nvSpPr>
        <p:spPr>
          <a:xfrm>
            <a:off x="497307" y="1142444"/>
            <a:ext cx="2267576" cy="720000"/>
          </a:xfrm>
          <a:prstGeom prst="round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a:solidFill>
                  <a:schemeClr val="tx1"/>
                </a:solidFill>
              </a:rPr>
              <a:t>User is again served by terrestrial network</a:t>
            </a:r>
          </a:p>
        </p:txBody>
      </p:sp>
    </p:spTree>
    <p:extLst>
      <p:ext uri="{BB962C8B-B14F-4D97-AF65-F5344CB8AC3E}">
        <p14:creationId xmlns:p14="http://schemas.microsoft.com/office/powerpoint/2010/main" val="1590415788"/>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49378-4BBD-4E19-A796-55B9A214AC6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81C4984-FAC7-09FC-7D38-4D8B1E9099FB}"/>
              </a:ext>
            </a:extLst>
          </p:cNvPr>
          <p:cNvSpPr>
            <a:spLocks noGrp="1"/>
          </p:cNvSpPr>
          <p:nvPr>
            <p:ph type="title"/>
          </p:nvPr>
        </p:nvSpPr>
        <p:spPr/>
        <p:txBody>
          <a:bodyPr/>
          <a:lstStyle/>
          <a:p>
            <a:r>
              <a:rPr lang="en-US" noProof="0">
                <a:ea typeface="Microsoft YaHei"/>
                <a:cs typeface="Arial"/>
              </a:rPr>
              <a:t>3D Networks: Threads</a:t>
            </a:r>
            <a:endParaRPr lang="en-US"/>
          </a:p>
        </p:txBody>
      </p:sp>
      <p:pic>
        <p:nvPicPr>
          <p:cNvPr id="8" name="Inhaltsplatzhalter 11">
            <a:extLst>
              <a:ext uri="{FF2B5EF4-FFF2-40B4-BE49-F238E27FC236}">
                <a16:creationId xmlns:a16="http://schemas.microsoft.com/office/drawing/2014/main" id="{7CE26DE5-6654-8782-D2C6-F9596EF0004C}"/>
              </a:ext>
            </a:extLst>
          </p:cNvPr>
          <p:cNvPicPr>
            <a:picLocks noChangeAspect="1"/>
          </p:cNvPicPr>
          <p:nvPr/>
        </p:nvPicPr>
        <p:blipFill rotWithShape="1">
          <a:blip r:embed="rId3">
            <a:duotone>
              <a:srgbClr val="4472C4">
                <a:shade val="45000"/>
                <a:satMod val="135000"/>
              </a:srgbClr>
              <a:prstClr val="white"/>
            </a:duotone>
            <a:extLst>
              <a:ext uri="{28A0092B-C50C-407E-A947-70E740481C1C}">
                <a14:useLocalDpi xmlns:a14="http://schemas.microsoft.com/office/drawing/2010/main" val="0"/>
              </a:ext>
            </a:extLst>
          </a:blip>
          <a:srcRect l="9403" t="2699" r="54756" b="8802"/>
          <a:stretch/>
        </p:blipFill>
        <p:spPr>
          <a:xfrm>
            <a:off x="824913" y="4118476"/>
            <a:ext cx="413382" cy="1169819"/>
          </a:xfrm>
          <a:prstGeom prst="rect">
            <a:avLst/>
          </a:prstGeom>
        </p:spPr>
      </p:pic>
      <p:pic>
        <p:nvPicPr>
          <p:cNvPr id="14" name="Inhaltsplatzhalter 11">
            <a:extLst>
              <a:ext uri="{FF2B5EF4-FFF2-40B4-BE49-F238E27FC236}">
                <a16:creationId xmlns:a16="http://schemas.microsoft.com/office/drawing/2014/main" id="{7920AF94-812B-BA63-8F3D-C733F75F0095}"/>
              </a:ext>
            </a:extLst>
          </p:cNvPr>
          <p:cNvPicPr>
            <a:picLocks noChangeAspect="1"/>
          </p:cNvPicPr>
          <p:nvPr/>
        </p:nvPicPr>
        <p:blipFill rotWithShape="1">
          <a:blip r:embed="rId3">
            <a:duotone>
              <a:srgbClr val="4472C4">
                <a:shade val="45000"/>
                <a:satMod val="135000"/>
              </a:srgbClr>
              <a:prstClr val="white"/>
            </a:duotone>
            <a:extLst>
              <a:ext uri="{28A0092B-C50C-407E-A947-70E740481C1C}">
                <a14:useLocalDpi xmlns:a14="http://schemas.microsoft.com/office/drawing/2010/main" val="0"/>
              </a:ext>
            </a:extLst>
          </a:blip>
          <a:srcRect l="9403" t="2699" r="54756" b="8802"/>
          <a:stretch/>
        </p:blipFill>
        <p:spPr>
          <a:xfrm>
            <a:off x="9696855" y="4005776"/>
            <a:ext cx="413382" cy="1169819"/>
          </a:xfrm>
          <a:prstGeom prst="rect">
            <a:avLst/>
          </a:prstGeom>
        </p:spPr>
      </p:pic>
      <p:sp>
        <p:nvSpPr>
          <p:cNvPr id="15" name="Textfeld 79">
            <a:extLst>
              <a:ext uri="{FF2B5EF4-FFF2-40B4-BE49-F238E27FC236}">
                <a16:creationId xmlns:a16="http://schemas.microsoft.com/office/drawing/2014/main" id="{1A8793FE-1F72-2B22-9A3D-20C2841AA3D5}"/>
              </a:ext>
            </a:extLst>
          </p:cNvPr>
          <p:cNvSpPr txBox="1"/>
          <p:nvPr/>
        </p:nvSpPr>
        <p:spPr>
          <a:xfrm>
            <a:off x="9477788" y="5092508"/>
            <a:ext cx="851515" cy="253916"/>
          </a:xfrm>
          <a:prstGeom prst="rect">
            <a:avLst/>
          </a:prstGeom>
          <a:noFill/>
        </p:spPr>
        <p:txBody>
          <a:bodyPr wrap="none" rtlCol="0">
            <a:spAutoFit/>
          </a:bodyPr>
          <a:lstStyle/>
          <a:p>
            <a:pPr>
              <a:defRPr/>
            </a:pPr>
            <a:r>
              <a:rPr lang="en-US" sz="1050" kern="0">
                <a:solidFill>
                  <a:schemeClr val="accent1">
                    <a:lumMod val="75000"/>
                  </a:schemeClr>
                </a:solidFill>
              </a:rPr>
              <a:t>Base station</a:t>
            </a:r>
          </a:p>
        </p:txBody>
      </p:sp>
      <p:grpSp>
        <p:nvGrpSpPr>
          <p:cNvPr id="21" name="Group 20">
            <a:extLst>
              <a:ext uri="{FF2B5EF4-FFF2-40B4-BE49-F238E27FC236}">
                <a16:creationId xmlns:a16="http://schemas.microsoft.com/office/drawing/2014/main" id="{0219B000-F2CC-110B-DCDA-C66C64C919F6}"/>
              </a:ext>
            </a:extLst>
          </p:cNvPr>
          <p:cNvGrpSpPr/>
          <p:nvPr/>
        </p:nvGrpSpPr>
        <p:grpSpPr>
          <a:xfrm>
            <a:off x="1429738" y="4586410"/>
            <a:ext cx="363940" cy="581068"/>
            <a:chOff x="8397385" y="4381221"/>
            <a:chExt cx="363940" cy="581068"/>
          </a:xfrm>
        </p:grpSpPr>
        <p:pic>
          <p:nvPicPr>
            <p:cNvPr id="9" name="Grafik 72">
              <a:extLst>
                <a:ext uri="{FF2B5EF4-FFF2-40B4-BE49-F238E27FC236}">
                  <a16:creationId xmlns:a16="http://schemas.microsoft.com/office/drawing/2014/main" id="{A4B23EB9-02FD-83B0-3774-204F2AC0435C}"/>
                </a:ext>
              </a:extLst>
            </p:cNvPr>
            <p:cNvPicPr>
              <a:picLocks noChangeAspect="1"/>
            </p:cNvPicPr>
            <p:nvPr/>
          </p:nvPicPr>
          <p:blipFill rotWithShape="1">
            <a:blip r:embed="rId4" cstate="print">
              <a:duotone>
                <a:srgbClr val="4472C4">
                  <a:shade val="45000"/>
                  <a:satMod val="135000"/>
                </a:srgbClr>
                <a:prstClr val="white"/>
              </a:duotone>
              <a:extLst>
                <a:ext uri="{28A0092B-C50C-407E-A947-70E740481C1C}">
                  <a14:useLocalDpi xmlns:a14="http://schemas.microsoft.com/office/drawing/2010/main" val="0"/>
                </a:ext>
              </a:extLst>
            </a:blip>
            <a:srcRect l="28161" r="29513"/>
            <a:stretch/>
          </p:blipFill>
          <p:spPr>
            <a:xfrm>
              <a:off x="8397385" y="4381221"/>
              <a:ext cx="363940" cy="581068"/>
            </a:xfrm>
            <a:prstGeom prst="rect">
              <a:avLst/>
            </a:prstGeom>
          </p:spPr>
        </p:pic>
        <p:sp>
          <p:nvSpPr>
            <p:cNvPr id="16" name="TextBox 15">
              <a:extLst>
                <a:ext uri="{FF2B5EF4-FFF2-40B4-BE49-F238E27FC236}">
                  <a16:creationId xmlns:a16="http://schemas.microsoft.com/office/drawing/2014/main" id="{DF40BD96-C367-0562-C496-2A5EF53A01D7}"/>
                </a:ext>
              </a:extLst>
            </p:cNvPr>
            <p:cNvSpPr txBox="1"/>
            <p:nvPr/>
          </p:nvSpPr>
          <p:spPr>
            <a:xfrm>
              <a:off x="8401931" y="4533255"/>
              <a:ext cx="359394" cy="276999"/>
            </a:xfrm>
            <a:prstGeom prst="rect">
              <a:avLst/>
            </a:prstGeom>
            <a:noFill/>
          </p:spPr>
          <p:txBody>
            <a:bodyPr wrap="none" rtlCol="0">
              <a:spAutoFit/>
            </a:bodyPr>
            <a:lstStyle/>
            <a:p>
              <a:r>
                <a:rPr lang="de-DE" sz="1200">
                  <a:solidFill>
                    <a:schemeClr val="accent1">
                      <a:lumMod val="75000"/>
                    </a:schemeClr>
                  </a:solidFill>
                </a:rPr>
                <a:t>UE</a:t>
              </a:r>
              <a:endParaRPr lang="de-DE" sz="1400">
                <a:solidFill>
                  <a:schemeClr val="accent1">
                    <a:lumMod val="75000"/>
                  </a:schemeClr>
                </a:solidFill>
              </a:endParaRPr>
            </a:p>
          </p:txBody>
        </p:sp>
      </p:grpSp>
      <p:sp>
        <p:nvSpPr>
          <p:cNvPr id="22" name="Textfeld 79">
            <a:extLst>
              <a:ext uri="{FF2B5EF4-FFF2-40B4-BE49-F238E27FC236}">
                <a16:creationId xmlns:a16="http://schemas.microsoft.com/office/drawing/2014/main" id="{027E985E-FB15-170D-59F3-B4A15ABEF684}"/>
              </a:ext>
            </a:extLst>
          </p:cNvPr>
          <p:cNvSpPr txBox="1"/>
          <p:nvPr/>
        </p:nvSpPr>
        <p:spPr>
          <a:xfrm>
            <a:off x="9497782" y="3808090"/>
            <a:ext cx="870751" cy="230832"/>
          </a:xfrm>
          <a:prstGeom prst="rect">
            <a:avLst/>
          </a:prstGeom>
          <a:noFill/>
        </p:spPr>
        <p:txBody>
          <a:bodyPr wrap="none" rtlCol="0">
            <a:spAutoFit/>
          </a:bodyPr>
          <a:lstStyle/>
          <a:p>
            <a:pPr>
              <a:defRPr/>
            </a:pPr>
            <a:r>
              <a:rPr lang="en-US" sz="900" kern="0">
                <a:solidFill>
                  <a:schemeClr val="accent1">
                    <a:lumMod val="75000"/>
                  </a:schemeClr>
                </a:solidFill>
              </a:rPr>
              <a:t>Terrestrial NW</a:t>
            </a:r>
          </a:p>
        </p:txBody>
      </p:sp>
      <p:pic>
        <p:nvPicPr>
          <p:cNvPr id="27" name="Grafik 29">
            <a:extLst>
              <a:ext uri="{FF2B5EF4-FFF2-40B4-BE49-F238E27FC236}">
                <a16:creationId xmlns:a16="http://schemas.microsoft.com/office/drawing/2014/main" id="{242098AB-F9C8-C93E-06F4-06ED8406B5D9}"/>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7999054" y="4427861"/>
            <a:ext cx="272343" cy="574347"/>
          </a:xfrm>
          <a:prstGeom prst="rect">
            <a:avLst/>
          </a:prstGeom>
        </p:spPr>
      </p:pic>
      <p:pic>
        <p:nvPicPr>
          <p:cNvPr id="28" name="Grafik 30">
            <a:extLst>
              <a:ext uri="{FF2B5EF4-FFF2-40B4-BE49-F238E27FC236}">
                <a16:creationId xmlns:a16="http://schemas.microsoft.com/office/drawing/2014/main" id="{0B556771-D41C-8DFF-6572-E9DC33F759A2}"/>
              </a:ext>
            </a:extLst>
          </p:cNvPr>
          <p:cNvPicPr>
            <a:picLocks noChangeAspect="1"/>
          </p:cNvPicPr>
          <p:nvPr/>
        </p:nvPicPr>
        <p:blipFill>
          <a:blip r:embed="rId6">
            <a:clrChange>
              <a:clrFrom>
                <a:srgbClr val="FFFFFA"/>
              </a:clrFrom>
              <a:clrTo>
                <a:srgbClr val="FFFFFA">
                  <a:alpha val="0"/>
                </a:srgbClr>
              </a:clrTo>
            </a:clrChange>
          </a:blip>
          <a:stretch>
            <a:fillRect/>
          </a:stretch>
        </p:blipFill>
        <p:spPr>
          <a:xfrm>
            <a:off x="6780863" y="4013391"/>
            <a:ext cx="303582" cy="783758"/>
          </a:xfrm>
          <a:prstGeom prst="rect">
            <a:avLst/>
          </a:prstGeom>
        </p:spPr>
      </p:pic>
      <p:pic>
        <p:nvPicPr>
          <p:cNvPr id="29" name="Grafik 31">
            <a:extLst>
              <a:ext uri="{FF2B5EF4-FFF2-40B4-BE49-F238E27FC236}">
                <a16:creationId xmlns:a16="http://schemas.microsoft.com/office/drawing/2014/main" id="{C93D4E2C-6D1A-BD70-2D1B-CABE21F489A3}"/>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7255472" y="3913185"/>
            <a:ext cx="417071" cy="852147"/>
          </a:xfrm>
          <a:prstGeom prst="rect">
            <a:avLst/>
          </a:prstGeom>
        </p:spPr>
      </p:pic>
      <p:pic>
        <p:nvPicPr>
          <p:cNvPr id="30" name="Grafik 32">
            <a:extLst>
              <a:ext uri="{FF2B5EF4-FFF2-40B4-BE49-F238E27FC236}">
                <a16:creationId xmlns:a16="http://schemas.microsoft.com/office/drawing/2014/main" id="{296DE9E4-86C9-5108-953F-6220DBBF75F2}"/>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7033369" y="4285937"/>
            <a:ext cx="304132" cy="582960"/>
          </a:xfrm>
          <a:prstGeom prst="rect">
            <a:avLst/>
          </a:prstGeom>
        </p:spPr>
      </p:pic>
      <p:pic>
        <p:nvPicPr>
          <p:cNvPr id="31" name="Grafik 34">
            <a:extLst>
              <a:ext uri="{FF2B5EF4-FFF2-40B4-BE49-F238E27FC236}">
                <a16:creationId xmlns:a16="http://schemas.microsoft.com/office/drawing/2014/main" id="{3FE2858A-52D9-9559-2B1C-8B42E1D9F2F2}"/>
              </a:ext>
            </a:extLst>
          </p:cNvPr>
          <p:cNvPicPr>
            <a:picLocks noChangeAspect="1"/>
          </p:cNvPicPr>
          <p:nvPr/>
        </p:nvPicPr>
        <p:blipFill>
          <a:blip r:embed="rId6">
            <a:clrChange>
              <a:clrFrom>
                <a:srgbClr val="FFFFFA"/>
              </a:clrFrom>
              <a:clrTo>
                <a:srgbClr val="FFFFFA">
                  <a:alpha val="0"/>
                </a:srgbClr>
              </a:clrTo>
            </a:clrChange>
          </a:blip>
          <a:stretch>
            <a:fillRect/>
          </a:stretch>
        </p:blipFill>
        <p:spPr>
          <a:xfrm>
            <a:off x="7601164" y="3874159"/>
            <a:ext cx="303582" cy="783758"/>
          </a:xfrm>
          <a:prstGeom prst="rect">
            <a:avLst/>
          </a:prstGeom>
        </p:spPr>
      </p:pic>
      <p:pic>
        <p:nvPicPr>
          <p:cNvPr id="32" name="Grafik 35">
            <a:extLst>
              <a:ext uri="{FF2B5EF4-FFF2-40B4-BE49-F238E27FC236}">
                <a16:creationId xmlns:a16="http://schemas.microsoft.com/office/drawing/2014/main" id="{77055429-9602-3ECC-809B-4AB054F04270}"/>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8440782" y="4725422"/>
            <a:ext cx="523687" cy="395966"/>
          </a:xfrm>
          <a:prstGeom prst="rect">
            <a:avLst/>
          </a:prstGeom>
        </p:spPr>
      </p:pic>
      <p:pic>
        <p:nvPicPr>
          <p:cNvPr id="33" name="Grafik 63">
            <a:extLst>
              <a:ext uri="{FF2B5EF4-FFF2-40B4-BE49-F238E27FC236}">
                <a16:creationId xmlns:a16="http://schemas.microsoft.com/office/drawing/2014/main" id="{ACB35EA4-C98D-14A0-10B6-AF1F21B9B330}"/>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7820601" y="4369271"/>
            <a:ext cx="219249" cy="447962"/>
          </a:xfrm>
          <a:prstGeom prst="rect">
            <a:avLst/>
          </a:prstGeom>
        </p:spPr>
      </p:pic>
      <p:pic>
        <p:nvPicPr>
          <p:cNvPr id="34" name="Inhaltsplatzhalter 11">
            <a:extLst>
              <a:ext uri="{FF2B5EF4-FFF2-40B4-BE49-F238E27FC236}">
                <a16:creationId xmlns:a16="http://schemas.microsoft.com/office/drawing/2014/main" id="{BFE04C7C-FCD1-D830-CB6D-56C148035042}"/>
              </a:ext>
            </a:extLst>
          </p:cNvPr>
          <p:cNvPicPr>
            <a:picLocks noChangeAspect="1"/>
          </p:cNvPicPr>
          <p:nvPr/>
        </p:nvPicPr>
        <p:blipFill rotWithShape="1">
          <a:blip r:embed="rId3">
            <a:duotone>
              <a:srgbClr val="4472C4">
                <a:shade val="45000"/>
                <a:satMod val="135000"/>
              </a:srgbClr>
              <a:prstClr val="white"/>
            </a:duotone>
            <a:extLst>
              <a:ext uri="{28A0092B-C50C-407E-A947-70E740481C1C}">
                <a14:useLocalDpi xmlns:a14="http://schemas.microsoft.com/office/drawing/2010/main" val="0"/>
              </a:ext>
            </a:extLst>
          </a:blip>
          <a:srcRect l="9403" t="2699" r="54756" b="8802"/>
          <a:stretch/>
        </p:blipFill>
        <p:spPr>
          <a:xfrm>
            <a:off x="9703117" y="4001501"/>
            <a:ext cx="413382" cy="1169819"/>
          </a:xfrm>
          <a:prstGeom prst="rect">
            <a:avLst/>
          </a:prstGeom>
        </p:spPr>
      </p:pic>
      <p:sp>
        <p:nvSpPr>
          <p:cNvPr id="35" name="Textfeld 79">
            <a:extLst>
              <a:ext uri="{FF2B5EF4-FFF2-40B4-BE49-F238E27FC236}">
                <a16:creationId xmlns:a16="http://schemas.microsoft.com/office/drawing/2014/main" id="{75C7141F-0219-C0F8-C9DD-CBAED9DBA48B}"/>
              </a:ext>
            </a:extLst>
          </p:cNvPr>
          <p:cNvSpPr txBox="1"/>
          <p:nvPr/>
        </p:nvSpPr>
        <p:spPr>
          <a:xfrm>
            <a:off x="9477788" y="5092508"/>
            <a:ext cx="851515" cy="253916"/>
          </a:xfrm>
          <a:prstGeom prst="rect">
            <a:avLst/>
          </a:prstGeom>
          <a:noFill/>
        </p:spPr>
        <p:txBody>
          <a:bodyPr wrap="none" rtlCol="0">
            <a:spAutoFit/>
          </a:bodyPr>
          <a:lstStyle/>
          <a:p>
            <a:pPr>
              <a:defRPr/>
            </a:pPr>
            <a:r>
              <a:rPr lang="en-US" sz="1050" kern="0">
                <a:solidFill>
                  <a:schemeClr val="accent1">
                    <a:lumMod val="75000"/>
                  </a:schemeClr>
                </a:solidFill>
              </a:rPr>
              <a:t>Base station</a:t>
            </a:r>
          </a:p>
        </p:txBody>
      </p:sp>
      <p:cxnSp>
        <p:nvCxnSpPr>
          <p:cNvPr id="39" name="Gerader Verbinder 45">
            <a:extLst>
              <a:ext uri="{FF2B5EF4-FFF2-40B4-BE49-F238E27FC236}">
                <a16:creationId xmlns:a16="http://schemas.microsoft.com/office/drawing/2014/main" id="{04E40122-A88C-7BC8-D611-A69D4FC25BFC}"/>
              </a:ext>
            </a:extLst>
          </p:cNvPr>
          <p:cNvCxnSpPr>
            <a:cxnSpLocks/>
          </p:cNvCxnSpPr>
          <p:nvPr/>
        </p:nvCxnSpPr>
        <p:spPr>
          <a:xfrm flipV="1">
            <a:off x="8392678" y="4006371"/>
            <a:ext cx="1404057" cy="71905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0" name="Gerader Verbinder 46">
            <a:extLst>
              <a:ext uri="{FF2B5EF4-FFF2-40B4-BE49-F238E27FC236}">
                <a16:creationId xmlns:a16="http://schemas.microsoft.com/office/drawing/2014/main" id="{6FAF52C2-F764-60C7-D921-78DC97D2BD5A}"/>
              </a:ext>
            </a:extLst>
          </p:cNvPr>
          <p:cNvCxnSpPr>
            <a:cxnSpLocks/>
          </p:cNvCxnSpPr>
          <p:nvPr/>
        </p:nvCxnSpPr>
        <p:spPr>
          <a:xfrm>
            <a:off x="10086104" y="4001501"/>
            <a:ext cx="756519" cy="529730"/>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41" name="Freihandform: Form 25">
            <a:extLst>
              <a:ext uri="{FF2B5EF4-FFF2-40B4-BE49-F238E27FC236}">
                <a16:creationId xmlns:a16="http://schemas.microsoft.com/office/drawing/2014/main" id="{31E6E41A-4CB3-ED39-63D1-63CEEB1C472D}"/>
              </a:ext>
            </a:extLst>
          </p:cNvPr>
          <p:cNvSpPr/>
          <p:nvPr/>
        </p:nvSpPr>
        <p:spPr>
          <a:xfrm>
            <a:off x="5426493" y="3991947"/>
            <a:ext cx="5434628" cy="1453919"/>
          </a:xfrm>
          <a:custGeom>
            <a:avLst/>
            <a:gdLst>
              <a:gd name="connsiteX0" fmla="*/ 354439 w 6305329"/>
              <a:gd name="connsiteY0" fmla="*/ 1307886 h 1602253"/>
              <a:gd name="connsiteX1" fmla="*/ 685179 w 6305329"/>
              <a:gd name="connsiteY1" fmla="*/ 1230065 h 1602253"/>
              <a:gd name="connsiteX2" fmla="*/ 1054830 w 6305329"/>
              <a:gd name="connsiteY2" fmla="*/ 481035 h 1602253"/>
              <a:gd name="connsiteX3" fmla="*/ 1278566 w 6305329"/>
              <a:gd name="connsiteY3" fmla="*/ 4380 h 1602253"/>
              <a:gd name="connsiteX4" fmla="*/ 1570396 w 6305329"/>
              <a:gd name="connsiteY4" fmla="*/ 753409 h 1602253"/>
              <a:gd name="connsiteX5" fmla="*/ 2134600 w 6305329"/>
              <a:gd name="connsiteY5" fmla="*/ 918780 h 1602253"/>
              <a:gd name="connsiteX6" fmla="*/ 2562617 w 6305329"/>
              <a:gd name="connsiteY6" fmla="*/ 665860 h 1602253"/>
              <a:gd name="connsiteX7" fmla="*/ 3019817 w 6305329"/>
              <a:gd name="connsiteY7" fmla="*/ 977146 h 1602253"/>
              <a:gd name="connsiteX8" fmla="*/ 3807758 w 6305329"/>
              <a:gd name="connsiteY8" fmla="*/ 1220337 h 1602253"/>
              <a:gd name="connsiteX9" fmla="*/ 5850566 w 6305329"/>
              <a:gd name="connsiteY9" fmla="*/ 1278703 h 1602253"/>
              <a:gd name="connsiteX10" fmla="*/ 5801928 w 6305329"/>
              <a:gd name="connsiteY10" fmla="*/ 1580260 h 1602253"/>
              <a:gd name="connsiteX11" fmla="*/ 432260 w 6305329"/>
              <a:gd name="connsiteY11" fmla="*/ 1551077 h 1602253"/>
              <a:gd name="connsiteX12" fmla="*/ 354439 w 6305329"/>
              <a:gd name="connsiteY12" fmla="*/ 1307886 h 160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5329" h="1602253">
                <a:moveTo>
                  <a:pt x="354439" y="1307886"/>
                </a:moveTo>
                <a:cubicBezTo>
                  <a:pt x="396592" y="1254384"/>
                  <a:pt x="568447" y="1367874"/>
                  <a:pt x="685179" y="1230065"/>
                </a:cubicBezTo>
                <a:cubicBezTo>
                  <a:pt x="801911" y="1092256"/>
                  <a:pt x="955932" y="685316"/>
                  <a:pt x="1054830" y="481035"/>
                </a:cubicBezTo>
                <a:cubicBezTo>
                  <a:pt x="1153728" y="276754"/>
                  <a:pt x="1192638" y="-41016"/>
                  <a:pt x="1278566" y="4380"/>
                </a:cubicBezTo>
                <a:cubicBezTo>
                  <a:pt x="1364494" y="49776"/>
                  <a:pt x="1427724" y="601009"/>
                  <a:pt x="1570396" y="753409"/>
                </a:cubicBezTo>
                <a:cubicBezTo>
                  <a:pt x="1713068" y="905809"/>
                  <a:pt x="1969230" y="933371"/>
                  <a:pt x="2134600" y="918780"/>
                </a:cubicBezTo>
                <a:cubicBezTo>
                  <a:pt x="2299970" y="904189"/>
                  <a:pt x="2415081" y="656132"/>
                  <a:pt x="2562617" y="665860"/>
                </a:cubicBezTo>
                <a:cubicBezTo>
                  <a:pt x="2710153" y="675588"/>
                  <a:pt x="2812294" y="884733"/>
                  <a:pt x="3019817" y="977146"/>
                </a:cubicBezTo>
                <a:cubicBezTo>
                  <a:pt x="3227341" y="1069559"/>
                  <a:pt x="3335967" y="1170078"/>
                  <a:pt x="3807758" y="1220337"/>
                </a:cubicBezTo>
                <a:cubicBezTo>
                  <a:pt x="4279549" y="1270596"/>
                  <a:pt x="5518204" y="1218716"/>
                  <a:pt x="5850566" y="1278703"/>
                </a:cubicBezTo>
                <a:cubicBezTo>
                  <a:pt x="6182928" y="1338690"/>
                  <a:pt x="6704979" y="1534864"/>
                  <a:pt x="5801928" y="1580260"/>
                </a:cubicBezTo>
                <a:cubicBezTo>
                  <a:pt x="4898877" y="1625656"/>
                  <a:pt x="1333690" y="1593230"/>
                  <a:pt x="432260" y="1551077"/>
                </a:cubicBezTo>
                <a:cubicBezTo>
                  <a:pt x="-469170" y="1508924"/>
                  <a:pt x="312286" y="1361388"/>
                  <a:pt x="354439" y="1307886"/>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3"/>
          </a:p>
        </p:txBody>
      </p:sp>
      <p:pic>
        <p:nvPicPr>
          <p:cNvPr id="7" name="Graphic 6" descr="Satellite outline">
            <a:extLst>
              <a:ext uri="{FF2B5EF4-FFF2-40B4-BE49-F238E27FC236}">
                <a16:creationId xmlns:a16="http://schemas.microsoft.com/office/drawing/2014/main" id="{51E50A48-4587-A7B8-FB54-010A76DE7C0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999181" y="856579"/>
            <a:ext cx="614182" cy="614182"/>
          </a:xfrm>
          <a:prstGeom prst="rect">
            <a:avLst/>
          </a:prstGeom>
        </p:spPr>
      </p:pic>
      <p:sp>
        <p:nvSpPr>
          <p:cNvPr id="19" name="Textfeld 79">
            <a:extLst>
              <a:ext uri="{FF2B5EF4-FFF2-40B4-BE49-F238E27FC236}">
                <a16:creationId xmlns:a16="http://schemas.microsoft.com/office/drawing/2014/main" id="{9C2FF030-89D7-0E85-B295-D25EC50962EC}"/>
              </a:ext>
            </a:extLst>
          </p:cNvPr>
          <p:cNvSpPr txBox="1"/>
          <p:nvPr/>
        </p:nvSpPr>
        <p:spPr>
          <a:xfrm>
            <a:off x="7760289" y="672742"/>
            <a:ext cx="1091966" cy="230832"/>
          </a:xfrm>
          <a:prstGeom prst="rect">
            <a:avLst/>
          </a:prstGeom>
          <a:noFill/>
        </p:spPr>
        <p:txBody>
          <a:bodyPr wrap="none" rtlCol="0">
            <a:spAutoFit/>
          </a:bodyPr>
          <a:lstStyle/>
          <a:p>
            <a:pPr>
              <a:defRPr/>
            </a:pPr>
            <a:r>
              <a:rPr lang="en-US" sz="900" kern="0">
                <a:solidFill>
                  <a:schemeClr val="accent1">
                    <a:lumMod val="75000"/>
                  </a:schemeClr>
                </a:solidFill>
              </a:rPr>
              <a:t>Non-Terrestrial NW</a:t>
            </a:r>
          </a:p>
        </p:txBody>
      </p:sp>
      <p:cxnSp>
        <p:nvCxnSpPr>
          <p:cNvPr id="20" name="Gerader Verbinder 45">
            <a:extLst>
              <a:ext uri="{FF2B5EF4-FFF2-40B4-BE49-F238E27FC236}">
                <a16:creationId xmlns:a16="http://schemas.microsoft.com/office/drawing/2014/main" id="{F173BF52-99F3-ECE2-B3E9-E9FB7157138B}"/>
              </a:ext>
            </a:extLst>
          </p:cNvPr>
          <p:cNvCxnSpPr>
            <a:cxnSpLocks/>
          </p:cNvCxnSpPr>
          <p:nvPr/>
        </p:nvCxnSpPr>
        <p:spPr>
          <a:xfrm flipV="1">
            <a:off x="6707874" y="878164"/>
            <a:ext cx="1404057" cy="71905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3" name="Gerader Verbinder 46">
            <a:extLst>
              <a:ext uri="{FF2B5EF4-FFF2-40B4-BE49-F238E27FC236}">
                <a16:creationId xmlns:a16="http://schemas.microsoft.com/office/drawing/2014/main" id="{69C8111E-615F-E464-D64A-86C1A4600310}"/>
              </a:ext>
            </a:extLst>
          </p:cNvPr>
          <p:cNvCxnSpPr>
            <a:cxnSpLocks/>
          </p:cNvCxnSpPr>
          <p:nvPr/>
        </p:nvCxnSpPr>
        <p:spPr>
          <a:xfrm>
            <a:off x="8440782" y="878164"/>
            <a:ext cx="1415565" cy="74232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pic>
        <p:nvPicPr>
          <p:cNvPr id="6" name="Graphic 5" descr="Satellite outline">
            <a:extLst>
              <a:ext uri="{FF2B5EF4-FFF2-40B4-BE49-F238E27FC236}">
                <a16:creationId xmlns:a16="http://schemas.microsoft.com/office/drawing/2014/main" id="{45CA2112-461C-102E-58BE-AAA1FDFC16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064305" y="1135612"/>
            <a:ext cx="614182" cy="614182"/>
          </a:xfrm>
          <a:prstGeom prst="rect">
            <a:avLst/>
          </a:prstGeom>
        </p:spPr>
      </p:pic>
      <p:sp>
        <p:nvSpPr>
          <p:cNvPr id="10" name="Textfeld 79">
            <a:extLst>
              <a:ext uri="{FF2B5EF4-FFF2-40B4-BE49-F238E27FC236}">
                <a16:creationId xmlns:a16="http://schemas.microsoft.com/office/drawing/2014/main" id="{2023122E-9705-43E2-E8E4-5D98E38CF088}"/>
              </a:ext>
            </a:extLst>
          </p:cNvPr>
          <p:cNvSpPr txBox="1"/>
          <p:nvPr/>
        </p:nvSpPr>
        <p:spPr>
          <a:xfrm>
            <a:off x="4825413" y="951775"/>
            <a:ext cx="1091966" cy="230832"/>
          </a:xfrm>
          <a:prstGeom prst="rect">
            <a:avLst/>
          </a:prstGeom>
          <a:noFill/>
        </p:spPr>
        <p:txBody>
          <a:bodyPr wrap="none" rtlCol="0">
            <a:spAutoFit/>
          </a:bodyPr>
          <a:lstStyle/>
          <a:p>
            <a:pPr>
              <a:defRPr/>
            </a:pPr>
            <a:r>
              <a:rPr lang="en-US" sz="900" kern="0">
                <a:solidFill>
                  <a:schemeClr val="accent1">
                    <a:lumMod val="75000"/>
                  </a:schemeClr>
                </a:solidFill>
              </a:rPr>
              <a:t>Non-Terrestrial NW</a:t>
            </a:r>
          </a:p>
        </p:txBody>
      </p:sp>
      <p:cxnSp>
        <p:nvCxnSpPr>
          <p:cNvPr id="12" name="Gerader Verbinder 45">
            <a:extLst>
              <a:ext uri="{FF2B5EF4-FFF2-40B4-BE49-F238E27FC236}">
                <a16:creationId xmlns:a16="http://schemas.microsoft.com/office/drawing/2014/main" id="{3DDB1AEC-64BE-83F5-30BE-42D418B4ABF5}"/>
              </a:ext>
            </a:extLst>
          </p:cNvPr>
          <p:cNvCxnSpPr>
            <a:cxnSpLocks/>
          </p:cNvCxnSpPr>
          <p:nvPr/>
        </p:nvCxnSpPr>
        <p:spPr>
          <a:xfrm flipV="1">
            <a:off x="3772998" y="1157197"/>
            <a:ext cx="1404057" cy="71905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3" name="Gerader Verbinder 46">
            <a:extLst>
              <a:ext uri="{FF2B5EF4-FFF2-40B4-BE49-F238E27FC236}">
                <a16:creationId xmlns:a16="http://schemas.microsoft.com/office/drawing/2014/main" id="{6356F8A7-65C5-1E10-6294-B67B679F8DC6}"/>
              </a:ext>
            </a:extLst>
          </p:cNvPr>
          <p:cNvCxnSpPr>
            <a:cxnSpLocks/>
          </p:cNvCxnSpPr>
          <p:nvPr/>
        </p:nvCxnSpPr>
        <p:spPr>
          <a:xfrm>
            <a:off x="5505906" y="1157197"/>
            <a:ext cx="1400183" cy="725524"/>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pic>
        <p:nvPicPr>
          <p:cNvPr id="50" name="Grafik 30">
            <a:extLst>
              <a:ext uri="{FF2B5EF4-FFF2-40B4-BE49-F238E27FC236}">
                <a16:creationId xmlns:a16="http://schemas.microsoft.com/office/drawing/2014/main" id="{0AA08DCE-10D1-4693-759E-30B5F3E8A94C}"/>
              </a:ext>
            </a:extLst>
          </p:cNvPr>
          <p:cNvPicPr>
            <a:picLocks noChangeAspect="1"/>
          </p:cNvPicPr>
          <p:nvPr/>
        </p:nvPicPr>
        <p:blipFill>
          <a:blip r:embed="rId6">
            <a:clrChange>
              <a:clrFrom>
                <a:srgbClr val="FFFFFA"/>
              </a:clrFrom>
              <a:clrTo>
                <a:srgbClr val="FFFFFA">
                  <a:alpha val="0"/>
                </a:srgbClr>
              </a:clrTo>
            </a:clrChange>
          </a:blip>
          <a:stretch>
            <a:fillRect/>
          </a:stretch>
        </p:blipFill>
        <p:spPr>
          <a:xfrm>
            <a:off x="5275242" y="4013391"/>
            <a:ext cx="303582" cy="783758"/>
          </a:xfrm>
          <a:prstGeom prst="rect">
            <a:avLst/>
          </a:prstGeom>
        </p:spPr>
      </p:pic>
      <p:pic>
        <p:nvPicPr>
          <p:cNvPr id="51" name="Grafik 31">
            <a:extLst>
              <a:ext uri="{FF2B5EF4-FFF2-40B4-BE49-F238E27FC236}">
                <a16:creationId xmlns:a16="http://schemas.microsoft.com/office/drawing/2014/main" id="{D48CCC97-7939-EE65-A05F-DC34EFB7AFEB}"/>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5749851" y="3913185"/>
            <a:ext cx="417071" cy="852147"/>
          </a:xfrm>
          <a:prstGeom prst="rect">
            <a:avLst/>
          </a:prstGeom>
        </p:spPr>
      </p:pic>
      <p:pic>
        <p:nvPicPr>
          <p:cNvPr id="52" name="Grafik 32">
            <a:extLst>
              <a:ext uri="{FF2B5EF4-FFF2-40B4-BE49-F238E27FC236}">
                <a16:creationId xmlns:a16="http://schemas.microsoft.com/office/drawing/2014/main" id="{D315B608-F777-F851-1C5B-D759C1B76962}"/>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5527748" y="4285937"/>
            <a:ext cx="304132" cy="582960"/>
          </a:xfrm>
          <a:prstGeom prst="rect">
            <a:avLst/>
          </a:prstGeom>
        </p:spPr>
      </p:pic>
      <p:sp>
        <p:nvSpPr>
          <p:cNvPr id="55" name="Freihandform: Form 25">
            <a:extLst>
              <a:ext uri="{FF2B5EF4-FFF2-40B4-BE49-F238E27FC236}">
                <a16:creationId xmlns:a16="http://schemas.microsoft.com/office/drawing/2014/main" id="{BB02576D-6C3D-1385-DE5D-60EC644CC42E}"/>
              </a:ext>
            </a:extLst>
          </p:cNvPr>
          <p:cNvSpPr/>
          <p:nvPr/>
        </p:nvSpPr>
        <p:spPr>
          <a:xfrm>
            <a:off x="3920872" y="3991947"/>
            <a:ext cx="5434628" cy="1453919"/>
          </a:xfrm>
          <a:custGeom>
            <a:avLst/>
            <a:gdLst>
              <a:gd name="connsiteX0" fmla="*/ 354439 w 6305329"/>
              <a:gd name="connsiteY0" fmla="*/ 1307886 h 1602253"/>
              <a:gd name="connsiteX1" fmla="*/ 685179 w 6305329"/>
              <a:gd name="connsiteY1" fmla="*/ 1230065 h 1602253"/>
              <a:gd name="connsiteX2" fmla="*/ 1054830 w 6305329"/>
              <a:gd name="connsiteY2" fmla="*/ 481035 h 1602253"/>
              <a:gd name="connsiteX3" fmla="*/ 1278566 w 6305329"/>
              <a:gd name="connsiteY3" fmla="*/ 4380 h 1602253"/>
              <a:gd name="connsiteX4" fmla="*/ 1570396 w 6305329"/>
              <a:gd name="connsiteY4" fmla="*/ 753409 h 1602253"/>
              <a:gd name="connsiteX5" fmla="*/ 2134600 w 6305329"/>
              <a:gd name="connsiteY5" fmla="*/ 918780 h 1602253"/>
              <a:gd name="connsiteX6" fmla="*/ 2562617 w 6305329"/>
              <a:gd name="connsiteY6" fmla="*/ 665860 h 1602253"/>
              <a:gd name="connsiteX7" fmla="*/ 3019817 w 6305329"/>
              <a:gd name="connsiteY7" fmla="*/ 977146 h 1602253"/>
              <a:gd name="connsiteX8" fmla="*/ 3807758 w 6305329"/>
              <a:gd name="connsiteY8" fmla="*/ 1220337 h 1602253"/>
              <a:gd name="connsiteX9" fmla="*/ 5850566 w 6305329"/>
              <a:gd name="connsiteY9" fmla="*/ 1278703 h 1602253"/>
              <a:gd name="connsiteX10" fmla="*/ 5801928 w 6305329"/>
              <a:gd name="connsiteY10" fmla="*/ 1580260 h 1602253"/>
              <a:gd name="connsiteX11" fmla="*/ 432260 w 6305329"/>
              <a:gd name="connsiteY11" fmla="*/ 1551077 h 1602253"/>
              <a:gd name="connsiteX12" fmla="*/ 354439 w 6305329"/>
              <a:gd name="connsiteY12" fmla="*/ 1307886 h 160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5329" h="1602253">
                <a:moveTo>
                  <a:pt x="354439" y="1307886"/>
                </a:moveTo>
                <a:cubicBezTo>
                  <a:pt x="396592" y="1254384"/>
                  <a:pt x="568447" y="1367874"/>
                  <a:pt x="685179" y="1230065"/>
                </a:cubicBezTo>
                <a:cubicBezTo>
                  <a:pt x="801911" y="1092256"/>
                  <a:pt x="955932" y="685316"/>
                  <a:pt x="1054830" y="481035"/>
                </a:cubicBezTo>
                <a:cubicBezTo>
                  <a:pt x="1153728" y="276754"/>
                  <a:pt x="1192638" y="-41016"/>
                  <a:pt x="1278566" y="4380"/>
                </a:cubicBezTo>
                <a:cubicBezTo>
                  <a:pt x="1364494" y="49776"/>
                  <a:pt x="1427724" y="601009"/>
                  <a:pt x="1570396" y="753409"/>
                </a:cubicBezTo>
                <a:cubicBezTo>
                  <a:pt x="1713068" y="905809"/>
                  <a:pt x="1969230" y="933371"/>
                  <a:pt x="2134600" y="918780"/>
                </a:cubicBezTo>
                <a:cubicBezTo>
                  <a:pt x="2299970" y="904189"/>
                  <a:pt x="2415081" y="656132"/>
                  <a:pt x="2562617" y="665860"/>
                </a:cubicBezTo>
                <a:cubicBezTo>
                  <a:pt x="2710153" y="675588"/>
                  <a:pt x="2812294" y="884733"/>
                  <a:pt x="3019817" y="977146"/>
                </a:cubicBezTo>
                <a:cubicBezTo>
                  <a:pt x="3227341" y="1069559"/>
                  <a:pt x="3335967" y="1170078"/>
                  <a:pt x="3807758" y="1220337"/>
                </a:cubicBezTo>
                <a:cubicBezTo>
                  <a:pt x="4279549" y="1270596"/>
                  <a:pt x="5518204" y="1218716"/>
                  <a:pt x="5850566" y="1278703"/>
                </a:cubicBezTo>
                <a:cubicBezTo>
                  <a:pt x="6182928" y="1338690"/>
                  <a:pt x="6704979" y="1534864"/>
                  <a:pt x="5801928" y="1580260"/>
                </a:cubicBezTo>
                <a:cubicBezTo>
                  <a:pt x="4898877" y="1625656"/>
                  <a:pt x="1333690" y="1593230"/>
                  <a:pt x="432260" y="1551077"/>
                </a:cubicBezTo>
                <a:cubicBezTo>
                  <a:pt x="-469170" y="1508924"/>
                  <a:pt x="312286" y="1361388"/>
                  <a:pt x="354439" y="1307886"/>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3"/>
          </a:p>
        </p:txBody>
      </p:sp>
      <p:cxnSp>
        <p:nvCxnSpPr>
          <p:cNvPr id="57" name="Gerade Verbindung mit Pfeil 61">
            <a:extLst>
              <a:ext uri="{FF2B5EF4-FFF2-40B4-BE49-F238E27FC236}">
                <a16:creationId xmlns:a16="http://schemas.microsoft.com/office/drawing/2014/main" id="{5AB55FE5-367C-223C-7D12-7FB1E48298BC}"/>
              </a:ext>
            </a:extLst>
          </p:cNvPr>
          <p:cNvCxnSpPr>
            <a:cxnSpLocks/>
            <a:stCxn id="7" idx="1"/>
            <a:endCxn id="6" idx="3"/>
          </p:cNvCxnSpPr>
          <p:nvPr/>
        </p:nvCxnSpPr>
        <p:spPr>
          <a:xfrm flipH="1">
            <a:off x="5678487" y="1163670"/>
            <a:ext cx="2320694" cy="279033"/>
          </a:xfrm>
          <a:prstGeom prst="straightConnector1">
            <a:avLst/>
          </a:prstGeom>
          <a:noFill/>
          <a:ln w="19050" cap="flat" cmpd="sng" algn="ctr">
            <a:solidFill>
              <a:schemeClr val="accent1">
                <a:lumMod val="60000"/>
                <a:lumOff val="40000"/>
              </a:schemeClr>
            </a:solidFill>
            <a:prstDash val="solid"/>
            <a:miter lim="800000"/>
            <a:headEnd type="triangle" w="med" len="med"/>
            <a:tailEnd type="triangle" w="med" len="med"/>
          </a:ln>
          <a:effectLst/>
        </p:spPr>
      </p:cxnSp>
      <p:sp>
        <p:nvSpPr>
          <p:cNvPr id="64" name="Freihandform: Form 25">
            <a:extLst>
              <a:ext uri="{FF2B5EF4-FFF2-40B4-BE49-F238E27FC236}">
                <a16:creationId xmlns:a16="http://schemas.microsoft.com/office/drawing/2014/main" id="{F71F8F62-DC2F-3FB7-7092-B9B0069953BF}"/>
              </a:ext>
            </a:extLst>
          </p:cNvPr>
          <p:cNvSpPr/>
          <p:nvPr/>
        </p:nvSpPr>
        <p:spPr>
          <a:xfrm flipH="1">
            <a:off x="202165" y="4466837"/>
            <a:ext cx="5476321" cy="985544"/>
          </a:xfrm>
          <a:custGeom>
            <a:avLst/>
            <a:gdLst>
              <a:gd name="connsiteX0" fmla="*/ 354439 w 6305329"/>
              <a:gd name="connsiteY0" fmla="*/ 1307886 h 1602253"/>
              <a:gd name="connsiteX1" fmla="*/ 685179 w 6305329"/>
              <a:gd name="connsiteY1" fmla="*/ 1230065 h 1602253"/>
              <a:gd name="connsiteX2" fmla="*/ 1054830 w 6305329"/>
              <a:gd name="connsiteY2" fmla="*/ 481035 h 1602253"/>
              <a:gd name="connsiteX3" fmla="*/ 1278566 w 6305329"/>
              <a:gd name="connsiteY3" fmla="*/ 4380 h 1602253"/>
              <a:gd name="connsiteX4" fmla="*/ 1570396 w 6305329"/>
              <a:gd name="connsiteY4" fmla="*/ 753409 h 1602253"/>
              <a:gd name="connsiteX5" fmla="*/ 2134600 w 6305329"/>
              <a:gd name="connsiteY5" fmla="*/ 918780 h 1602253"/>
              <a:gd name="connsiteX6" fmla="*/ 2562617 w 6305329"/>
              <a:gd name="connsiteY6" fmla="*/ 665860 h 1602253"/>
              <a:gd name="connsiteX7" fmla="*/ 3019817 w 6305329"/>
              <a:gd name="connsiteY7" fmla="*/ 977146 h 1602253"/>
              <a:gd name="connsiteX8" fmla="*/ 3807758 w 6305329"/>
              <a:gd name="connsiteY8" fmla="*/ 1220337 h 1602253"/>
              <a:gd name="connsiteX9" fmla="*/ 5850566 w 6305329"/>
              <a:gd name="connsiteY9" fmla="*/ 1278703 h 1602253"/>
              <a:gd name="connsiteX10" fmla="*/ 5801928 w 6305329"/>
              <a:gd name="connsiteY10" fmla="*/ 1580260 h 1602253"/>
              <a:gd name="connsiteX11" fmla="*/ 432260 w 6305329"/>
              <a:gd name="connsiteY11" fmla="*/ 1551077 h 1602253"/>
              <a:gd name="connsiteX12" fmla="*/ 354439 w 6305329"/>
              <a:gd name="connsiteY12" fmla="*/ 1307886 h 160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5329" h="1602253">
                <a:moveTo>
                  <a:pt x="354439" y="1307886"/>
                </a:moveTo>
                <a:cubicBezTo>
                  <a:pt x="396592" y="1254384"/>
                  <a:pt x="568447" y="1367874"/>
                  <a:pt x="685179" y="1230065"/>
                </a:cubicBezTo>
                <a:cubicBezTo>
                  <a:pt x="801911" y="1092256"/>
                  <a:pt x="955932" y="685316"/>
                  <a:pt x="1054830" y="481035"/>
                </a:cubicBezTo>
                <a:cubicBezTo>
                  <a:pt x="1153728" y="276754"/>
                  <a:pt x="1192638" y="-41016"/>
                  <a:pt x="1278566" y="4380"/>
                </a:cubicBezTo>
                <a:cubicBezTo>
                  <a:pt x="1364494" y="49776"/>
                  <a:pt x="1427724" y="601009"/>
                  <a:pt x="1570396" y="753409"/>
                </a:cubicBezTo>
                <a:cubicBezTo>
                  <a:pt x="1713068" y="905809"/>
                  <a:pt x="1969230" y="933371"/>
                  <a:pt x="2134600" y="918780"/>
                </a:cubicBezTo>
                <a:cubicBezTo>
                  <a:pt x="2299970" y="904189"/>
                  <a:pt x="2415081" y="656132"/>
                  <a:pt x="2562617" y="665860"/>
                </a:cubicBezTo>
                <a:cubicBezTo>
                  <a:pt x="2710153" y="675588"/>
                  <a:pt x="2812294" y="884733"/>
                  <a:pt x="3019817" y="977146"/>
                </a:cubicBezTo>
                <a:cubicBezTo>
                  <a:pt x="3227341" y="1069559"/>
                  <a:pt x="3335967" y="1170078"/>
                  <a:pt x="3807758" y="1220337"/>
                </a:cubicBezTo>
                <a:cubicBezTo>
                  <a:pt x="4279549" y="1270596"/>
                  <a:pt x="5518204" y="1218716"/>
                  <a:pt x="5850566" y="1278703"/>
                </a:cubicBezTo>
                <a:cubicBezTo>
                  <a:pt x="6182928" y="1338690"/>
                  <a:pt x="6704979" y="1534864"/>
                  <a:pt x="5801928" y="1580260"/>
                </a:cubicBezTo>
                <a:cubicBezTo>
                  <a:pt x="4898877" y="1625656"/>
                  <a:pt x="1333690" y="1593230"/>
                  <a:pt x="432260" y="1551077"/>
                </a:cubicBezTo>
                <a:cubicBezTo>
                  <a:pt x="-469170" y="1508924"/>
                  <a:pt x="312286" y="1361388"/>
                  <a:pt x="354439" y="1307886"/>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3"/>
          </a:p>
        </p:txBody>
      </p:sp>
      <p:pic>
        <p:nvPicPr>
          <p:cNvPr id="42" name="Grafik 10">
            <a:extLst>
              <a:ext uri="{FF2B5EF4-FFF2-40B4-BE49-F238E27FC236}">
                <a16:creationId xmlns:a16="http://schemas.microsoft.com/office/drawing/2014/main" id="{51EB477E-E198-CE92-EADB-0FB30F810A2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019301" y="2531958"/>
            <a:ext cx="901571" cy="719052"/>
          </a:xfrm>
          <a:prstGeom prst="rect">
            <a:avLst/>
          </a:prstGeom>
        </p:spPr>
      </p:pic>
      <p:cxnSp>
        <p:nvCxnSpPr>
          <p:cNvPr id="44" name="Gerader Verbinder 45">
            <a:extLst>
              <a:ext uri="{FF2B5EF4-FFF2-40B4-BE49-F238E27FC236}">
                <a16:creationId xmlns:a16="http://schemas.microsoft.com/office/drawing/2014/main" id="{BDFB4B2B-1E7A-049C-E5CD-F30975161D95}"/>
              </a:ext>
            </a:extLst>
          </p:cNvPr>
          <p:cNvCxnSpPr>
            <a:cxnSpLocks/>
          </p:cNvCxnSpPr>
          <p:nvPr/>
        </p:nvCxnSpPr>
        <p:spPr>
          <a:xfrm flipV="1">
            <a:off x="2087050" y="2609984"/>
            <a:ext cx="1252697" cy="648743"/>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5" name="Gerader Verbinder 46">
            <a:extLst>
              <a:ext uri="{FF2B5EF4-FFF2-40B4-BE49-F238E27FC236}">
                <a16:creationId xmlns:a16="http://schemas.microsoft.com/office/drawing/2014/main" id="{07E3EFF4-17E9-8CE0-EFE7-1FE3B9371B2A}"/>
              </a:ext>
            </a:extLst>
          </p:cNvPr>
          <p:cNvCxnSpPr>
            <a:cxnSpLocks/>
          </p:cNvCxnSpPr>
          <p:nvPr/>
        </p:nvCxnSpPr>
        <p:spPr>
          <a:xfrm>
            <a:off x="3668598" y="2609984"/>
            <a:ext cx="1304216" cy="65840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7" name="Gerade Verbindung mit Pfeil 61">
            <a:extLst>
              <a:ext uri="{FF2B5EF4-FFF2-40B4-BE49-F238E27FC236}">
                <a16:creationId xmlns:a16="http://schemas.microsoft.com/office/drawing/2014/main" id="{65895630-3BCA-6D9E-94AB-C92D2AD2CC84}"/>
              </a:ext>
            </a:extLst>
          </p:cNvPr>
          <p:cNvCxnSpPr>
            <a:cxnSpLocks/>
            <a:stCxn id="6" idx="1"/>
            <a:endCxn id="42" idx="3"/>
          </p:cNvCxnSpPr>
          <p:nvPr/>
        </p:nvCxnSpPr>
        <p:spPr>
          <a:xfrm flipH="1">
            <a:off x="3920872" y="1442703"/>
            <a:ext cx="1143433" cy="1448781"/>
          </a:xfrm>
          <a:prstGeom prst="straightConnector1">
            <a:avLst/>
          </a:prstGeom>
          <a:noFill/>
          <a:ln w="19050" cap="flat" cmpd="sng" algn="ctr">
            <a:solidFill>
              <a:schemeClr val="accent1">
                <a:lumMod val="60000"/>
                <a:lumOff val="40000"/>
              </a:schemeClr>
            </a:solidFill>
            <a:prstDash val="solid"/>
            <a:miter lim="800000"/>
            <a:headEnd type="triangle" w="med" len="med"/>
            <a:tailEnd type="triangle" w="med" len="med"/>
          </a:ln>
          <a:effectLst/>
        </p:spPr>
      </p:cxnSp>
      <p:sp>
        <p:nvSpPr>
          <p:cNvPr id="58" name="Textfeld 79">
            <a:extLst>
              <a:ext uri="{FF2B5EF4-FFF2-40B4-BE49-F238E27FC236}">
                <a16:creationId xmlns:a16="http://schemas.microsoft.com/office/drawing/2014/main" id="{FD7696A4-F867-E5E1-4684-1F90361CDB48}"/>
              </a:ext>
            </a:extLst>
          </p:cNvPr>
          <p:cNvSpPr txBox="1"/>
          <p:nvPr/>
        </p:nvSpPr>
        <p:spPr>
          <a:xfrm>
            <a:off x="637940" y="3915919"/>
            <a:ext cx="870751" cy="230832"/>
          </a:xfrm>
          <a:prstGeom prst="rect">
            <a:avLst/>
          </a:prstGeom>
          <a:noFill/>
        </p:spPr>
        <p:txBody>
          <a:bodyPr wrap="square" rtlCol="0">
            <a:spAutoFit/>
          </a:bodyPr>
          <a:lstStyle/>
          <a:p>
            <a:pPr>
              <a:defRPr/>
            </a:pPr>
            <a:r>
              <a:rPr lang="en-US" sz="900" kern="0">
                <a:solidFill>
                  <a:schemeClr val="accent1">
                    <a:lumMod val="75000"/>
                  </a:schemeClr>
                </a:solidFill>
              </a:rPr>
              <a:t>Terrestrial NW</a:t>
            </a:r>
          </a:p>
        </p:txBody>
      </p:sp>
      <p:cxnSp>
        <p:nvCxnSpPr>
          <p:cNvPr id="59" name="Gerader Verbinder 45">
            <a:extLst>
              <a:ext uri="{FF2B5EF4-FFF2-40B4-BE49-F238E27FC236}">
                <a16:creationId xmlns:a16="http://schemas.microsoft.com/office/drawing/2014/main" id="{22AB71CD-DF57-3AD4-1765-0AB179DD5B03}"/>
              </a:ext>
            </a:extLst>
          </p:cNvPr>
          <p:cNvCxnSpPr>
            <a:cxnSpLocks/>
          </p:cNvCxnSpPr>
          <p:nvPr/>
        </p:nvCxnSpPr>
        <p:spPr>
          <a:xfrm flipV="1">
            <a:off x="183667" y="4114200"/>
            <a:ext cx="753226" cy="41703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Gerader Verbinder 46">
            <a:extLst>
              <a:ext uri="{FF2B5EF4-FFF2-40B4-BE49-F238E27FC236}">
                <a16:creationId xmlns:a16="http://schemas.microsoft.com/office/drawing/2014/main" id="{470AACEA-734C-C9C6-172E-54D58AA50BF0}"/>
              </a:ext>
            </a:extLst>
          </p:cNvPr>
          <p:cNvCxnSpPr>
            <a:cxnSpLocks/>
          </p:cNvCxnSpPr>
          <p:nvPr/>
        </p:nvCxnSpPr>
        <p:spPr>
          <a:xfrm>
            <a:off x="1185348" y="4112479"/>
            <a:ext cx="750342" cy="418752"/>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pic>
        <p:nvPicPr>
          <p:cNvPr id="84" name="Picture 2" descr="Drone icon PNG and SVG Vector Free Download">
            <a:extLst>
              <a:ext uri="{FF2B5EF4-FFF2-40B4-BE49-F238E27FC236}">
                <a16:creationId xmlns:a16="http://schemas.microsoft.com/office/drawing/2014/main" id="{0340E931-F685-65F1-FD5A-34A2FCF1B8AC}"/>
              </a:ext>
            </a:extLst>
          </p:cNvPr>
          <p:cNvPicPr>
            <a:picLocks noChangeAspect="1" noChangeArrowheads="1"/>
          </p:cNvPicPr>
          <p:nvPr/>
        </p:nvPicPr>
        <p:blipFill>
          <a:blip r:embed="rId12">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175874" y="3339682"/>
            <a:ext cx="565685" cy="330064"/>
          </a:xfrm>
          <a:prstGeom prst="rect">
            <a:avLst/>
          </a:prstGeom>
          <a:noFill/>
          <a:extLst>
            <a:ext uri="{909E8E84-426E-40DD-AFC4-6F175D3DCCD1}">
              <a14:hiddenFill xmlns:a14="http://schemas.microsoft.com/office/drawing/2010/main">
                <a:solidFill>
                  <a:srgbClr val="FFFFFF"/>
                </a:solidFill>
              </a14:hiddenFill>
            </a:ext>
          </a:extLst>
        </p:spPr>
      </p:pic>
      <p:sp>
        <p:nvSpPr>
          <p:cNvPr id="93" name="Textfeld 79">
            <a:extLst>
              <a:ext uri="{FF2B5EF4-FFF2-40B4-BE49-F238E27FC236}">
                <a16:creationId xmlns:a16="http://schemas.microsoft.com/office/drawing/2014/main" id="{6C0C1401-B120-3193-6B4A-7947295EFD75}"/>
              </a:ext>
            </a:extLst>
          </p:cNvPr>
          <p:cNvSpPr txBox="1"/>
          <p:nvPr/>
        </p:nvSpPr>
        <p:spPr>
          <a:xfrm>
            <a:off x="7208876" y="3101655"/>
            <a:ext cx="474810" cy="230832"/>
          </a:xfrm>
          <a:prstGeom prst="rect">
            <a:avLst/>
          </a:prstGeom>
          <a:noFill/>
        </p:spPr>
        <p:txBody>
          <a:bodyPr wrap="none" lIns="91440" tIns="45720" rIns="91440" bIns="45720" rtlCol="0" anchor="t">
            <a:spAutoFit/>
          </a:bodyPr>
          <a:lstStyle/>
          <a:p>
            <a:pPr>
              <a:defRPr/>
            </a:pPr>
            <a:r>
              <a:rPr lang="en-US" sz="900" kern="0">
                <a:solidFill>
                  <a:schemeClr val="accent1">
                    <a:lumMod val="75000"/>
                  </a:schemeClr>
                </a:solidFill>
              </a:rPr>
              <a:t>Drone</a:t>
            </a:r>
          </a:p>
        </p:txBody>
      </p:sp>
      <p:cxnSp>
        <p:nvCxnSpPr>
          <p:cNvPr id="94" name="Gerader Verbinder 45">
            <a:extLst>
              <a:ext uri="{FF2B5EF4-FFF2-40B4-BE49-F238E27FC236}">
                <a16:creationId xmlns:a16="http://schemas.microsoft.com/office/drawing/2014/main" id="{00A87D32-D2F2-8976-1D5D-BD11BA5E2BA7}"/>
              </a:ext>
            </a:extLst>
          </p:cNvPr>
          <p:cNvCxnSpPr>
            <a:cxnSpLocks/>
          </p:cNvCxnSpPr>
          <p:nvPr/>
        </p:nvCxnSpPr>
        <p:spPr>
          <a:xfrm flipV="1">
            <a:off x="6370397" y="3225442"/>
            <a:ext cx="916701" cy="61289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95" name="Gerader Verbinder 46">
            <a:extLst>
              <a:ext uri="{FF2B5EF4-FFF2-40B4-BE49-F238E27FC236}">
                <a16:creationId xmlns:a16="http://schemas.microsoft.com/office/drawing/2014/main" id="{665CE22B-7168-1A6C-B0FA-6E9773D1323E}"/>
              </a:ext>
            </a:extLst>
          </p:cNvPr>
          <p:cNvCxnSpPr>
            <a:cxnSpLocks/>
          </p:cNvCxnSpPr>
          <p:nvPr/>
        </p:nvCxnSpPr>
        <p:spPr>
          <a:xfrm>
            <a:off x="7615949" y="3225442"/>
            <a:ext cx="981324" cy="616092"/>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03" name="Textfeld 79">
            <a:extLst>
              <a:ext uri="{FF2B5EF4-FFF2-40B4-BE49-F238E27FC236}">
                <a16:creationId xmlns:a16="http://schemas.microsoft.com/office/drawing/2014/main" id="{2A01FFB6-D917-08DC-906F-CAC45706FF81}"/>
              </a:ext>
            </a:extLst>
          </p:cNvPr>
          <p:cNvSpPr txBox="1"/>
          <p:nvPr/>
        </p:nvSpPr>
        <p:spPr>
          <a:xfrm>
            <a:off x="5683547" y="2000830"/>
            <a:ext cx="535724" cy="230832"/>
          </a:xfrm>
          <a:prstGeom prst="rect">
            <a:avLst/>
          </a:prstGeom>
          <a:noFill/>
        </p:spPr>
        <p:txBody>
          <a:bodyPr wrap="none" rtlCol="0">
            <a:spAutoFit/>
          </a:bodyPr>
          <a:lstStyle/>
          <a:p>
            <a:pPr>
              <a:defRPr/>
            </a:pPr>
            <a:r>
              <a:rPr lang="en-US" sz="900" kern="0">
                <a:solidFill>
                  <a:schemeClr val="accent1">
                    <a:lumMod val="75000"/>
                  </a:schemeClr>
                </a:solidFill>
              </a:rPr>
              <a:t>Aircraft</a:t>
            </a:r>
          </a:p>
        </p:txBody>
      </p:sp>
      <p:cxnSp>
        <p:nvCxnSpPr>
          <p:cNvPr id="106" name="Gerader Verbinder 45">
            <a:extLst>
              <a:ext uri="{FF2B5EF4-FFF2-40B4-BE49-F238E27FC236}">
                <a16:creationId xmlns:a16="http://schemas.microsoft.com/office/drawing/2014/main" id="{EDA3F059-4207-EACB-AEE8-2605D0CFA541}"/>
              </a:ext>
            </a:extLst>
          </p:cNvPr>
          <p:cNvCxnSpPr>
            <a:cxnSpLocks/>
          </p:cNvCxnSpPr>
          <p:nvPr/>
        </p:nvCxnSpPr>
        <p:spPr>
          <a:xfrm flipV="1">
            <a:off x="4520292" y="2176439"/>
            <a:ext cx="1252697" cy="648743"/>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07" name="Gerader Verbinder 46">
            <a:extLst>
              <a:ext uri="{FF2B5EF4-FFF2-40B4-BE49-F238E27FC236}">
                <a16:creationId xmlns:a16="http://schemas.microsoft.com/office/drawing/2014/main" id="{1AF15829-CD23-47B8-42CA-A19028C280DF}"/>
              </a:ext>
            </a:extLst>
          </p:cNvPr>
          <p:cNvCxnSpPr>
            <a:cxnSpLocks/>
          </p:cNvCxnSpPr>
          <p:nvPr/>
        </p:nvCxnSpPr>
        <p:spPr>
          <a:xfrm>
            <a:off x="6101840" y="2176439"/>
            <a:ext cx="1304216" cy="65840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pic>
        <p:nvPicPr>
          <p:cNvPr id="83" name="Picture 4">
            <a:extLst>
              <a:ext uri="{FF2B5EF4-FFF2-40B4-BE49-F238E27FC236}">
                <a16:creationId xmlns:a16="http://schemas.microsoft.com/office/drawing/2014/main" id="{5A2D0ACE-EF68-8CAC-6D37-04337FC8F39E}"/>
              </a:ext>
            </a:extLst>
          </p:cNvPr>
          <p:cNvPicPr>
            <a:picLocks noChangeAspect="1" noChangeArrowheads="1"/>
          </p:cNvPicPr>
          <p:nvPr/>
        </p:nvPicPr>
        <p:blipFill rotWithShape="1">
          <a:blip r:embed="rId13">
            <a:duotone>
              <a:srgbClr val="4472C4">
                <a:shade val="45000"/>
                <a:satMod val="135000"/>
              </a:srgbClr>
              <a:prstClr val="white"/>
            </a:duotone>
            <a:extLst>
              <a:ext uri="{28A0092B-C50C-407E-A947-70E740481C1C}">
                <a14:useLocalDpi xmlns:a14="http://schemas.microsoft.com/office/drawing/2010/main" val="0"/>
              </a:ext>
            </a:extLst>
          </a:blip>
          <a:srcRect t="31226" b="28496"/>
          <a:stretch/>
        </p:blipFill>
        <p:spPr bwMode="auto">
          <a:xfrm flipH="1">
            <a:off x="5559553" y="2283603"/>
            <a:ext cx="874616" cy="331212"/>
          </a:xfrm>
          <a:prstGeom prst="rect">
            <a:avLst/>
          </a:prstGeom>
          <a:noFill/>
          <a:extLst>
            <a:ext uri="{909E8E84-426E-40DD-AFC4-6F175D3DCCD1}">
              <a14:hiddenFill xmlns:a14="http://schemas.microsoft.com/office/drawing/2010/main">
                <a:solidFill>
                  <a:srgbClr val="FFFFFF"/>
                </a:solidFill>
              </a14:hiddenFill>
            </a:ext>
          </a:extLst>
        </p:spPr>
      </p:pic>
      <p:cxnSp>
        <p:nvCxnSpPr>
          <p:cNvPr id="108" name="Gerade Verbindung mit Pfeil 61">
            <a:extLst>
              <a:ext uri="{FF2B5EF4-FFF2-40B4-BE49-F238E27FC236}">
                <a16:creationId xmlns:a16="http://schemas.microsoft.com/office/drawing/2014/main" id="{A5EC1A61-985F-E8F1-BB0B-3C3F6F4D6D93}"/>
              </a:ext>
            </a:extLst>
          </p:cNvPr>
          <p:cNvCxnSpPr>
            <a:cxnSpLocks/>
            <a:stCxn id="84" idx="1"/>
            <a:endCxn id="83" idx="1"/>
          </p:cNvCxnSpPr>
          <p:nvPr/>
        </p:nvCxnSpPr>
        <p:spPr>
          <a:xfrm flipH="1" flipV="1">
            <a:off x="6434169" y="2449209"/>
            <a:ext cx="741705" cy="1055505"/>
          </a:xfrm>
          <a:prstGeom prst="straightConnector1">
            <a:avLst/>
          </a:prstGeom>
          <a:noFill/>
          <a:ln w="19050" cap="flat" cmpd="sng" algn="ctr">
            <a:solidFill>
              <a:schemeClr val="accent1">
                <a:lumMod val="60000"/>
                <a:lumOff val="40000"/>
              </a:schemeClr>
            </a:solidFill>
            <a:prstDash val="solid"/>
            <a:miter lim="800000"/>
            <a:headEnd type="triangle" w="med" len="med"/>
            <a:tailEnd type="triangle" w="med" len="med"/>
          </a:ln>
          <a:effectLst/>
        </p:spPr>
      </p:cxnSp>
      <p:cxnSp>
        <p:nvCxnSpPr>
          <p:cNvPr id="111" name="Gerade Verbindung mit Pfeil 61">
            <a:extLst>
              <a:ext uri="{FF2B5EF4-FFF2-40B4-BE49-F238E27FC236}">
                <a16:creationId xmlns:a16="http://schemas.microsoft.com/office/drawing/2014/main" id="{EC228ED6-FB30-A42D-57A5-DF0607E075C6}"/>
              </a:ext>
            </a:extLst>
          </p:cNvPr>
          <p:cNvCxnSpPr>
            <a:cxnSpLocks/>
            <a:stCxn id="83" idx="1"/>
            <a:endCxn id="7" idx="1"/>
          </p:cNvCxnSpPr>
          <p:nvPr/>
        </p:nvCxnSpPr>
        <p:spPr>
          <a:xfrm flipV="1">
            <a:off x="6434169" y="1163670"/>
            <a:ext cx="1565012" cy="1285539"/>
          </a:xfrm>
          <a:prstGeom prst="straightConnector1">
            <a:avLst/>
          </a:prstGeom>
          <a:noFill/>
          <a:ln w="19050" cap="flat" cmpd="sng" algn="ctr">
            <a:solidFill>
              <a:schemeClr val="accent1">
                <a:lumMod val="60000"/>
                <a:lumOff val="40000"/>
              </a:schemeClr>
            </a:solidFill>
            <a:prstDash val="solid"/>
            <a:miter lim="800000"/>
            <a:headEnd type="triangle" w="med" len="med"/>
            <a:tailEnd type="triangle" w="med" len="med"/>
          </a:ln>
          <a:effectLst/>
        </p:spPr>
      </p:cxnSp>
      <p:cxnSp>
        <p:nvCxnSpPr>
          <p:cNvPr id="114" name="Gerade Verbindung mit Pfeil 61">
            <a:extLst>
              <a:ext uri="{FF2B5EF4-FFF2-40B4-BE49-F238E27FC236}">
                <a16:creationId xmlns:a16="http://schemas.microsoft.com/office/drawing/2014/main" id="{E896352D-0489-3CE8-1E53-A144A7E91F18}"/>
              </a:ext>
            </a:extLst>
          </p:cNvPr>
          <p:cNvCxnSpPr>
            <a:cxnSpLocks/>
            <a:stCxn id="8" idx="3"/>
            <a:endCxn id="42" idx="1"/>
          </p:cNvCxnSpPr>
          <p:nvPr/>
        </p:nvCxnSpPr>
        <p:spPr>
          <a:xfrm flipV="1">
            <a:off x="1238295" y="2891484"/>
            <a:ext cx="1781006" cy="1811902"/>
          </a:xfrm>
          <a:prstGeom prst="straightConnector1">
            <a:avLst/>
          </a:prstGeom>
          <a:noFill/>
          <a:ln w="19050" cap="flat" cmpd="sng" algn="ctr">
            <a:solidFill>
              <a:schemeClr val="accent1">
                <a:lumMod val="60000"/>
                <a:lumOff val="40000"/>
              </a:schemeClr>
            </a:solidFill>
            <a:prstDash val="solid"/>
            <a:miter lim="800000"/>
            <a:headEnd type="triangle" w="med" len="med"/>
            <a:tailEnd type="triangle" w="med" len="med"/>
          </a:ln>
          <a:effectLst/>
        </p:spPr>
      </p:cxnSp>
      <p:grpSp>
        <p:nvGrpSpPr>
          <p:cNvPr id="37" name="Group 36">
            <a:extLst>
              <a:ext uri="{FF2B5EF4-FFF2-40B4-BE49-F238E27FC236}">
                <a16:creationId xmlns:a16="http://schemas.microsoft.com/office/drawing/2014/main" id="{AAAB7E94-70B7-84E3-73F8-547AAED904E9}"/>
              </a:ext>
            </a:extLst>
          </p:cNvPr>
          <p:cNvGrpSpPr/>
          <p:nvPr/>
        </p:nvGrpSpPr>
        <p:grpSpPr>
          <a:xfrm>
            <a:off x="324796" y="4538705"/>
            <a:ext cx="428382" cy="476738"/>
            <a:chOff x="10154341" y="4421579"/>
            <a:chExt cx="428382" cy="476738"/>
          </a:xfrm>
        </p:grpSpPr>
        <p:sp>
          <p:nvSpPr>
            <p:cNvPr id="38" name="Rectangle: Rounded Corners 37">
              <a:extLst>
                <a:ext uri="{FF2B5EF4-FFF2-40B4-BE49-F238E27FC236}">
                  <a16:creationId xmlns:a16="http://schemas.microsoft.com/office/drawing/2014/main" id="{1FC862AD-311C-2A10-AD23-68387E56F100}"/>
                </a:ext>
              </a:extLst>
            </p:cNvPr>
            <p:cNvSpPr/>
            <p:nvPr/>
          </p:nvSpPr>
          <p:spPr>
            <a:xfrm>
              <a:off x="10154342" y="4659948"/>
              <a:ext cx="428381" cy="238369"/>
            </a:xfrm>
            <a:prstGeom prst="roundRect">
              <a:avLst/>
            </a:prstGeom>
            <a:noFill/>
            <a:ln w="190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800" err="1">
                  <a:solidFill>
                    <a:schemeClr val="accent1">
                      <a:lumMod val="75000"/>
                    </a:schemeClr>
                  </a:solidFill>
                </a:rPr>
                <a:t>gNB</a:t>
              </a:r>
              <a:endParaRPr lang="de-DE">
                <a:solidFill>
                  <a:schemeClr val="accent1">
                    <a:lumMod val="75000"/>
                  </a:schemeClr>
                </a:solidFill>
              </a:endParaRPr>
            </a:p>
          </p:txBody>
        </p:sp>
        <p:sp>
          <p:nvSpPr>
            <p:cNvPr id="46" name="Rectangle: Rounded Corners 45">
              <a:extLst>
                <a:ext uri="{FF2B5EF4-FFF2-40B4-BE49-F238E27FC236}">
                  <a16:creationId xmlns:a16="http://schemas.microsoft.com/office/drawing/2014/main" id="{ACDC4C8D-2AAF-9463-36CA-D2A34CAC23E3}"/>
                </a:ext>
              </a:extLst>
            </p:cNvPr>
            <p:cNvSpPr/>
            <p:nvPr/>
          </p:nvSpPr>
          <p:spPr>
            <a:xfrm>
              <a:off x="10154341" y="4421579"/>
              <a:ext cx="428381" cy="238369"/>
            </a:xfrm>
            <a:prstGeom prst="roundRect">
              <a:avLst/>
            </a:prstGeom>
            <a:noFill/>
            <a:ln w="190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800">
                  <a:solidFill>
                    <a:schemeClr val="accent1">
                      <a:lumMod val="75000"/>
                    </a:schemeClr>
                  </a:solidFill>
                </a:rPr>
                <a:t>UPF</a:t>
              </a:r>
              <a:endParaRPr lang="de-DE">
                <a:solidFill>
                  <a:schemeClr val="accent1">
                    <a:lumMod val="75000"/>
                  </a:schemeClr>
                </a:solidFill>
              </a:endParaRPr>
            </a:p>
          </p:txBody>
        </p:sp>
      </p:grpSp>
      <p:sp>
        <p:nvSpPr>
          <p:cNvPr id="56" name="Rectangle: Rounded Corners 55">
            <a:extLst>
              <a:ext uri="{FF2B5EF4-FFF2-40B4-BE49-F238E27FC236}">
                <a16:creationId xmlns:a16="http://schemas.microsoft.com/office/drawing/2014/main" id="{8B5D863F-11DA-8A27-DCF2-47D06ED8B6A0}"/>
              </a:ext>
            </a:extLst>
          </p:cNvPr>
          <p:cNvSpPr/>
          <p:nvPr/>
        </p:nvSpPr>
        <p:spPr>
          <a:xfrm>
            <a:off x="6468362" y="1003865"/>
            <a:ext cx="428381" cy="238369"/>
          </a:xfrm>
          <a:prstGeom prst="roundRect">
            <a:avLst/>
          </a:prstGeom>
          <a:noFill/>
          <a:ln w="190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800">
                <a:solidFill>
                  <a:schemeClr val="accent1">
                    <a:lumMod val="75000"/>
                  </a:schemeClr>
                </a:solidFill>
              </a:rPr>
              <a:t>ISL</a:t>
            </a:r>
            <a:endParaRPr lang="de-DE">
              <a:solidFill>
                <a:schemeClr val="accent1">
                  <a:lumMod val="75000"/>
                </a:schemeClr>
              </a:solidFill>
            </a:endParaRPr>
          </a:p>
        </p:txBody>
      </p:sp>
      <p:pic>
        <p:nvPicPr>
          <p:cNvPr id="81" name="Grafik 80" descr="Ein Bild, das Kunst, Design enthält.&#10;&#10;KI-generierte Inhalte können fehlerhaft sein.">
            <a:extLst>
              <a:ext uri="{FF2B5EF4-FFF2-40B4-BE49-F238E27FC236}">
                <a16:creationId xmlns:a16="http://schemas.microsoft.com/office/drawing/2014/main" id="{44A8E8C5-B458-A187-FF33-BDAD157A7784}"/>
              </a:ext>
            </a:extLst>
          </p:cNvPr>
          <p:cNvPicPr>
            <a:picLocks noChangeAspect="1"/>
          </p:cNvPicPr>
          <p:nvPr/>
        </p:nvPicPr>
        <p:blipFill>
          <a:blip r:embed="rId14">
            <a:duotone>
              <a:srgbClr val="4472C4">
                <a:shade val="45000"/>
                <a:satMod val="135000"/>
              </a:srgbClr>
              <a:prstClr val="white"/>
            </a:duotone>
            <a:extLst>
              <a:ext uri="{28A0092B-C50C-407E-A947-70E740481C1C}">
                <a14:useLocalDpi xmlns:a14="http://schemas.microsoft.com/office/drawing/2010/main" val="0"/>
              </a:ext>
            </a:extLst>
          </a:blip>
          <a:stretch>
            <a:fillRect/>
          </a:stretch>
        </p:blipFill>
        <p:spPr>
          <a:xfrm>
            <a:off x="2171208" y="4674180"/>
            <a:ext cx="594649" cy="567169"/>
          </a:xfrm>
          <a:prstGeom prst="rect">
            <a:avLst/>
          </a:prstGeom>
        </p:spPr>
      </p:pic>
      <p:sp>
        <p:nvSpPr>
          <p:cNvPr id="76" name="Rectangle 75">
            <a:extLst>
              <a:ext uri="{FF2B5EF4-FFF2-40B4-BE49-F238E27FC236}">
                <a16:creationId xmlns:a16="http://schemas.microsoft.com/office/drawing/2014/main" id="{D05723C5-FF83-3429-FCF5-8C11F8AC670F}"/>
              </a:ext>
            </a:extLst>
          </p:cNvPr>
          <p:cNvSpPr/>
          <p:nvPr/>
        </p:nvSpPr>
        <p:spPr>
          <a:xfrm>
            <a:off x="202165" y="5347818"/>
            <a:ext cx="10640458" cy="307563"/>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err="1"/>
              <a:t>Terrestrial</a:t>
            </a:r>
            <a:r>
              <a:rPr lang="de-DE"/>
              <a:t> Core NW/Backend</a:t>
            </a:r>
          </a:p>
        </p:txBody>
      </p:sp>
      <p:pic>
        <p:nvPicPr>
          <p:cNvPr id="80" name="Graphic 79" descr="Database with solid fill">
            <a:extLst>
              <a:ext uri="{FF2B5EF4-FFF2-40B4-BE49-F238E27FC236}">
                <a16:creationId xmlns:a16="http://schemas.microsoft.com/office/drawing/2014/main" id="{85A68DDB-B3E6-7A92-E7CB-FFA5A4357EE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866875" y="5360627"/>
            <a:ext cx="289524" cy="289524"/>
          </a:xfrm>
          <a:prstGeom prst="rect">
            <a:avLst/>
          </a:prstGeom>
        </p:spPr>
      </p:pic>
      <p:pic>
        <p:nvPicPr>
          <p:cNvPr id="82" name="Graphic 81" descr="Database with solid fill">
            <a:extLst>
              <a:ext uri="{FF2B5EF4-FFF2-40B4-BE49-F238E27FC236}">
                <a16:creationId xmlns:a16="http://schemas.microsoft.com/office/drawing/2014/main" id="{C119E6A7-3ADF-4BD0-CC5B-40ED4ADBD17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879182" y="5360627"/>
            <a:ext cx="289524" cy="289524"/>
          </a:xfrm>
          <a:prstGeom prst="rect">
            <a:avLst/>
          </a:prstGeom>
        </p:spPr>
      </p:pic>
      <p:sp>
        <p:nvSpPr>
          <p:cNvPr id="4" name="Textfeld 79">
            <a:extLst>
              <a:ext uri="{FF2B5EF4-FFF2-40B4-BE49-F238E27FC236}">
                <a16:creationId xmlns:a16="http://schemas.microsoft.com/office/drawing/2014/main" id="{5AC0AF9E-4228-EFF7-B7C6-6E0CAE1B527A}"/>
              </a:ext>
            </a:extLst>
          </p:cNvPr>
          <p:cNvSpPr txBox="1"/>
          <p:nvPr/>
        </p:nvSpPr>
        <p:spPr>
          <a:xfrm>
            <a:off x="3292932" y="2474014"/>
            <a:ext cx="383438" cy="230832"/>
          </a:xfrm>
          <a:prstGeom prst="rect">
            <a:avLst/>
          </a:prstGeom>
          <a:noFill/>
        </p:spPr>
        <p:txBody>
          <a:bodyPr wrap="none" lIns="91440" tIns="45720" rIns="91440" bIns="45720" rtlCol="0" anchor="t">
            <a:spAutoFit/>
          </a:bodyPr>
          <a:lstStyle/>
          <a:p>
            <a:pPr>
              <a:defRPr/>
            </a:pPr>
            <a:r>
              <a:rPr lang="en-US" sz="900" kern="0">
                <a:solidFill>
                  <a:schemeClr val="accent1">
                    <a:lumMod val="75000"/>
                  </a:schemeClr>
                </a:solidFill>
              </a:rPr>
              <a:t>HAP</a:t>
            </a:r>
            <a:endParaRPr lang="de-DE"/>
          </a:p>
        </p:txBody>
      </p:sp>
      <p:sp>
        <p:nvSpPr>
          <p:cNvPr id="17" name="Textfeld 79">
            <a:extLst>
              <a:ext uri="{FF2B5EF4-FFF2-40B4-BE49-F238E27FC236}">
                <a16:creationId xmlns:a16="http://schemas.microsoft.com/office/drawing/2014/main" id="{24AD79CF-865D-C560-AEDA-D26BD274A1C3}"/>
              </a:ext>
            </a:extLst>
          </p:cNvPr>
          <p:cNvSpPr txBox="1"/>
          <p:nvPr/>
        </p:nvSpPr>
        <p:spPr>
          <a:xfrm>
            <a:off x="637915" y="2117882"/>
            <a:ext cx="1133335" cy="230832"/>
          </a:xfrm>
          <a:prstGeom prst="rect">
            <a:avLst/>
          </a:prstGeom>
          <a:noFill/>
        </p:spPr>
        <p:txBody>
          <a:bodyPr wrap="square" lIns="91440" tIns="45720" rIns="91440" bIns="45720" rtlCol="0" anchor="t">
            <a:spAutoFit/>
          </a:bodyPr>
          <a:lstStyle/>
          <a:p>
            <a:pPr>
              <a:defRPr/>
            </a:pPr>
            <a:r>
              <a:rPr lang="en-US" sz="900" kern="0">
                <a:solidFill>
                  <a:schemeClr val="accent1">
                    <a:lumMod val="75000"/>
                  </a:schemeClr>
                </a:solidFill>
              </a:rPr>
              <a:t>Non-Terrestrial NW</a:t>
            </a:r>
          </a:p>
        </p:txBody>
      </p:sp>
      <p:grpSp>
        <p:nvGrpSpPr>
          <p:cNvPr id="72" name="Group 86">
            <a:extLst>
              <a:ext uri="{FF2B5EF4-FFF2-40B4-BE49-F238E27FC236}">
                <a16:creationId xmlns:a16="http://schemas.microsoft.com/office/drawing/2014/main" id="{86AECB81-668C-4B48-A621-03424E186198}"/>
              </a:ext>
            </a:extLst>
          </p:cNvPr>
          <p:cNvGrpSpPr/>
          <p:nvPr/>
        </p:nvGrpSpPr>
        <p:grpSpPr>
          <a:xfrm>
            <a:off x="8179093" y="4350551"/>
            <a:ext cx="363940" cy="581068"/>
            <a:chOff x="8397385" y="4381221"/>
            <a:chExt cx="363940" cy="581068"/>
          </a:xfrm>
        </p:grpSpPr>
        <p:pic>
          <p:nvPicPr>
            <p:cNvPr id="73" name="Grafik 72">
              <a:extLst>
                <a:ext uri="{FF2B5EF4-FFF2-40B4-BE49-F238E27FC236}">
                  <a16:creationId xmlns:a16="http://schemas.microsoft.com/office/drawing/2014/main" id="{D100FF5B-31D5-4E06-BB54-D2DF8B4A71ED}"/>
                </a:ext>
              </a:extLst>
            </p:cNvPr>
            <p:cNvPicPr>
              <a:picLocks noChangeAspect="1"/>
            </p:cNvPicPr>
            <p:nvPr/>
          </p:nvPicPr>
          <p:blipFill rotWithShape="1">
            <a:blip r:embed="rId4" cstate="print">
              <a:duotone>
                <a:srgbClr val="4472C4">
                  <a:shade val="45000"/>
                  <a:satMod val="135000"/>
                </a:srgbClr>
                <a:prstClr val="white"/>
              </a:duotone>
              <a:extLst>
                <a:ext uri="{28A0092B-C50C-407E-A947-70E740481C1C}">
                  <a14:useLocalDpi xmlns:a14="http://schemas.microsoft.com/office/drawing/2010/main" val="0"/>
                </a:ext>
              </a:extLst>
            </a:blip>
            <a:srcRect l="28161" r="29513"/>
            <a:stretch/>
          </p:blipFill>
          <p:spPr>
            <a:xfrm>
              <a:off x="8397385" y="4381221"/>
              <a:ext cx="363940" cy="581068"/>
            </a:xfrm>
            <a:prstGeom prst="rect">
              <a:avLst/>
            </a:prstGeom>
          </p:spPr>
        </p:pic>
        <p:sp>
          <p:nvSpPr>
            <p:cNvPr id="74" name="TextBox 88">
              <a:extLst>
                <a:ext uri="{FF2B5EF4-FFF2-40B4-BE49-F238E27FC236}">
                  <a16:creationId xmlns:a16="http://schemas.microsoft.com/office/drawing/2014/main" id="{76867796-C226-432F-A50C-E4C59BE9CEBA}"/>
                </a:ext>
              </a:extLst>
            </p:cNvPr>
            <p:cNvSpPr txBox="1"/>
            <p:nvPr/>
          </p:nvSpPr>
          <p:spPr>
            <a:xfrm>
              <a:off x="8401931" y="4533255"/>
              <a:ext cx="359394" cy="276999"/>
            </a:xfrm>
            <a:prstGeom prst="rect">
              <a:avLst/>
            </a:prstGeom>
            <a:noFill/>
          </p:spPr>
          <p:txBody>
            <a:bodyPr wrap="none" rtlCol="0">
              <a:spAutoFit/>
            </a:bodyPr>
            <a:lstStyle/>
            <a:p>
              <a:r>
                <a:rPr lang="en-US" sz="1200" noProof="0">
                  <a:solidFill>
                    <a:schemeClr val="accent1">
                      <a:lumMod val="75000"/>
                    </a:schemeClr>
                  </a:solidFill>
                </a:rPr>
                <a:t>UE</a:t>
              </a:r>
              <a:endParaRPr lang="en-US" sz="1400" noProof="0">
                <a:solidFill>
                  <a:schemeClr val="accent1">
                    <a:lumMod val="75000"/>
                  </a:schemeClr>
                </a:solidFill>
              </a:endParaRPr>
            </a:p>
          </p:txBody>
        </p:sp>
      </p:grpSp>
      <p:cxnSp>
        <p:nvCxnSpPr>
          <p:cNvPr id="75" name="Gerade Verbindung mit Pfeil 61">
            <a:extLst>
              <a:ext uri="{FF2B5EF4-FFF2-40B4-BE49-F238E27FC236}">
                <a16:creationId xmlns:a16="http://schemas.microsoft.com/office/drawing/2014/main" id="{6E3FB032-E8F3-4720-B24F-FD748F6EE355}"/>
              </a:ext>
            </a:extLst>
          </p:cNvPr>
          <p:cNvCxnSpPr>
            <a:cxnSpLocks/>
            <a:stCxn id="73" idx="0"/>
          </p:cNvCxnSpPr>
          <p:nvPr/>
        </p:nvCxnSpPr>
        <p:spPr>
          <a:xfrm flipH="1" flipV="1">
            <a:off x="7618116" y="3606316"/>
            <a:ext cx="742947" cy="744235"/>
          </a:xfrm>
          <a:prstGeom prst="straightConnector1">
            <a:avLst/>
          </a:prstGeom>
          <a:noFill/>
          <a:ln w="19050" cap="flat" cmpd="sng" algn="ctr">
            <a:solidFill>
              <a:schemeClr val="accent1">
                <a:lumMod val="60000"/>
                <a:lumOff val="40000"/>
              </a:schemeClr>
            </a:solidFill>
            <a:prstDash val="solid"/>
            <a:miter lim="800000"/>
            <a:headEnd type="triangle" w="med" len="med"/>
            <a:tailEnd type="triangle" w="med" len="med"/>
          </a:ln>
          <a:effectLst/>
        </p:spPr>
      </p:cxnSp>
      <p:grpSp>
        <p:nvGrpSpPr>
          <p:cNvPr id="65" name="Group 78">
            <a:extLst>
              <a:ext uri="{FF2B5EF4-FFF2-40B4-BE49-F238E27FC236}">
                <a16:creationId xmlns:a16="http://schemas.microsoft.com/office/drawing/2014/main" id="{AE757638-466B-4542-B483-28F76D6D2005}"/>
              </a:ext>
            </a:extLst>
          </p:cNvPr>
          <p:cNvGrpSpPr/>
          <p:nvPr/>
        </p:nvGrpSpPr>
        <p:grpSpPr>
          <a:xfrm>
            <a:off x="8095005" y="2307240"/>
            <a:ext cx="2030979" cy="1287519"/>
            <a:chOff x="2074409" y="2254845"/>
            <a:chExt cx="2030979" cy="1287519"/>
          </a:xfrm>
        </p:grpSpPr>
        <p:pic>
          <p:nvPicPr>
            <p:cNvPr id="66" name="Graphic 62" descr="Quadcopter with solid fill">
              <a:extLst>
                <a:ext uri="{FF2B5EF4-FFF2-40B4-BE49-F238E27FC236}">
                  <a16:creationId xmlns:a16="http://schemas.microsoft.com/office/drawing/2014/main" id="{2BCF0868-B44F-4693-A303-5EE8B9C04DA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835979" y="2942599"/>
              <a:ext cx="565686" cy="565686"/>
            </a:xfrm>
            <a:prstGeom prst="rect">
              <a:avLst/>
            </a:prstGeom>
          </p:spPr>
        </p:pic>
        <p:cxnSp>
          <p:nvCxnSpPr>
            <p:cNvPr id="67" name="Gerader Verbinder 45">
              <a:extLst>
                <a:ext uri="{FF2B5EF4-FFF2-40B4-BE49-F238E27FC236}">
                  <a16:creationId xmlns:a16="http://schemas.microsoft.com/office/drawing/2014/main" id="{63D79F47-7B74-4C94-A200-1D455D8A9070}"/>
                </a:ext>
              </a:extLst>
            </p:cNvPr>
            <p:cNvCxnSpPr>
              <a:cxnSpLocks/>
            </p:cNvCxnSpPr>
            <p:nvPr/>
          </p:nvCxnSpPr>
          <p:spPr>
            <a:xfrm flipV="1">
              <a:off x="2074409" y="3018139"/>
              <a:ext cx="781435" cy="486575"/>
            </a:xfrm>
            <a:prstGeom prst="line">
              <a:avLst/>
            </a:prstGeom>
            <a:ln w="1270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68" name="Gerader Verbinder 46">
              <a:extLst>
                <a:ext uri="{FF2B5EF4-FFF2-40B4-BE49-F238E27FC236}">
                  <a16:creationId xmlns:a16="http://schemas.microsoft.com/office/drawing/2014/main" id="{4AE2DFC0-16F2-4878-8503-8DC5F6F4C6B5}"/>
                </a:ext>
              </a:extLst>
            </p:cNvPr>
            <p:cNvCxnSpPr>
              <a:cxnSpLocks/>
            </p:cNvCxnSpPr>
            <p:nvPr/>
          </p:nvCxnSpPr>
          <p:spPr>
            <a:xfrm>
              <a:off x="3366827" y="3014813"/>
              <a:ext cx="738561" cy="527551"/>
            </a:xfrm>
            <a:prstGeom prst="line">
              <a:avLst/>
            </a:prstGeom>
            <a:ln w="1270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69" name="Textfeld 79">
              <a:extLst>
                <a:ext uri="{FF2B5EF4-FFF2-40B4-BE49-F238E27FC236}">
                  <a16:creationId xmlns:a16="http://schemas.microsoft.com/office/drawing/2014/main" id="{E5D5EFD8-DC78-42FF-ACFD-6F9EF4325ED4}"/>
                </a:ext>
              </a:extLst>
            </p:cNvPr>
            <p:cNvSpPr txBox="1"/>
            <p:nvPr/>
          </p:nvSpPr>
          <p:spPr>
            <a:xfrm>
              <a:off x="2855844" y="2724708"/>
              <a:ext cx="635110" cy="369332"/>
            </a:xfrm>
            <a:prstGeom prst="rect">
              <a:avLst/>
            </a:prstGeom>
            <a:noFill/>
          </p:spPr>
          <p:txBody>
            <a:bodyPr wrap="none" lIns="91440" tIns="45720" rIns="91440" bIns="45720" rtlCol="0" anchor="t">
              <a:spAutoFit/>
            </a:bodyPr>
            <a:lstStyle/>
            <a:p>
              <a:pPr>
                <a:defRPr/>
              </a:pPr>
              <a:r>
                <a:rPr lang="en-US" sz="900" kern="0" noProof="0">
                  <a:solidFill>
                    <a:srgbClr val="FF0000"/>
                  </a:solidFill>
                </a:rPr>
                <a:t>Malicious</a:t>
              </a:r>
              <a:br>
                <a:rPr lang="en-US" sz="900" kern="0" noProof="0">
                  <a:solidFill>
                    <a:srgbClr val="FF0000"/>
                  </a:solidFill>
                </a:rPr>
              </a:br>
              <a:r>
                <a:rPr lang="en-US" sz="900" kern="0" noProof="0">
                  <a:solidFill>
                    <a:srgbClr val="FF0000"/>
                  </a:solidFill>
                </a:rPr>
                <a:t>Drone</a:t>
              </a:r>
            </a:p>
          </p:txBody>
        </p:sp>
        <p:pic>
          <p:nvPicPr>
            <p:cNvPr id="70" name="Graphic 72" descr="Exclamation mark with solid fill">
              <a:extLst>
                <a:ext uri="{FF2B5EF4-FFF2-40B4-BE49-F238E27FC236}">
                  <a16:creationId xmlns:a16="http://schemas.microsoft.com/office/drawing/2014/main" id="{94CE28A6-5432-4382-B1B0-27446CD222E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897565" y="2254845"/>
              <a:ext cx="460806" cy="460806"/>
            </a:xfrm>
            <a:prstGeom prst="rect">
              <a:avLst/>
            </a:prstGeom>
          </p:spPr>
        </p:pic>
      </p:grpSp>
      <p:pic>
        <p:nvPicPr>
          <p:cNvPr id="71" name="Graphic 85" descr="Lightning bolt with solid fill">
            <a:extLst>
              <a:ext uri="{FF2B5EF4-FFF2-40B4-BE49-F238E27FC236}">
                <a16:creationId xmlns:a16="http://schemas.microsoft.com/office/drawing/2014/main" id="{21A22639-516C-494F-88C0-95F88ECBEE3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666554" y="3606117"/>
            <a:ext cx="453304" cy="453304"/>
          </a:xfrm>
          <a:prstGeom prst="rect">
            <a:avLst/>
          </a:prstGeom>
        </p:spPr>
      </p:pic>
      <p:pic>
        <p:nvPicPr>
          <p:cNvPr id="79" name="Graphic 85" descr="Lightning bolt with solid fill">
            <a:extLst>
              <a:ext uri="{FF2B5EF4-FFF2-40B4-BE49-F238E27FC236}">
                <a16:creationId xmlns:a16="http://schemas.microsoft.com/office/drawing/2014/main" id="{E0B3F1E2-56BA-4555-9B22-E31EE97BCF6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647961" y="3588059"/>
            <a:ext cx="453304" cy="453304"/>
          </a:xfrm>
          <a:prstGeom prst="rect">
            <a:avLst/>
          </a:prstGeom>
        </p:spPr>
      </p:pic>
      <p:sp>
        <p:nvSpPr>
          <p:cNvPr id="85" name="Rechteck: abgerundete Ecken 84">
            <a:extLst>
              <a:ext uri="{FF2B5EF4-FFF2-40B4-BE49-F238E27FC236}">
                <a16:creationId xmlns:a16="http://schemas.microsoft.com/office/drawing/2014/main" id="{12BE8A08-5F41-4A52-BF86-16527FFE08EF}"/>
              </a:ext>
            </a:extLst>
          </p:cNvPr>
          <p:cNvSpPr/>
          <p:nvPr/>
        </p:nvSpPr>
        <p:spPr>
          <a:xfrm>
            <a:off x="406957" y="1048362"/>
            <a:ext cx="4050158" cy="2018846"/>
          </a:xfrm>
          <a:prstGeom prst="roundRect">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tx1"/>
              </a:solidFill>
            </a:endParaRPr>
          </a:p>
        </p:txBody>
      </p:sp>
      <p:sp>
        <p:nvSpPr>
          <p:cNvPr id="3" name="Inhaltsplatzhalter 2">
            <a:extLst>
              <a:ext uri="{FF2B5EF4-FFF2-40B4-BE49-F238E27FC236}">
                <a16:creationId xmlns:a16="http://schemas.microsoft.com/office/drawing/2014/main" id="{6EB6DC46-13F7-45FF-9FB3-681FE2F7EE61}"/>
              </a:ext>
            </a:extLst>
          </p:cNvPr>
          <p:cNvSpPr>
            <a:spLocks noGrp="1"/>
          </p:cNvSpPr>
          <p:nvPr>
            <p:ph sz="half" idx="1"/>
          </p:nvPr>
        </p:nvSpPr>
        <p:spPr>
          <a:xfrm>
            <a:off x="490538" y="1131889"/>
            <a:ext cx="3893274" cy="1935319"/>
          </a:xfrm>
          <a:noFill/>
        </p:spPr>
        <p:txBody>
          <a:bodyPr/>
          <a:lstStyle/>
          <a:p>
            <a:pPr marL="0" indent="0">
              <a:buNone/>
            </a:pPr>
            <a:r>
              <a:rPr lang="en-US" sz="1600" b="1" u="sng"/>
              <a:t>Problem:</a:t>
            </a:r>
            <a:r>
              <a:rPr lang="en-US" sz="1600"/>
              <a:t> A larger number of wireless communication links increase risk of</a:t>
            </a:r>
          </a:p>
          <a:p>
            <a:r>
              <a:rPr lang="en-US" sz="1600" b="1"/>
              <a:t>Signal disruption</a:t>
            </a:r>
            <a:r>
              <a:rPr lang="en-US" sz="1600"/>
              <a:t>: Jamming links</a:t>
            </a:r>
          </a:p>
          <a:p>
            <a:r>
              <a:rPr lang="en-US" sz="1600" b="1"/>
              <a:t>Interception &amp; Manipulation</a:t>
            </a:r>
            <a:r>
              <a:rPr lang="en-US" sz="1600"/>
              <a:t>: </a:t>
            </a:r>
            <a:br>
              <a:rPr lang="en-US" sz="1600"/>
            </a:br>
            <a:r>
              <a:rPr lang="en-US" sz="1600"/>
              <a:t>Attackers can eavesdrop communication</a:t>
            </a:r>
          </a:p>
          <a:p>
            <a:r>
              <a:rPr lang="en-US" sz="1600" b="1"/>
              <a:t>Supply Chain Risks</a:t>
            </a:r>
            <a:r>
              <a:rPr lang="en-US" sz="1600"/>
              <a:t>: Software vulnerabilities may compromise network</a:t>
            </a:r>
          </a:p>
        </p:txBody>
      </p:sp>
    </p:spTree>
    <p:extLst>
      <p:ext uri="{BB962C8B-B14F-4D97-AF65-F5344CB8AC3E}">
        <p14:creationId xmlns:p14="http://schemas.microsoft.com/office/powerpoint/2010/main" val="1308736631"/>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8F7137-B899-F8BF-A80C-F71C0D465E8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F949FB-5A60-26B9-0021-61A653D3DB64}"/>
              </a:ext>
            </a:extLst>
          </p:cNvPr>
          <p:cNvSpPr>
            <a:spLocks noGrp="1"/>
          </p:cNvSpPr>
          <p:nvPr>
            <p:ph type="title"/>
          </p:nvPr>
        </p:nvSpPr>
        <p:spPr/>
        <p:txBody>
          <a:bodyPr/>
          <a:lstStyle/>
          <a:p>
            <a:r>
              <a:rPr lang="en-US" noProof="0"/>
              <a:t>3D Networks: Security from Design to Deployment</a:t>
            </a:r>
            <a:endParaRPr lang="en-US"/>
          </a:p>
        </p:txBody>
      </p:sp>
      <p:pic>
        <p:nvPicPr>
          <p:cNvPr id="8" name="Inhaltsplatzhalter 11">
            <a:extLst>
              <a:ext uri="{FF2B5EF4-FFF2-40B4-BE49-F238E27FC236}">
                <a16:creationId xmlns:a16="http://schemas.microsoft.com/office/drawing/2014/main" id="{096F7CEF-4F52-F528-4F8F-7D865AB53952}"/>
              </a:ext>
            </a:extLst>
          </p:cNvPr>
          <p:cNvPicPr>
            <a:picLocks noChangeAspect="1"/>
          </p:cNvPicPr>
          <p:nvPr/>
        </p:nvPicPr>
        <p:blipFill rotWithShape="1">
          <a:blip r:embed="rId3">
            <a:duotone>
              <a:srgbClr val="4472C4">
                <a:shade val="45000"/>
                <a:satMod val="135000"/>
              </a:srgbClr>
              <a:prstClr val="white"/>
            </a:duotone>
            <a:extLst>
              <a:ext uri="{28A0092B-C50C-407E-A947-70E740481C1C}">
                <a14:useLocalDpi xmlns:a14="http://schemas.microsoft.com/office/drawing/2010/main" val="0"/>
              </a:ext>
            </a:extLst>
          </a:blip>
          <a:srcRect l="9403" t="2699" r="54756" b="8802"/>
          <a:stretch/>
        </p:blipFill>
        <p:spPr>
          <a:xfrm>
            <a:off x="824913" y="4118476"/>
            <a:ext cx="413382" cy="1169819"/>
          </a:xfrm>
          <a:prstGeom prst="rect">
            <a:avLst/>
          </a:prstGeom>
        </p:spPr>
      </p:pic>
      <p:pic>
        <p:nvPicPr>
          <p:cNvPr id="14" name="Inhaltsplatzhalter 11">
            <a:extLst>
              <a:ext uri="{FF2B5EF4-FFF2-40B4-BE49-F238E27FC236}">
                <a16:creationId xmlns:a16="http://schemas.microsoft.com/office/drawing/2014/main" id="{82FA3726-F933-DC7D-DDBD-E9E12A98C6C7}"/>
              </a:ext>
            </a:extLst>
          </p:cNvPr>
          <p:cNvPicPr>
            <a:picLocks noChangeAspect="1"/>
          </p:cNvPicPr>
          <p:nvPr/>
        </p:nvPicPr>
        <p:blipFill rotWithShape="1">
          <a:blip r:embed="rId3">
            <a:duotone>
              <a:srgbClr val="4472C4">
                <a:shade val="45000"/>
                <a:satMod val="135000"/>
              </a:srgbClr>
              <a:prstClr val="white"/>
            </a:duotone>
            <a:extLst>
              <a:ext uri="{28A0092B-C50C-407E-A947-70E740481C1C}">
                <a14:useLocalDpi xmlns:a14="http://schemas.microsoft.com/office/drawing/2010/main" val="0"/>
              </a:ext>
            </a:extLst>
          </a:blip>
          <a:srcRect l="9403" t="2699" r="54756" b="8802"/>
          <a:stretch/>
        </p:blipFill>
        <p:spPr>
          <a:xfrm>
            <a:off x="9696855" y="4005776"/>
            <a:ext cx="413382" cy="1169819"/>
          </a:xfrm>
          <a:prstGeom prst="rect">
            <a:avLst/>
          </a:prstGeom>
        </p:spPr>
      </p:pic>
      <p:sp>
        <p:nvSpPr>
          <p:cNvPr id="15" name="Textfeld 79">
            <a:extLst>
              <a:ext uri="{FF2B5EF4-FFF2-40B4-BE49-F238E27FC236}">
                <a16:creationId xmlns:a16="http://schemas.microsoft.com/office/drawing/2014/main" id="{4234D0FB-1165-16BC-9161-DD1290FABFBD}"/>
              </a:ext>
            </a:extLst>
          </p:cNvPr>
          <p:cNvSpPr txBox="1"/>
          <p:nvPr/>
        </p:nvSpPr>
        <p:spPr>
          <a:xfrm>
            <a:off x="9477788" y="5092508"/>
            <a:ext cx="851515" cy="253916"/>
          </a:xfrm>
          <a:prstGeom prst="rect">
            <a:avLst/>
          </a:prstGeom>
          <a:noFill/>
        </p:spPr>
        <p:txBody>
          <a:bodyPr wrap="none" rtlCol="0">
            <a:spAutoFit/>
          </a:bodyPr>
          <a:lstStyle/>
          <a:p>
            <a:pPr>
              <a:defRPr/>
            </a:pPr>
            <a:r>
              <a:rPr lang="en-US" sz="1050" kern="0">
                <a:solidFill>
                  <a:schemeClr val="accent1">
                    <a:lumMod val="75000"/>
                  </a:schemeClr>
                </a:solidFill>
              </a:rPr>
              <a:t>Base station</a:t>
            </a:r>
          </a:p>
        </p:txBody>
      </p:sp>
      <p:grpSp>
        <p:nvGrpSpPr>
          <p:cNvPr id="21" name="Group 20">
            <a:extLst>
              <a:ext uri="{FF2B5EF4-FFF2-40B4-BE49-F238E27FC236}">
                <a16:creationId xmlns:a16="http://schemas.microsoft.com/office/drawing/2014/main" id="{E7634335-7E42-1369-9C43-544BDA691322}"/>
              </a:ext>
            </a:extLst>
          </p:cNvPr>
          <p:cNvGrpSpPr/>
          <p:nvPr/>
        </p:nvGrpSpPr>
        <p:grpSpPr>
          <a:xfrm>
            <a:off x="1429738" y="4586410"/>
            <a:ext cx="363940" cy="581068"/>
            <a:chOff x="8397385" y="4381221"/>
            <a:chExt cx="363940" cy="581068"/>
          </a:xfrm>
        </p:grpSpPr>
        <p:pic>
          <p:nvPicPr>
            <p:cNvPr id="9" name="Grafik 72">
              <a:extLst>
                <a:ext uri="{FF2B5EF4-FFF2-40B4-BE49-F238E27FC236}">
                  <a16:creationId xmlns:a16="http://schemas.microsoft.com/office/drawing/2014/main" id="{4A2E2327-A674-3751-0B9F-C6EB5DBEF307}"/>
                </a:ext>
              </a:extLst>
            </p:cNvPr>
            <p:cNvPicPr>
              <a:picLocks noChangeAspect="1"/>
            </p:cNvPicPr>
            <p:nvPr/>
          </p:nvPicPr>
          <p:blipFill rotWithShape="1">
            <a:blip r:embed="rId4" cstate="print">
              <a:duotone>
                <a:srgbClr val="4472C4">
                  <a:shade val="45000"/>
                  <a:satMod val="135000"/>
                </a:srgbClr>
                <a:prstClr val="white"/>
              </a:duotone>
              <a:extLst>
                <a:ext uri="{28A0092B-C50C-407E-A947-70E740481C1C}">
                  <a14:useLocalDpi xmlns:a14="http://schemas.microsoft.com/office/drawing/2010/main" val="0"/>
                </a:ext>
              </a:extLst>
            </a:blip>
            <a:srcRect l="28161" r="29513"/>
            <a:stretch/>
          </p:blipFill>
          <p:spPr>
            <a:xfrm>
              <a:off x="8397385" y="4381221"/>
              <a:ext cx="363940" cy="581068"/>
            </a:xfrm>
            <a:prstGeom prst="rect">
              <a:avLst/>
            </a:prstGeom>
          </p:spPr>
        </p:pic>
        <p:sp>
          <p:nvSpPr>
            <p:cNvPr id="16" name="TextBox 15">
              <a:extLst>
                <a:ext uri="{FF2B5EF4-FFF2-40B4-BE49-F238E27FC236}">
                  <a16:creationId xmlns:a16="http://schemas.microsoft.com/office/drawing/2014/main" id="{18DC3F02-1DE4-0B72-0E45-A94BFA74F8F1}"/>
                </a:ext>
              </a:extLst>
            </p:cNvPr>
            <p:cNvSpPr txBox="1"/>
            <p:nvPr/>
          </p:nvSpPr>
          <p:spPr>
            <a:xfrm>
              <a:off x="8401931" y="4533255"/>
              <a:ext cx="359394" cy="276999"/>
            </a:xfrm>
            <a:prstGeom prst="rect">
              <a:avLst/>
            </a:prstGeom>
            <a:noFill/>
          </p:spPr>
          <p:txBody>
            <a:bodyPr wrap="none" rtlCol="0">
              <a:spAutoFit/>
            </a:bodyPr>
            <a:lstStyle/>
            <a:p>
              <a:r>
                <a:rPr lang="de-DE" sz="1200">
                  <a:solidFill>
                    <a:schemeClr val="accent1">
                      <a:lumMod val="75000"/>
                    </a:schemeClr>
                  </a:solidFill>
                </a:rPr>
                <a:t>UE</a:t>
              </a:r>
              <a:endParaRPr lang="de-DE" sz="1400">
                <a:solidFill>
                  <a:schemeClr val="accent1">
                    <a:lumMod val="75000"/>
                  </a:schemeClr>
                </a:solidFill>
              </a:endParaRPr>
            </a:p>
          </p:txBody>
        </p:sp>
      </p:grpSp>
      <p:sp>
        <p:nvSpPr>
          <p:cNvPr id="22" name="Textfeld 79">
            <a:extLst>
              <a:ext uri="{FF2B5EF4-FFF2-40B4-BE49-F238E27FC236}">
                <a16:creationId xmlns:a16="http://schemas.microsoft.com/office/drawing/2014/main" id="{B90D3BA6-BC7E-2004-AD22-B63E6734D4DF}"/>
              </a:ext>
            </a:extLst>
          </p:cNvPr>
          <p:cNvSpPr txBox="1"/>
          <p:nvPr/>
        </p:nvSpPr>
        <p:spPr>
          <a:xfrm>
            <a:off x="9497782" y="3808090"/>
            <a:ext cx="870751" cy="230832"/>
          </a:xfrm>
          <a:prstGeom prst="rect">
            <a:avLst/>
          </a:prstGeom>
          <a:noFill/>
        </p:spPr>
        <p:txBody>
          <a:bodyPr wrap="none" rtlCol="0">
            <a:spAutoFit/>
          </a:bodyPr>
          <a:lstStyle/>
          <a:p>
            <a:pPr>
              <a:defRPr/>
            </a:pPr>
            <a:r>
              <a:rPr lang="en-US" sz="900" kern="0">
                <a:solidFill>
                  <a:schemeClr val="accent1">
                    <a:lumMod val="75000"/>
                  </a:schemeClr>
                </a:solidFill>
              </a:rPr>
              <a:t>Terrestrial NW</a:t>
            </a:r>
          </a:p>
        </p:txBody>
      </p:sp>
      <p:pic>
        <p:nvPicPr>
          <p:cNvPr id="27" name="Grafik 29">
            <a:extLst>
              <a:ext uri="{FF2B5EF4-FFF2-40B4-BE49-F238E27FC236}">
                <a16:creationId xmlns:a16="http://schemas.microsoft.com/office/drawing/2014/main" id="{6A9FB444-FC52-9E96-07CF-47DFBE5DE233}"/>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7999054" y="4427861"/>
            <a:ext cx="272343" cy="574347"/>
          </a:xfrm>
          <a:prstGeom prst="rect">
            <a:avLst/>
          </a:prstGeom>
        </p:spPr>
      </p:pic>
      <p:pic>
        <p:nvPicPr>
          <p:cNvPr id="28" name="Grafik 30">
            <a:extLst>
              <a:ext uri="{FF2B5EF4-FFF2-40B4-BE49-F238E27FC236}">
                <a16:creationId xmlns:a16="http://schemas.microsoft.com/office/drawing/2014/main" id="{551B0993-E53F-6F55-7C90-00898EEDF87D}"/>
              </a:ext>
            </a:extLst>
          </p:cNvPr>
          <p:cNvPicPr>
            <a:picLocks noChangeAspect="1"/>
          </p:cNvPicPr>
          <p:nvPr/>
        </p:nvPicPr>
        <p:blipFill>
          <a:blip r:embed="rId6">
            <a:clrChange>
              <a:clrFrom>
                <a:srgbClr val="FFFFFA"/>
              </a:clrFrom>
              <a:clrTo>
                <a:srgbClr val="FFFFFA">
                  <a:alpha val="0"/>
                </a:srgbClr>
              </a:clrTo>
            </a:clrChange>
          </a:blip>
          <a:stretch>
            <a:fillRect/>
          </a:stretch>
        </p:blipFill>
        <p:spPr>
          <a:xfrm>
            <a:off x="6780863" y="4013391"/>
            <a:ext cx="303582" cy="783758"/>
          </a:xfrm>
          <a:prstGeom prst="rect">
            <a:avLst/>
          </a:prstGeom>
        </p:spPr>
      </p:pic>
      <p:pic>
        <p:nvPicPr>
          <p:cNvPr id="29" name="Grafik 31">
            <a:extLst>
              <a:ext uri="{FF2B5EF4-FFF2-40B4-BE49-F238E27FC236}">
                <a16:creationId xmlns:a16="http://schemas.microsoft.com/office/drawing/2014/main" id="{08345775-D393-9894-F64E-02E3DEF902F9}"/>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7255472" y="3913185"/>
            <a:ext cx="417071" cy="852147"/>
          </a:xfrm>
          <a:prstGeom prst="rect">
            <a:avLst/>
          </a:prstGeom>
        </p:spPr>
      </p:pic>
      <p:pic>
        <p:nvPicPr>
          <p:cNvPr id="30" name="Grafik 32">
            <a:extLst>
              <a:ext uri="{FF2B5EF4-FFF2-40B4-BE49-F238E27FC236}">
                <a16:creationId xmlns:a16="http://schemas.microsoft.com/office/drawing/2014/main" id="{13DB17BD-B134-C3E9-CE4A-C71DF9EC7F65}"/>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7033369" y="4285937"/>
            <a:ext cx="304132" cy="582960"/>
          </a:xfrm>
          <a:prstGeom prst="rect">
            <a:avLst/>
          </a:prstGeom>
        </p:spPr>
      </p:pic>
      <p:pic>
        <p:nvPicPr>
          <p:cNvPr id="31" name="Grafik 34">
            <a:extLst>
              <a:ext uri="{FF2B5EF4-FFF2-40B4-BE49-F238E27FC236}">
                <a16:creationId xmlns:a16="http://schemas.microsoft.com/office/drawing/2014/main" id="{DE94FE84-6CF8-07FC-8F63-E83B87289F0A}"/>
              </a:ext>
            </a:extLst>
          </p:cNvPr>
          <p:cNvPicPr>
            <a:picLocks noChangeAspect="1"/>
          </p:cNvPicPr>
          <p:nvPr/>
        </p:nvPicPr>
        <p:blipFill>
          <a:blip r:embed="rId6">
            <a:clrChange>
              <a:clrFrom>
                <a:srgbClr val="FFFFFA"/>
              </a:clrFrom>
              <a:clrTo>
                <a:srgbClr val="FFFFFA">
                  <a:alpha val="0"/>
                </a:srgbClr>
              </a:clrTo>
            </a:clrChange>
          </a:blip>
          <a:stretch>
            <a:fillRect/>
          </a:stretch>
        </p:blipFill>
        <p:spPr>
          <a:xfrm>
            <a:off x="7601164" y="3874159"/>
            <a:ext cx="303582" cy="783758"/>
          </a:xfrm>
          <a:prstGeom prst="rect">
            <a:avLst/>
          </a:prstGeom>
        </p:spPr>
      </p:pic>
      <p:pic>
        <p:nvPicPr>
          <p:cNvPr id="32" name="Grafik 35">
            <a:extLst>
              <a:ext uri="{FF2B5EF4-FFF2-40B4-BE49-F238E27FC236}">
                <a16:creationId xmlns:a16="http://schemas.microsoft.com/office/drawing/2014/main" id="{72D6D390-D597-72C2-FDDC-C20A1718C47B}"/>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8440782" y="4725422"/>
            <a:ext cx="523687" cy="395966"/>
          </a:xfrm>
          <a:prstGeom prst="rect">
            <a:avLst/>
          </a:prstGeom>
        </p:spPr>
      </p:pic>
      <p:pic>
        <p:nvPicPr>
          <p:cNvPr id="33" name="Grafik 63">
            <a:extLst>
              <a:ext uri="{FF2B5EF4-FFF2-40B4-BE49-F238E27FC236}">
                <a16:creationId xmlns:a16="http://schemas.microsoft.com/office/drawing/2014/main" id="{8D0D1A79-4FD0-7C41-5FA3-399B29B44AE8}"/>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7820601" y="4369271"/>
            <a:ext cx="219249" cy="447962"/>
          </a:xfrm>
          <a:prstGeom prst="rect">
            <a:avLst/>
          </a:prstGeom>
        </p:spPr>
      </p:pic>
      <p:pic>
        <p:nvPicPr>
          <p:cNvPr id="34" name="Inhaltsplatzhalter 11">
            <a:extLst>
              <a:ext uri="{FF2B5EF4-FFF2-40B4-BE49-F238E27FC236}">
                <a16:creationId xmlns:a16="http://schemas.microsoft.com/office/drawing/2014/main" id="{814F5D1F-78A2-729A-92BD-D55ED59AD41A}"/>
              </a:ext>
            </a:extLst>
          </p:cNvPr>
          <p:cNvPicPr>
            <a:picLocks noChangeAspect="1"/>
          </p:cNvPicPr>
          <p:nvPr/>
        </p:nvPicPr>
        <p:blipFill rotWithShape="1">
          <a:blip r:embed="rId3">
            <a:duotone>
              <a:srgbClr val="4472C4">
                <a:shade val="45000"/>
                <a:satMod val="135000"/>
              </a:srgbClr>
              <a:prstClr val="white"/>
            </a:duotone>
            <a:extLst>
              <a:ext uri="{28A0092B-C50C-407E-A947-70E740481C1C}">
                <a14:useLocalDpi xmlns:a14="http://schemas.microsoft.com/office/drawing/2010/main" val="0"/>
              </a:ext>
            </a:extLst>
          </a:blip>
          <a:srcRect l="9403" t="2699" r="54756" b="8802"/>
          <a:stretch/>
        </p:blipFill>
        <p:spPr>
          <a:xfrm>
            <a:off x="9703117" y="4001501"/>
            <a:ext cx="413382" cy="1169819"/>
          </a:xfrm>
          <a:prstGeom prst="rect">
            <a:avLst/>
          </a:prstGeom>
        </p:spPr>
      </p:pic>
      <p:sp>
        <p:nvSpPr>
          <p:cNvPr id="35" name="Textfeld 79">
            <a:extLst>
              <a:ext uri="{FF2B5EF4-FFF2-40B4-BE49-F238E27FC236}">
                <a16:creationId xmlns:a16="http://schemas.microsoft.com/office/drawing/2014/main" id="{CB636642-AB48-0FB4-D12B-EBD3C4BB063A}"/>
              </a:ext>
            </a:extLst>
          </p:cNvPr>
          <p:cNvSpPr txBox="1"/>
          <p:nvPr/>
        </p:nvSpPr>
        <p:spPr>
          <a:xfrm>
            <a:off x="9477788" y="5092508"/>
            <a:ext cx="851515" cy="253916"/>
          </a:xfrm>
          <a:prstGeom prst="rect">
            <a:avLst/>
          </a:prstGeom>
          <a:noFill/>
        </p:spPr>
        <p:txBody>
          <a:bodyPr wrap="none" rtlCol="0">
            <a:spAutoFit/>
          </a:bodyPr>
          <a:lstStyle/>
          <a:p>
            <a:pPr>
              <a:defRPr/>
            </a:pPr>
            <a:r>
              <a:rPr lang="en-US" sz="1050" kern="0">
                <a:solidFill>
                  <a:schemeClr val="accent1">
                    <a:lumMod val="75000"/>
                  </a:schemeClr>
                </a:solidFill>
              </a:rPr>
              <a:t>Base station</a:t>
            </a:r>
          </a:p>
        </p:txBody>
      </p:sp>
      <p:cxnSp>
        <p:nvCxnSpPr>
          <p:cNvPr id="39" name="Gerader Verbinder 45">
            <a:extLst>
              <a:ext uri="{FF2B5EF4-FFF2-40B4-BE49-F238E27FC236}">
                <a16:creationId xmlns:a16="http://schemas.microsoft.com/office/drawing/2014/main" id="{5F535A03-6858-2F9C-D561-413FDB0F5480}"/>
              </a:ext>
            </a:extLst>
          </p:cNvPr>
          <p:cNvCxnSpPr>
            <a:cxnSpLocks/>
          </p:cNvCxnSpPr>
          <p:nvPr/>
        </p:nvCxnSpPr>
        <p:spPr>
          <a:xfrm flipV="1">
            <a:off x="8392678" y="4006371"/>
            <a:ext cx="1404057" cy="71905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0" name="Gerader Verbinder 46">
            <a:extLst>
              <a:ext uri="{FF2B5EF4-FFF2-40B4-BE49-F238E27FC236}">
                <a16:creationId xmlns:a16="http://schemas.microsoft.com/office/drawing/2014/main" id="{1B8C8400-66EF-39F5-AAD5-D824FCBB1B32}"/>
              </a:ext>
            </a:extLst>
          </p:cNvPr>
          <p:cNvCxnSpPr>
            <a:cxnSpLocks/>
          </p:cNvCxnSpPr>
          <p:nvPr/>
        </p:nvCxnSpPr>
        <p:spPr>
          <a:xfrm>
            <a:off x="10086104" y="4001501"/>
            <a:ext cx="756519" cy="529730"/>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41" name="Freihandform: Form 25">
            <a:extLst>
              <a:ext uri="{FF2B5EF4-FFF2-40B4-BE49-F238E27FC236}">
                <a16:creationId xmlns:a16="http://schemas.microsoft.com/office/drawing/2014/main" id="{C457F3C3-562B-3EDC-17FF-2A8C8354D6F8}"/>
              </a:ext>
            </a:extLst>
          </p:cNvPr>
          <p:cNvSpPr/>
          <p:nvPr/>
        </p:nvSpPr>
        <p:spPr>
          <a:xfrm>
            <a:off x="5426493" y="3991947"/>
            <a:ext cx="5434628" cy="1453919"/>
          </a:xfrm>
          <a:custGeom>
            <a:avLst/>
            <a:gdLst>
              <a:gd name="connsiteX0" fmla="*/ 354439 w 6305329"/>
              <a:gd name="connsiteY0" fmla="*/ 1307886 h 1602253"/>
              <a:gd name="connsiteX1" fmla="*/ 685179 w 6305329"/>
              <a:gd name="connsiteY1" fmla="*/ 1230065 h 1602253"/>
              <a:gd name="connsiteX2" fmla="*/ 1054830 w 6305329"/>
              <a:gd name="connsiteY2" fmla="*/ 481035 h 1602253"/>
              <a:gd name="connsiteX3" fmla="*/ 1278566 w 6305329"/>
              <a:gd name="connsiteY3" fmla="*/ 4380 h 1602253"/>
              <a:gd name="connsiteX4" fmla="*/ 1570396 w 6305329"/>
              <a:gd name="connsiteY4" fmla="*/ 753409 h 1602253"/>
              <a:gd name="connsiteX5" fmla="*/ 2134600 w 6305329"/>
              <a:gd name="connsiteY5" fmla="*/ 918780 h 1602253"/>
              <a:gd name="connsiteX6" fmla="*/ 2562617 w 6305329"/>
              <a:gd name="connsiteY6" fmla="*/ 665860 h 1602253"/>
              <a:gd name="connsiteX7" fmla="*/ 3019817 w 6305329"/>
              <a:gd name="connsiteY7" fmla="*/ 977146 h 1602253"/>
              <a:gd name="connsiteX8" fmla="*/ 3807758 w 6305329"/>
              <a:gd name="connsiteY8" fmla="*/ 1220337 h 1602253"/>
              <a:gd name="connsiteX9" fmla="*/ 5850566 w 6305329"/>
              <a:gd name="connsiteY9" fmla="*/ 1278703 h 1602253"/>
              <a:gd name="connsiteX10" fmla="*/ 5801928 w 6305329"/>
              <a:gd name="connsiteY10" fmla="*/ 1580260 h 1602253"/>
              <a:gd name="connsiteX11" fmla="*/ 432260 w 6305329"/>
              <a:gd name="connsiteY11" fmla="*/ 1551077 h 1602253"/>
              <a:gd name="connsiteX12" fmla="*/ 354439 w 6305329"/>
              <a:gd name="connsiteY12" fmla="*/ 1307886 h 160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5329" h="1602253">
                <a:moveTo>
                  <a:pt x="354439" y="1307886"/>
                </a:moveTo>
                <a:cubicBezTo>
                  <a:pt x="396592" y="1254384"/>
                  <a:pt x="568447" y="1367874"/>
                  <a:pt x="685179" y="1230065"/>
                </a:cubicBezTo>
                <a:cubicBezTo>
                  <a:pt x="801911" y="1092256"/>
                  <a:pt x="955932" y="685316"/>
                  <a:pt x="1054830" y="481035"/>
                </a:cubicBezTo>
                <a:cubicBezTo>
                  <a:pt x="1153728" y="276754"/>
                  <a:pt x="1192638" y="-41016"/>
                  <a:pt x="1278566" y="4380"/>
                </a:cubicBezTo>
                <a:cubicBezTo>
                  <a:pt x="1364494" y="49776"/>
                  <a:pt x="1427724" y="601009"/>
                  <a:pt x="1570396" y="753409"/>
                </a:cubicBezTo>
                <a:cubicBezTo>
                  <a:pt x="1713068" y="905809"/>
                  <a:pt x="1969230" y="933371"/>
                  <a:pt x="2134600" y="918780"/>
                </a:cubicBezTo>
                <a:cubicBezTo>
                  <a:pt x="2299970" y="904189"/>
                  <a:pt x="2415081" y="656132"/>
                  <a:pt x="2562617" y="665860"/>
                </a:cubicBezTo>
                <a:cubicBezTo>
                  <a:pt x="2710153" y="675588"/>
                  <a:pt x="2812294" y="884733"/>
                  <a:pt x="3019817" y="977146"/>
                </a:cubicBezTo>
                <a:cubicBezTo>
                  <a:pt x="3227341" y="1069559"/>
                  <a:pt x="3335967" y="1170078"/>
                  <a:pt x="3807758" y="1220337"/>
                </a:cubicBezTo>
                <a:cubicBezTo>
                  <a:pt x="4279549" y="1270596"/>
                  <a:pt x="5518204" y="1218716"/>
                  <a:pt x="5850566" y="1278703"/>
                </a:cubicBezTo>
                <a:cubicBezTo>
                  <a:pt x="6182928" y="1338690"/>
                  <a:pt x="6704979" y="1534864"/>
                  <a:pt x="5801928" y="1580260"/>
                </a:cubicBezTo>
                <a:cubicBezTo>
                  <a:pt x="4898877" y="1625656"/>
                  <a:pt x="1333690" y="1593230"/>
                  <a:pt x="432260" y="1551077"/>
                </a:cubicBezTo>
                <a:cubicBezTo>
                  <a:pt x="-469170" y="1508924"/>
                  <a:pt x="312286" y="1361388"/>
                  <a:pt x="354439" y="1307886"/>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3"/>
          </a:p>
        </p:txBody>
      </p:sp>
      <p:pic>
        <p:nvPicPr>
          <p:cNvPr id="7" name="Graphic 6" descr="Satellite outline">
            <a:extLst>
              <a:ext uri="{FF2B5EF4-FFF2-40B4-BE49-F238E27FC236}">
                <a16:creationId xmlns:a16="http://schemas.microsoft.com/office/drawing/2014/main" id="{6DF8B4C8-3C9E-6BF1-D4A3-02043EF433D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999181" y="856579"/>
            <a:ext cx="614182" cy="614182"/>
          </a:xfrm>
          <a:prstGeom prst="rect">
            <a:avLst/>
          </a:prstGeom>
        </p:spPr>
      </p:pic>
      <p:sp>
        <p:nvSpPr>
          <p:cNvPr id="19" name="Textfeld 79">
            <a:extLst>
              <a:ext uri="{FF2B5EF4-FFF2-40B4-BE49-F238E27FC236}">
                <a16:creationId xmlns:a16="http://schemas.microsoft.com/office/drawing/2014/main" id="{2D556E74-D5FF-8149-52C6-319F993AB489}"/>
              </a:ext>
            </a:extLst>
          </p:cNvPr>
          <p:cNvSpPr txBox="1"/>
          <p:nvPr/>
        </p:nvSpPr>
        <p:spPr>
          <a:xfrm>
            <a:off x="7760289" y="672742"/>
            <a:ext cx="1091966" cy="230832"/>
          </a:xfrm>
          <a:prstGeom prst="rect">
            <a:avLst/>
          </a:prstGeom>
          <a:noFill/>
        </p:spPr>
        <p:txBody>
          <a:bodyPr wrap="none" rtlCol="0">
            <a:spAutoFit/>
          </a:bodyPr>
          <a:lstStyle/>
          <a:p>
            <a:pPr>
              <a:defRPr/>
            </a:pPr>
            <a:r>
              <a:rPr lang="en-US" sz="900" kern="0">
                <a:solidFill>
                  <a:schemeClr val="accent1">
                    <a:lumMod val="75000"/>
                  </a:schemeClr>
                </a:solidFill>
              </a:rPr>
              <a:t>Non-Terrestrial NW</a:t>
            </a:r>
          </a:p>
        </p:txBody>
      </p:sp>
      <p:cxnSp>
        <p:nvCxnSpPr>
          <p:cNvPr id="20" name="Gerader Verbinder 45">
            <a:extLst>
              <a:ext uri="{FF2B5EF4-FFF2-40B4-BE49-F238E27FC236}">
                <a16:creationId xmlns:a16="http://schemas.microsoft.com/office/drawing/2014/main" id="{C9A0A3A3-C3F6-00E5-7A42-3391A3CBCA02}"/>
              </a:ext>
            </a:extLst>
          </p:cNvPr>
          <p:cNvCxnSpPr>
            <a:cxnSpLocks/>
          </p:cNvCxnSpPr>
          <p:nvPr/>
        </p:nvCxnSpPr>
        <p:spPr>
          <a:xfrm flipV="1">
            <a:off x="6707874" y="878164"/>
            <a:ext cx="1404057" cy="71905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3" name="Gerader Verbinder 46">
            <a:extLst>
              <a:ext uri="{FF2B5EF4-FFF2-40B4-BE49-F238E27FC236}">
                <a16:creationId xmlns:a16="http://schemas.microsoft.com/office/drawing/2014/main" id="{A15C3DD9-267E-13BC-9667-423B8D3F4B60}"/>
              </a:ext>
            </a:extLst>
          </p:cNvPr>
          <p:cNvCxnSpPr>
            <a:cxnSpLocks/>
          </p:cNvCxnSpPr>
          <p:nvPr/>
        </p:nvCxnSpPr>
        <p:spPr>
          <a:xfrm>
            <a:off x="8440782" y="878164"/>
            <a:ext cx="1415565" cy="74232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pic>
        <p:nvPicPr>
          <p:cNvPr id="6" name="Graphic 5" descr="Satellite outline">
            <a:extLst>
              <a:ext uri="{FF2B5EF4-FFF2-40B4-BE49-F238E27FC236}">
                <a16:creationId xmlns:a16="http://schemas.microsoft.com/office/drawing/2014/main" id="{62F354D2-146E-78BC-17C8-C508A3C85BF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064305" y="1135612"/>
            <a:ext cx="614182" cy="614182"/>
          </a:xfrm>
          <a:prstGeom prst="rect">
            <a:avLst/>
          </a:prstGeom>
        </p:spPr>
      </p:pic>
      <p:sp>
        <p:nvSpPr>
          <p:cNvPr id="10" name="Textfeld 79">
            <a:extLst>
              <a:ext uri="{FF2B5EF4-FFF2-40B4-BE49-F238E27FC236}">
                <a16:creationId xmlns:a16="http://schemas.microsoft.com/office/drawing/2014/main" id="{4E9AB0D4-2C84-DBB2-2D0A-7C3C65C890BC}"/>
              </a:ext>
            </a:extLst>
          </p:cNvPr>
          <p:cNvSpPr txBox="1"/>
          <p:nvPr/>
        </p:nvSpPr>
        <p:spPr>
          <a:xfrm>
            <a:off x="4825413" y="951775"/>
            <a:ext cx="1091966" cy="230832"/>
          </a:xfrm>
          <a:prstGeom prst="rect">
            <a:avLst/>
          </a:prstGeom>
          <a:noFill/>
        </p:spPr>
        <p:txBody>
          <a:bodyPr wrap="none" rtlCol="0">
            <a:spAutoFit/>
          </a:bodyPr>
          <a:lstStyle/>
          <a:p>
            <a:pPr>
              <a:defRPr/>
            </a:pPr>
            <a:r>
              <a:rPr lang="en-US" sz="900" kern="0">
                <a:solidFill>
                  <a:schemeClr val="accent1">
                    <a:lumMod val="75000"/>
                  </a:schemeClr>
                </a:solidFill>
              </a:rPr>
              <a:t>Non-Terrestrial NW</a:t>
            </a:r>
          </a:p>
        </p:txBody>
      </p:sp>
      <p:cxnSp>
        <p:nvCxnSpPr>
          <p:cNvPr id="12" name="Gerader Verbinder 45">
            <a:extLst>
              <a:ext uri="{FF2B5EF4-FFF2-40B4-BE49-F238E27FC236}">
                <a16:creationId xmlns:a16="http://schemas.microsoft.com/office/drawing/2014/main" id="{CD632064-C1C0-D019-D989-5EE6605EBC20}"/>
              </a:ext>
            </a:extLst>
          </p:cNvPr>
          <p:cNvCxnSpPr>
            <a:cxnSpLocks/>
          </p:cNvCxnSpPr>
          <p:nvPr/>
        </p:nvCxnSpPr>
        <p:spPr>
          <a:xfrm flipV="1">
            <a:off x="3772998" y="1157197"/>
            <a:ext cx="1404057" cy="71905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3" name="Gerader Verbinder 46">
            <a:extLst>
              <a:ext uri="{FF2B5EF4-FFF2-40B4-BE49-F238E27FC236}">
                <a16:creationId xmlns:a16="http://schemas.microsoft.com/office/drawing/2014/main" id="{C6840C7C-E474-9969-BF94-F64842981892}"/>
              </a:ext>
            </a:extLst>
          </p:cNvPr>
          <p:cNvCxnSpPr>
            <a:cxnSpLocks/>
          </p:cNvCxnSpPr>
          <p:nvPr/>
        </p:nvCxnSpPr>
        <p:spPr>
          <a:xfrm>
            <a:off x="5505906" y="1157197"/>
            <a:ext cx="1400183" cy="725524"/>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pic>
        <p:nvPicPr>
          <p:cNvPr id="50" name="Grafik 30">
            <a:extLst>
              <a:ext uri="{FF2B5EF4-FFF2-40B4-BE49-F238E27FC236}">
                <a16:creationId xmlns:a16="http://schemas.microsoft.com/office/drawing/2014/main" id="{17DAAD46-B5FE-F1CC-5BD7-F38E3730CF97}"/>
              </a:ext>
            </a:extLst>
          </p:cNvPr>
          <p:cNvPicPr>
            <a:picLocks noChangeAspect="1"/>
          </p:cNvPicPr>
          <p:nvPr/>
        </p:nvPicPr>
        <p:blipFill>
          <a:blip r:embed="rId6">
            <a:clrChange>
              <a:clrFrom>
                <a:srgbClr val="FFFFFA"/>
              </a:clrFrom>
              <a:clrTo>
                <a:srgbClr val="FFFFFA">
                  <a:alpha val="0"/>
                </a:srgbClr>
              </a:clrTo>
            </a:clrChange>
          </a:blip>
          <a:stretch>
            <a:fillRect/>
          </a:stretch>
        </p:blipFill>
        <p:spPr>
          <a:xfrm>
            <a:off x="5275242" y="4013391"/>
            <a:ext cx="303582" cy="783758"/>
          </a:xfrm>
          <a:prstGeom prst="rect">
            <a:avLst/>
          </a:prstGeom>
        </p:spPr>
      </p:pic>
      <p:pic>
        <p:nvPicPr>
          <p:cNvPr id="51" name="Grafik 31">
            <a:extLst>
              <a:ext uri="{FF2B5EF4-FFF2-40B4-BE49-F238E27FC236}">
                <a16:creationId xmlns:a16="http://schemas.microsoft.com/office/drawing/2014/main" id="{18246BE9-18A1-F8CA-FE9D-B704D3FC35B7}"/>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5749851" y="3913185"/>
            <a:ext cx="417071" cy="852147"/>
          </a:xfrm>
          <a:prstGeom prst="rect">
            <a:avLst/>
          </a:prstGeom>
        </p:spPr>
      </p:pic>
      <p:pic>
        <p:nvPicPr>
          <p:cNvPr id="52" name="Grafik 32">
            <a:extLst>
              <a:ext uri="{FF2B5EF4-FFF2-40B4-BE49-F238E27FC236}">
                <a16:creationId xmlns:a16="http://schemas.microsoft.com/office/drawing/2014/main" id="{250A3366-3979-3EAD-BA57-D1CF0552F300}"/>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5527748" y="4285937"/>
            <a:ext cx="304132" cy="582960"/>
          </a:xfrm>
          <a:prstGeom prst="rect">
            <a:avLst/>
          </a:prstGeom>
        </p:spPr>
      </p:pic>
      <p:sp>
        <p:nvSpPr>
          <p:cNvPr id="55" name="Freihandform: Form 25">
            <a:extLst>
              <a:ext uri="{FF2B5EF4-FFF2-40B4-BE49-F238E27FC236}">
                <a16:creationId xmlns:a16="http://schemas.microsoft.com/office/drawing/2014/main" id="{4EBF1C39-4595-D48D-AC81-3AA382BCB2B9}"/>
              </a:ext>
            </a:extLst>
          </p:cNvPr>
          <p:cNvSpPr/>
          <p:nvPr/>
        </p:nvSpPr>
        <p:spPr>
          <a:xfrm>
            <a:off x="3920872" y="3991947"/>
            <a:ext cx="5434628" cy="1453919"/>
          </a:xfrm>
          <a:custGeom>
            <a:avLst/>
            <a:gdLst>
              <a:gd name="connsiteX0" fmla="*/ 354439 w 6305329"/>
              <a:gd name="connsiteY0" fmla="*/ 1307886 h 1602253"/>
              <a:gd name="connsiteX1" fmla="*/ 685179 w 6305329"/>
              <a:gd name="connsiteY1" fmla="*/ 1230065 h 1602253"/>
              <a:gd name="connsiteX2" fmla="*/ 1054830 w 6305329"/>
              <a:gd name="connsiteY2" fmla="*/ 481035 h 1602253"/>
              <a:gd name="connsiteX3" fmla="*/ 1278566 w 6305329"/>
              <a:gd name="connsiteY3" fmla="*/ 4380 h 1602253"/>
              <a:gd name="connsiteX4" fmla="*/ 1570396 w 6305329"/>
              <a:gd name="connsiteY4" fmla="*/ 753409 h 1602253"/>
              <a:gd name="connsiteX5" fmla="*/ 2134600 w 6305329"/>
              <a:gd name="connsiteY5" fmla="*/ 918780 h 1602253"/>
              <a:gd name="connsiteX6" fmla="*/ 2562617 w 6305329"/>
              <a:gd name="connsiteY6" fmla="*/ 665860 h 1602253"/>
              <a:gd name="connsiteX7" fmla="*/ 3019817 w 6305329"/>
              <a:gd name="connsiteY7" fmla="*/ 977146 h 1602253"/>
              <a:gd name="connsiteX8" fmla="*/ 3807758 w 6305329"/>
              <a:gd name="connsiteY8" fmla="*/ 1220337 h 1602253"/>
              <a:gd name="connsiteX9" fmla="*/ 5850566 w 6305329"/>
              <a:gd name="connsiteY9" fmla="*/ 1278703 h 1602253"/>
              <a:gd name="connsiteX10" fmla="*/ 5801928 w 6305329"/>
              <a:gd name="connsiteY10" fmla="*/ 1580260 h 1602253"/>
              <a:gd name="connsiteX11" fmla="*/ 432260 w 6305329"/>
              <a:gd name="connsiteY11" fmla="*/ 1551077 h 1602253"/>
              <a:gd name="connsiteX12" fmla="*/ 354439 w 6305329"/>
              <a:gd name="connsiteY12" fmla="*/ 1307886 h 160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5329" h="1602253">
                <a:moveTo>
                  <a:pt x="354439" y="1307886"/>
                </a:moveTo>
                <a:cubicBezTo>
                  <a:pt x="396592" y="1254384"/>
                  <a:pt x="568447" y="1367874"/>
                  <a:pt x="685179" y="1230065"/>
                </a:cubicBezTo>
                <a:cubicBezTo>
                  <a:pt x="801911" y="1092256"/>
                  <a:pt x="955932" y="685316"/>
                  <a:pt x="1054830" y="481035"/>
                </a:cubicBezTo>
                <a:cubicBezTo>
                  <a:pt x="1153728" y="276754"/>
                  <a:pt x="1192638" y="-41016"/>
                  <a:pt x="1278566" y="4380"/>
                </a:cubicBezTo>
                <a:cubicBezTo>
                  <a:pt x="1364494" y="49776"/>
                  <a:pt x="1427724" y="601009"/>
                  <a:pt x="1570396" y="753409"/>
                </a:cubicBezTo>
                <a:cubicBezTo>
                  <a:pt x="1713068" y="905809"/>
                  <a:pt x="1969230" y="933371"/>
                  <a:pt x="2134600" y="918780"/>
                </a:cubicBezTo>
                <a:cubicBezTo>
                  <a:pt x="2299970" y="904189"/>
                  <a:pt x="2415081" y="656132"/>
                  <a:pt x="2562617" y="665860"/>
                </a:cubicBezTo>
                <a:cubicBezTo>
                  <a:pt x="2710153" y="675588"/>
                  <a:pt x="2812294" y="884733"/>
                  <a:pt x="3019817" y="977146"/>
                </a:cubicBezTo>
                <a:cubicBezTo>
                  <a:pt x="3227341" y="1069559"/>
                  <a:pt x="3335967" y="1170078"/>
                  <a:pt x="3807758" y="1220337"/>
                </a:cubicBezTo>
                <a:cubicBezTo>
                  <a:pt x="4279549" y="1270596"/>
                  <a:pt x="5518204" y="1218716"/>
                  <a:pt x="5850566" y="1278703"/>
                </a:cubicBezTo>
                <a:cubicBezTo>
                  <a:pt x="6182928" y="1338690"/>
                  <a:pt x="6704979" y="1534864"/>
                  <a:pt x="5801928" y="1580260"/>
                </a:cubicBezTo>
                <a:cubicBezTo>
                  <a:pt x="4898877" y="1625656"/>
                  <a:pt x="1333690" y="1593230"/>
                  <a:pt x="432260" y="1551077"/>
                </a:cubicBezTo>
                <a:cubicBezTo>
                  <a:pt x="-469170" y="1508924"/>
                  <a:pt x="312286" y="1361388"/>
                  <a:pt x="354439" y="1307886"/>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3"/>
          </a:p>
        </p:txBody>
      </p:sp>
      <p:cxnSp>
        <p:nvCxnSpPr>
          <p:cNvPr id="57" name="Gerade Verbindung mit Pfeil 61">
            <a:extLst>
              <a:ext uri="{FF2B5EF4-FFF2-40B4-BE49-F238E27FC236}">
                <a16:creationId xmlns:a16="http://schemas.microsoft.com/office/drawing/2014/main" id="{0FB08BEA-9876-561E-37E6-48146533E9AF}"/>
              </a:ext>
            </a:extLst>
          </p:cNvPr>
          <p:cNvCxnSpPr>
            <a:cxnSpLocks/>
            <a:stCxn id="7" idx="1"/>
            <a:endCxn id="6" idx="3"/>
          </p:cNvCxnSpPr>
          <p:nvPr/>
        </p:nvCxnSpPr>
        <p:spPr>
          <a:xfrm flipH="1">
            <a:off x="5678487" y="1163670"/>
            <a:ext cx="2320694" cy="279033"/>
          </a:xfrm>
          <a:prstGeom prst="straightConnector1">
            <a:avLst/>
          </a:prstGeom>
          <a:noFill/>
          <a:ln w="19050" cap="flat" cmpd="sng" algn="ctr">
            <a:solidFill>
              <a:schemeClr val="accent1">
                <a:lumMod val="60000"/>
                <a:lumOff val="40000"/>
              </a:schemeClr>
            </a:solidFill>
            <a:prstDash val="solid"/>
            <a:miter lim="800000"/>
            <a:headEnd type="triangle" w="med" len="med"/>
            <a:tailEnd type="triangle" w="med" len="med"/>
          </a:ln>
          <a:effectLst/>
        </p:spPr>
      </p:cxnSp>
      <p:sp>
        <p:nvSpPr>
          <p:cNvPr id="64" name="Freihandform: Form 25">
            <a:extLst>
              <a:ext uri="{FF2B5EF4-FFF2-40B4-BE49-F238E27FC236}">
                <a16:creationId xmlns:a16="http://schemas.microsoft.com/office/drawing/2014/main" id="{02E2870D-7B8A-E6DB-ED7A-FCB5282372E0}"/>
              </a:ext>
            </a:extLst>
          </p:cNvPr>
          <p:cNvSpPr/>
          <p:nvPr/>
        </p:nvSpPr>
        <p:spPr>
          <a:xfrm flipH="1">
            <a:off x="202165" y="4466837"/>
            <a:ext cx="5476321" cy="985544"/>
          </a:xfrm>
          <a:custGeom>
            <a:avLst/>
            <a:gdLst>
              <a:gd name="connsiteX0" fmla="*/ 354439 w 6305329"/>
              <a:gd name="connsiteY0" fmla="*/ 1307886 h 1602253"/>
              <a:gd name="connsiteX1" fmla="*/ 685179 w 6305329"/>
              <a:gd name="connsiteY1" fmla="*/ 1230065 h 1602253"/>
              <a:gd name="connsiteX2" fmla="*/ 1054830 w 6305329"/>
              <a:gd name="connsiteY2" fmla="*/ 481035 h 1602253"/>
              <a:gd name="connsiteX3" fmla="*/ 1278566 w 6305329"/>
              <a:gd name="connsiteY3" fmla="*/ 4380 h 1602253"/>
              <a:gd name="connsiteX4" fmla="*/ 1570396 w 6305329"/>
              <a:gd name="connsiteY4" fmla="*/ 753409 h 1602253"/>
              <a:gd name="connsiteX5" fmla="*/ 2134600 w 6305329"/>
              <a:gd name="connsiteY5" fmla="*/ 918780 h 1602253"/>
              <a:gd name="connsiteX6" fmla="*/ 2562617 w 6305329"/>
              <a:gd name="connsiteY6" fmla="*/ 665860 h 1602253"/>
              <a:gd name="connsiteX7" fmla="*/ 3019817 w 6305329"/>
              <a:gd name="connsiteY7" fmla="*/ 977146 h 1602253"/>
              <a:gd name="connsiteX8" fmla="*/ 3807758 w 6305329"/>
              <a:gd name="connsiteY8" fmla="*/ 1220337 h 1602253"/>
              <a:gd name="connsiteX9" fmla="*/ 5850566 w 6305329"/>
              <a:gd name="connsiteY9" fmla="*/ 1278703 h 1602253"/>
              <a:gd name="connsiteX10" fmla="*/ 5801928 w 6305329"/>
              <a:gd name="connsiteY10" fmla="*/ 1580260 h 1602253"/>
              <a:gd name="connsiteX11" fmla="*/ 432260 w 6305329"/>
              <a:gd name="connsiteY11" fmla="*/ 1551077 h 1602253"/>
              <a:gd name="connsiteX12" fmla="*/ 354439 w 6305329"/>
              <a:gd name="connsiteY12" fmla="*/ 1307886 h 160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5329" h="1602253">
                <a:moveTo>
                  <a:pt x="354439" y="1307886"/>
                </a:moveTo>
                <a:cubicBezTo>
                  <a:pt x="396592" y="1254384"/>
                  <a:pt x="568447" y="1367874"/>
                  <a:pt x="685179" y="1230065"/>
                </a:cubicBezTo>
                <a:cubicBezTo>
                  <a:pt x="801911" y="1092256"/>
                  <a:pt x="955932" y="685316"/>
                  <a:pt x="1054830" y="481035"/>
                </a:cubicBezTo>
                <a:cubicBezTo>
                  <a:pt x="1153728" y="276754"/>
                  <a:pt x="1192638" y="-41016"/>
                  <a:pt x="1278566" y="4380"/>
                </a:cubicBezTo>
                <a:cubicBezTo>
                  <a:pt x="1364494" y="49776"/>
                  <a:pt x="1427724" y="601009"/>
                  <a:pt x="1570396" y="753409"/>
                </a:cubicBezTo>
                <a:cubicBezTo>
                  <a:pt x="1713068" y="905809"/>
                  <a:pt x="1969230" y="933371"/>
                  <a:pt x="2134600" y="918780"/>
                </a:cubicBezTo>
                <a:cubicBezTo>
                  <a:pt x="2299970" y="904189"/>
                  <a:pt x="2415081" y="656132"/>
                  <a:pt x="2562617" y="665860"/>
                </a:cubicBezTo>
                <a:cubicBezTo>
                  <a:pt x="2710153" y="675588"/>
                  <a:pt x="2812294" y="884733"/>
                  <a:pt x="3019817" y="977146"/>
                </a:cubicBezTo>
                <a:cubicBezTo>
                  <a:pt x="3227341" y="1069559"/>
                  <a:pt x="3335967" y="1170078"/>
                  <a:pt x="3807758" y="1220337"/>
                </a:cubicBezTo>
                <a:cubicBezTo>
                  <a:pt x="4279549" y="1270596"/>
                  <a:pt x="5518204" y="1218716"/>
                  <a:pt x="5850566" y="1278703"/>
                </a:cubicBezTo>
                <a:cubicBezTo>
                  <a:pt x="6182928" y="1338690"/>
                  <a:pt x="6704979" y="1534864"/>
                  <a:pt x="5801928" y="1580260"/>
                </a:cubicBezTo>
                <a:cubicBezTo>
                  <a:pt x="4898877" y="1625656"/>
                  <a:pt x="1333690" y="1593230"/>
                  <a:pt x="432260" y="1551077"/>
                </a:cubicBezTo>
                <a:cubicBezTo>
                  <a:pt x="-469170" y="1508924"/>
                  <a:pt x="312286" y="1361388"/>
                  <a:pt x="354439" y="1307886"/>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3"/>
          </a:p>
        </p:txBody>
      </p:sp>
      <p:pic>
        <p:nvPicPr>
          <p:cNvPr id="42" name="Grafik 10">
            <a:extLst>
              <a:ext uri="{FF2B5EF4-FFF2-40B4-BE49-F238E27FC236}">
                <a16:creationId xmlns:a16="http://schemas.microsoft.com/office/drawing/2014/main" id="{448CC317-D38F-2F95-A7DD-04BA3CABCD6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019301" y="2531958"/>
            <a:ext cx="901571" cy="719052"/>
          </a:xfrm>
          <a:prstGeom prst="rect">
            <a:avLst/>
          </a:prstGeom>
        </p:spPr>
      </p:pic>
      <p:cxnSp>
        <p:nvCxnSpPr>
          <p:cNvPr id="44" name="Gerader Verbinder 45">
            <a:extLst>
              <a:ext uri="{FF2B5EF4-FFF2-40B4-BE49-F238E27FC236}">
                <a16:creationId xmlns:a16="http://schemas.microsoft.com/office/drawing/2014/main" id="{0F288DA5-A0C3-16E5-B4B7-2199047E310A}"/>
              </a:ext>
            </a:extLst>
          </p:cNvPr>
          <p:cNvCxnSpPr>
            <a:cxnSpLocks/>
          </p:cNvCxnSpPr>
          <p:nvPr/>
        </p:nvCxnSpPr>
        <p:spPr>
          <a:xfrm flipV="1">
            <a:off x="2087050" y="2609984"/>
            <a:ext cx="1252697" cy="648743"/>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5" name="Gerader Verbinder 46">
            <a:extLst>
              <a:ext uri="{FF2B5EF4-FFF2-40B4-BE49-F238E27FC236}">
                <a16:creationId xmlns:a16="http://schemas.microsoft.com/office/drawing/2014/main" id="{68A54BEA-FCCA-F787-BFC8-864D19640507}"/>
              </a:ext>
            </a:extLst>
          </p:cNvPr>
          <p:cNvCxnSpPr>
            <a:cxnSpLocks/>
          </p:cNvCxnSpPr>
          <p:nvPr/>
        </p:nvCxnSpPr>
        <p:spPr>
          <a:xfrm>
            <a:off x="3668598" y="2609984"/>
            <a:ext cx="1304216" cy="65840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7" name="Gerade Verbindung mit Pfeil 61">
            <a:extLst>
              <a:ext uri="{FF2B5EF4-FFF2-40B4-BE49-F238E27FC236}">
                <a16:creationId xmlns:a16="http://schemas.microsoft.com/office/drawing/2014/main" id="{951D338B-47BD-D8CD-5009-6FC9DB080E6D}"/>
              </a:ext>
            </a:extLst>
          </p:cNvPr>
          <p:cNvCxnSpPr>
            <a:cxnSpLocks/>
            <a:stCxn id="6" idx="1"/>
            <a:endCxn id="42" idx="3"/>
          </p:cNvCxnSpPr>
          <p:nvPr/>
        </p:nvCxnSpPr>
        <p:spPr>
          <a:xfrm flipH="1">
            <a:off x="3920872" y="1442703"/>
            <a:ext cx="1143433" cy="1448781"/>
          </a:xfrm>
          <a:prstGeom prst="straightConnector1">
            <a:avLst/>
          </a:prstGeom>
          <a:noFill/>
          <a:ln w="19050" cap="flat" cmpd="sng" algn="ctr">
            <a:solidFill>
              <a:schemeClr val="accent1">
                <a:lumMod val="60000"/>
                <a:lumOff val="40000"/>
              </a:schemeClr>
            </a:solidFill>
            <a:prstDash val="solid"/>
            <a:miter lim="800000"/>
            <a:headEnd type="triangle" w="med" len="med"/>
            <a:tailEnd type="triangle" w="med" len="med"/>
          </a:ln>
          <a:effectLst/>
        </p:spPr>
      </p:cxnSp>
      <p:sp>
        <p:nvSpPr>
          <p:cNvPr id="58" name="Textfeld 79">
            <a:extLst>
              <a:ext uri="{FF2B5EF4-FFF2-40B4-BE49-F238E27FC236}">
                <a16:creationId xmlns:a16="http://schemas.microsoft.com/office/drawing/2014/main" id="{D438A47D-CA04-16FF-731B-BFB38509287F}"/>
              </a:ext>
            </a:extLst>
          </p:cNvPr>
          <p:cNvSpPr txBox="1"/>
          <p:nvPr/>
        </p:nvSpPr>
        <p:spPr>
          <a:xfrm>
            <a:off x="637940" y="3915919"/>
            <a:ext cx="870751" cy="230832"/>
          </a:xfrm>
          <a:prstGeom prst="rect">
            <a:avLst/>
          </a:prstGeom>
          <a:noFill/>
        </p:spPr>
        <p:txBody>
          <a:bodyPr wrap="square" rtlCol="0">
            <a:spAutoFit/>
          </a:bodyPr>
          <a:lstStyle/>
          <a:p>
            <a:pPr>
              <a:defRPr/>
            </a:pPr>
            <a:r>
              <a:rPr lang="en-US" sz="900" kern="0">
                <a:solidFill>
                  <a:schemeClr val="accent1">
                    <a:lumMod val="75000"/>
                  </a:schemeClr>
                </a:solidFill>
              </a:rPr>
              <a:t>Terrestrial NW</a:t>
            </a:r>
          </a:p>
        </p:txBody>
      </p:sp>
      <p:cxnSp>
        <p:nvCxnSpPr>
          <p:cNvPr id="59" name="Gerader Verbinder 45">
            <a:extLst>
              <a:ext uri="{FF2B5EF4-FFF2-40B4-BE49-F238E27FC236}">
                <a16:creationId xmlns:a16="http://schemas.microsoft.com/office/drawing/2014/main" id="{D5E658D6-A34E-E7C2-FB8B-FF025B41B50B}"/>
              </a:ext>
            </a:extLst>
          </p:cNvPr>
          <p:cNvCxnSpPr>
            <a:cxnSpLocks/>
          </p:cNvCxnSpPr>
          <p:nvPr/>
        </p:nvCxnSpPr>
        <p:spPr>
          <a:xfrm flipV="1">
            <a:off x="183667" y="4114200"/>
            <a:ext cx="753226" cy="41703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Gerader Verbinder 46">
            <a:extLst>
              <a:ext uri="{FF2B5EF4-FFF2-40B4-BE49-F238E27FC236}">
                <a16:creationId xmlns:a16="http://schemas.microsoft.com/office/drawing/2014/main" id="{07B58354-2ACE-F2A1-8E53-B083E82D0B40}"/>
              </a:ext>
            </a:extLst>
          </p:cNvPr>
          <p:cNvCxnSpPr>
            <a:cxnSpLocks/>
          </p:cNvCxnSpPr>
          <p:nvPr/>
        </p:nvCxnSpPr>
        <p:spPr>
          <a:xfrm>
            <a:off x="1185348" y="4112479"/>
            <a:ext cx="750342" cy="418752"/>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pic>
        <p:nvPicPr>
          <p:cNvPr id="84" name="Picture 2" descr="Drone icon PNG and SVG Vector Free Download">
            <a:extLst>
              <a:ext uri="{FF2B5EF4-FFF2-40B4-BE49-F238E27FC236}">
                <a16:creationId xmlns:a16="http://schemas.microsoft.com/office/drawing/2014/main" id="{4330C541-AFCD-0E49-CB62-A37487EED21D}"/>
              </a:ext>
            </a:extLst>
          </p:cNvPr>
          <p:cNvPicPr>
            <a:picLocks noChangeAspect="1" noChangeArrowheads="1"/>
          </p:cNvPicPr>
          <p:nvPr/>
        </p:nvPicPr>
        <p:blipFill>
          <a:blip r:embed="rId12">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175874" y="3339682"/>
            <a:ext cx="565685" cy="330064"/>
          </a:xfrm>
          <a:prstGeom prst="rect">
            <a:avLst/>
          </a:prstGeom>
          <a:noFill/>
          <a:extLst>
            <a:ext uri="{909E8E84-426E-40DD-AFC4-6F175D3DCCD1}">
              <a14:hiddenFill xmlns:a14="http://schemas.microsoft.com/office/drawing/2010/main">
                <a:solidFill>
                  <a:srgbClr val="FFFFFF"/>
                </a:solidFill>
              </a14:hiddenFill>
            </a:ext>
          </a:extLst>
        </p:spPr>
      </p:pic>
      <p:sp>
        <p:nvSpPr>
          <p:cNvPr id="93" name="Textfeld 79">
            <a:extLst>
              <a:ext uri="{FF2B5EF4-FFF2-40B4-BE49-F238E27FC236}">
                <a16:creationId xmlns:a16="http://schemas.microsoft.com/office/drawing/2014/main" id="{5AA1A5E0-D0C3-C449-5A2C-CAB7D3260466}"/>
              </a:ext>
            </a:extLst>
          </p:cNvPr>
          <p:cNvSpPr txBox="1"/>
          <p:nvPr/>
        </p:nvSpPr>
        <p:spPr>
          <a:xfrm>
            <a:off x="7208876" y="3101655"/>
            <a:ext cx="474810" cy="230832"/>
          </a:xfrm>
          <a:prstGeom prst="rect">
            <a:avLst/>
          </a:prstGeom>
          <a:noFill/>
        </p:spPr>
        <p:txBody>
          <a:bodyPr wrap="none" lIns="91440" tIns="45720" rIns="91440" bIns="45720" rtlCol="0" anchor="t">
            <a:spAutoFit/>
          </a:bodyPr>
          <a:lstStyle/>
          <a:p>
            <a:pPr>
              <a:defRPr/>
            </a:pPr>
            <a:r>
              <a:rPr lang="en-US" sz="900" kern="0">
                <a:solidFill>
                  <a:schemeClr val="accent1">
                    <a:lumMod val="75000"/>
                  </a:schemeClr>
                </a:solidFill>
              </a:rPr>
              <a:t>Drone</a:t>
            </a:r>
          </a:p>
        </p:txBody>
      </p:sp>
      <p:cxnSp>
        <p:nvCxnSpPr>
          <p:cNvPr id="94" name="Gerader Verbinder 45">
            <a:extLst>
              <a:ext uri="{FF2B5EF4-FFF2-40B4-BE49-F238E27FC236}">
                <a16:creationId xmlns:a16="http://schemas.microsoft.com/office/drawing/2014/main" id="{A6869A7E-29C5-6E3C-B2E2-47821A51240D}"/>
              </a:ext>
            </a:extLst>
          </p:cNvPr>
          <p:cNvCxnSpPr>
            <a:cxnSpLocks/>
          </p:cNvCxnSpPr>
          <p:nvPr/>
        </p:nvCxnSpPr>
        <p:spPr>
          <a:xfrm flipV="1">
            <a:off x="6370397" y="3225442"/>
            <a:ext cx="916701" cy="61289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03" name="Textfeld 79">
            <a:extLst>
              <a:ext uri="{FF2B5EF4-FFF2-40B4-BE49-F238E27FC236}">
                <a16:creationId xmlns:a16="http://schemas.microsoft.com/office/drawing/2014/main" id="{0AF1530F-FE20-18CC-698D-86DFC461C6DE}"/>
              </a:ext>
            </a:extLst>
          </p:cNvPr>
          <p:cNvSpPr txBox="1"/>
          <p:nvPr/>
        </p:nvSpPr>
        <p:spPr>
          <a:xfrm>
            <a:off x="5683547" y="2000830"/>
            <a:ext cx="535724" cy="230832"/>
          </a:xfrm>
          <a:prstGeom prst="rect">
            <a:avLst/>
          </a:prstGeom>
          <a:noFill/>
        </p:spPr>
        <p:txBody>
          <a:bodyPr wrap="none" rtlCol="0">
            <a:spAutoFit/>
          </a:bodyPr>
          <a:lstStyle/>
          <a:p>
            <a:pPr>
              <a:defRPr/>
            </a:pPr>
            <a:r>
              <a:rPr lang="en-US" sz="900" kern="0">
                <a:solidFill>
                  <a:schemeClr val="accent1">
                    <a:lumMod val="75000"/>
                  </a:schemeClr>
                </a:solidFill>
              </a:rPr>
              <a:t>Aircraft</a:t>
            </a:r>
          </a:p>
        </p:txBody>
      </p:sp>
      <p:cxnSp>
        <p:nvCxnSpPr>
          <p:cNvPr id="106" name="Gerader Verbinder 45">
            <a:extLst>
              <a:ext uri="{FF2B5EF4-FFF2-40B4-BE49-F238E27FC236}">
                <a16:creationId xmlns:a16="http://schemas.microsoft.com/office/drawing/2014/main" id="{43FCD652-4920-0582-E2C0-6AE11C81DBA2}"/>
              </a:ext>
            </a:extLst>
          </p:cNvPr>
          <p:cNvCxnSpPr>
            <a:cxnSpLocks/>
          </p:cNvCxnSpPr>
          <p:nvPr/>
        </p:nvCxnSpPr>
        <p:spPr>
          <a:xfrm flipV="1">
            <a:off x="4520292" y="2176439"/>
            <a:ext cx="1252697" cy="648743"/>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07" name="Gerader Verbinder 46">
            <a:extLst>
              <a:ext uri="{FF2B5EF4-FFF2-40B4-BE49-F238E27FC236}">
                <a16:creationId xmlns:a16="http://schemas.microsoft.com/office/drawing/2014/main" id="{DAC0605B-FC0E-159C-03CA-47C21BE67C3F}"/>
              </a:ext>
            </a:extLst>
          </p:cNvPr>
          <p:cNvCxnSpPr>
            <a:cxnSpLocks/>
          </p:cNvCxnSpPr>
          <p:nvPr/>
        </p:nvCxnSpPr>
        <p:spPr>
          <a:xfrm>
            <a:off x="6101840" y="2176439"/>
            <a:ext cx="1304216" cy="658401"/>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pic>
        <p:nvPicPr>
          <p:cNvPr id="83" name="Picture 4">
            <a:extLst>
              <a:ext uri="{FF2B5EF4-FFF2-40B4-BE49-F238E27FC236}">
                <a16:creationId xmlns:a16="http://schemas.microsoft.com/office/drawing/2014/main" id="{88C8FF14-1329-9988-2D1C-E243A483FAAE}"/>
              </a:ext>
            </a:extLst>
          </p:cNvPr>
          <p:cNvPicPr>
            <a:picLocks noChangeAspect="1" noChangeArrowheads="1"/>
          </p:cNvPicPr>
          <p:nvPr/>
        </p:nvPicPr>
        <p:blipFill rotWithShape="1">
          <a:blip r:embed="rId13">
            <a:duotone>
              <a:srgbClr val="4472C4">
                <a:shade val="45000"/>
                <a:satMod val="135000"/>
              </a:srgbClr>
              <a:prstClr val="white"/>
            </a:duotone>
            <a:extLst>
              <a:ext uri="{28A0092B-C50C-407E-A947-70E740481C1C}">
                <a14:useLocalDpi xmlns:a14="http://schemas.microsoft.com/office/drawing/2010/main" val="0"/>
              </a:ext>
            </a:extLst>
          </a:blip>
          <a:srcRect t="31226" b="28496"/>
          <a:stretch/>
        </p:blipFill>
        <p:spPr bwMode="auto">
          <a:xfrm flipH="1">
            <a:off x="5559553" y="2283603"/>
            <a:ext cx="874616" cy="331212"/>
          </a:xfrm>
          <a:prstGeom prst="rect">
            <a:avLst/>
          </a:prstGeom>
          <a:noFill/>
          <a:extLst>
            <a:ext uri="{909E8E84-426E-40DD-AFC4-6F175D3DCCD1}">
              <a14:hiddenFill xmlns:a14="http://schemas.microsoft.com/office/drawing/2010/main">
                <a:solidFill>
                  <a:srgbClr val="FFFFFF"/>
                </a:solidFill>
              </a14:hiddenFill>
            </a:ext>
          </a:extLst>
        </p:spPr>
      </p:pic>
      <p:cxnSp>
        <p:nvCxnSpPr>
          <p:cNvPr id="108" name="Gerade Verbindung mit Pfeil 61">
            <a:extLst>
              <a:ext uri="{FF2B5EF4-FFF2-40B4-BE49-F238E27FC236}">
                <a16:creationId xmlns:a16="http://schemas.microsoft.com/office/drawing/2014/main" id="{BDE9D25F-594B-476B-A100-4FC2B2B56F2B}"/>
              </a:ext>
            </a:extLst>
          </p:cNvPr>
          <p:cNvCxnSpPr>
            <a:cxnSpLocks/>
            <a:stCxn id="84" idx="1"/>
            <a:endCxn id="83" idx="1"/>
          </p:cNvCxnSpPr>
          <p:nvPr/>
        </p:nvCxnSpPr>
        <p:spPr>
          <a:xfrm flipH="1" flipV="1">
            <a:off x="6434169" y="2449209"/>
            <a:ext cx="741705" cy="1055505"/>
          </a:xfrm>
          <a:prstGeom prst="straightConnector1">
            <a:avLst/>
          </a:prstGeom>
          <a:noFill/>
          <a:ln w="19050" cap="flat" cmpd="sng" algn="ctr">
            <a:solidFill>
              <a:schemeClr val="accent1">
                <a:lumMod val="60000"/>
                <a:lumOff val="40000"/>
              </a:schemeClr>
            </a:solidFill>
            <a:prstDash val="solid"/>
            <a:miter lim="800000"/>
            <a:headEnd type="triangle" w="med" len="med"/>
            <a:tailEnd type="triangle" w="med" len="med"/>
          </a:ln>
          <a:effectLst/>
        </p:spPr>
      </p:cxnSp>
      <p:cxnSp>
        <p:nvCxnSpPr>
          <p:cNvPr id="111" name="Gerade Verbindung mit Pfeil 61">
            <a:extLst>
              <a:ext uri="{FF2B5EF4-FFF2-40B4-BE49-F238E27FC236}">
                <a16:creationId xmlns:a16="http://schemas.microsoft.com/office/drawing/2014/main" id="{C76FEC1A-B9A3-63EB-C22D-3D3F6AC847FC}"/>
              </a:ext>
            </a:extLst>
          </p:cNvPr>
          <p:cNvCxnSpPr>
            <a:cxnSpLocks/>
            <a:stCxn id="83" idx="1"/>
            <a:endCxn id="7" idx="1"/>
          </p:cNvCxnSpPr>
          <p:nvPr/>
        </p:nvCxnSpPr>
        <p:spPr>
          <a:xfrm flipV="1">
            <a:off x="6434169" y="1163670"/>
            <a:ext cx="1565012" cy="1285539"/>
          </a:xfrm>
          <a:prstGeom prst="straightConnector1">
            <a:avLst/>
          </a:prstGeom>
          <a:noFill/>
          <a:ln w="19050" cap="flat" cmpd="sng" algn="ctr">
            <a:solidFill>
              <a:schemeClr val="accent1">
                <a:lumMod val="60000"/>
                <a:lumOff val="40000"/>
              </a:schemeClr>
            </a:solidFill>
            <a:prstDash val="solid"/>
            <a:miter lim="800000"/>
            <a:headEnd type="triangle" w="med" len="med"/>
            <a:tailEnd type="triangle" w="med" len="med"/>
          </a:ln>
          <a:effectLst/>
        </p:spPr>
      </p:cxnSp>
      <p:cxnSp>
        <p:nvCxnSpPr>
          <p:cNvPr id="114" name="Gerade Verbindung mit Pfeil 61">
            <a:extLst>
              <a:ext uri="{FF2B5EF4-FFF2-40B4-BE49-F238E27FC236}">
                <a16:creationId xmlns:a16="http://schemas.microsoft.com/office/drawing/2014/main" id="{BB59DDF9-6625-A18A-799A-1CE804F695CA}"/>
              </a:ext>
            </a:extLst>
          </p:cNvPr>
          <p:cNvCxnSpPr>
            <a:cxnSpLocks/>
            <a:stCxn id="8" idx="3"/>
            <a:endCxn id="42" idx="1"/>
          </p:cNvCxnSpPr>
          <p:nvPr/>
        </p:nvCxnSpPr>
        <p:spPr>
          <a:xfrm flipV="1">
            <a:off x="1238295" y="2891484"/>
            <a:ext cx="1781006" cy="1811902"/>
          </a:xfrm>
          <a:prstGeom prst="straightConnector1">
            <a:avLst/>
          </a:prstGeom>
          <a:noFill/>
          <a:ln w="19050" cap="flat" cmpd="sng" algn="ctr">
            <a:solidFill>
              <a:schemeClr val="accent1">
                <a:lumMod val="60000"/>
                <a:lumOff val="40000"/>
              </a:schemeClr>
            </a:solidFill>
            <a:prstDash val="solid"/>
            <a:miter lim="800000"/>
            <a:headEnd type="triangle" w="med" len="med"/>
            <a:tailEnd type="triangle" w="med" len="med"/>
          </a:ln>
          <a:effectLst/>
        </p:spPr>
      </p:cxnSp>
      <p:grpSp>
        <p:nvGrpSpPr>
          <p:cNvPr id="37" name="Group 36">
            <a:extLst>
              <a:ext uri="{FF2B5EF4-FFF2-40B4-BE49-F238E27FC236}">
                <a16:creationId xmlns:a16="http://schemas.microsoft.com/office/drawing/2014/main" id="{2A11335C-CACE-16C6-7B6C-A6750BF4708E}"/>
              </a:ext>
            </a:extLst>
          </p:cNvPr>
          <p:cNvGrpSpPr/>
          <p:nvPr/>
        </p:nvGrpSpPr>
        <p:grpSpPr>
          <a:xfrm>
            <a:off x="324796" y="4538705"/>
            <a:ext cx="428382" cy="476738"/>
            <a:chOff x="10154341" y="4421579"/>
            <a:chExt cx="428382" cy="476738"/>
          </a:xfrm>
        </p:grpSpPr>
        <p:sp>
          <p:nvSpPr>
            <p:cNvPr id="38" name="Rectangle: Rounded Corners 37">
              <a:extLst>
                <a:ext uri="{FF2B5EF4-FFF2-40B4-BE49-F238E27FC236}">
                  <a16:creationId xmlns:a16="http://schemas.microsoft.com/office/drawing/2014/main" id="{99FE6A8E-51CD-30D7-C640-E86AA6549483}"/>
                </a:ext>
              </a:extLst>
            </p:cNvPr>
            <p:cNvSpPr/>
            <p:nvPr/>
          </p:nvSpPr>
          <p:spPr>
            <a:xfrm>
              <a:off x="10154342" y="4659948"/>
              <a:ext cx="428381" cy="238369"/>
            </a:xfrm>
            <a:prstGeom prst="roundRect">
              <a:avLst/>
            </a:prstGeom>
            <a:noFill/>
            <a:ln w="190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800" err="1">
                  <a:solidFill>
                    <a:schemeClr val="accent1">
                      <a:lumMod val="75000"/>
                    </a:schemeClr>
                  </a:solidFill>
                </a:rPr>
                <a:t>gNB</a:t>
              </a:r>
              <a:endParaRPr lang="de-DE">
                <a:solidFill>
                  <a:schemeClr val="accent1">
                    <a:lumMod val="75000"/>
                  </a:schemeClr>
                </a:solidFill>
              </a:endParaRPr>
            </a:p>
          </p:txBody>
        </p:sp>
        <p:sp>
          <p:nvSpPr>
            <p:cNvPr id="46" name="Rectangle: Rounded Corners 45">
              <a:extLst>
                <a:ext uri="{FF2B5EF4-FFF2-40B4-BE49-F238E27FC236}">
                  <a16:creationId xmlns:a16="http://schemas.microsoft.com/office/drawing/2014/main" id="{241D9C41-461C-9382-B93C-9FA39D3EE13F}"/>
                </a:ext>
              </a:extLst>
            </p:cNvPr>
            <p:cNvSpPr/>
            <p:nvPr/>
          </p:nvSpPr>
          <p:spPr>
            <a:xfrm>
              <a:off x="10154341" y="4421579"/>
              <a:ext cx="428381" cy="238369"/>
            </a:xfrm>
            <a:prstGeom prst="roundRect">
              <a:avLst/>
            </a:prstGeom>
            <a:noFill/>
            <a:ln w="190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800">
                  <a:solidFill>
                    <a:schemeClr val="accent1">
                      <a:lumMod val="75000"/>
                    </a:schemeClr>
                  </a:solidFill>
                </a:rPr>
                <a:t>UPF</a:t>
              </a:r>
              <a:endParaRPr lang="de-DE">
                <a:solidFill>
                  <a:schemeClr val="accent1">
                    <a:lumMod val="75000"/>
                  </a:schemeClr>
                </a:solidFill>
              </a:endParaRPr>
            </a:p>
          </p:txBody>
        </p:sp>
      </p:grpSp>
      <p:sp>
        <p:nvSpPr>
          <p:cNvPr id="56" name="Rectangle: Rounded Corners 55">
            <a:extLst>
              <a:ext uri="{FF2B5EF4-FFF2-40B4-BE49-F238E27FC236}">
                <a16:creationId xmlns:a16="http://schemas.microsoft.com/office/drawing/2014/main" id="{25A2C134-23C3-6475-A42F-76748D247F5F}"/>
              </a:ext>
            </a:extLst>
          </p:cNvPr>
          <p:cNvSpPr/>
          <p:nvPr/>
        </p:nvSpPr>
        <p:spPr>
          <a:xfrm>
            <a:off x="6468362" y="1003865"/>
            <a:ext cx="428381" cy="238369"/>
          </a:xfrm>
          <a:prstGeom prst="roundRect">
            <a:avLst/>
          </a:prstGeom>
          <a:noFill/>
          <a:ln w="1905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800">
                <a:solidFill>
                  <a:schemeClr val="accent1">
                    <a:lumMod val="75000"/>
                  </a:schemeClr>
                </a:solidFill>
              </a:rPr>
              <a:t>ISL</a:t>
            </a:r>
            <a:endParaRPr lang="de-DE">
              <a:solidFill>
                <a:schemeClr val="accent1">
                  <a:lumMod val="75000"/>
                </a:schemeClr>
              </a:solidFill>
            </a:endParaRPr>
          </a:p>
        </p:txBody>
      </p:sp>
      <p:pic>
        <p:nvPicPr>
          <p:cNvPr id="81" name="Grafik 80" descr="Ein Bild, das Kunst, Design enthält.&#10;&#10;KI-generierte Inhalte können fehlerhaft sein.">
            <a:extLst>
              <a:ext uri="{FF2B5EF4-FFF2-40B4-BE49-F238E27FC236}">
                <a16:creationId xmlns:a16="http://schemas.microsoft.com/office/drawing/2014/main" id="{F74302B0-35D0-0B8D-5B61-7BD08130B6BF}"/>
              </a:ext>
            </a:extLst>
          </p:cNvPr>
          <p:cNvPicPr>
            <a:picLocks noChangeAspect="1"/>
          </p:cNvPicPr>
          <p:nvPr/>
        </p:nvPicPr>
        <p:blipFill>
          <a:blip r:embed="rId14">
            <a:duotone>
              <a:srgbClr val="4472C4">
                <a:shade val="45000"/>
                <a:satMod val="135000"/>
              </a:srgbClr>
              <a:prstClr val="white"/>
            </a:duotone>
            <a:extLst>
              <a:ext uri="{28A0092B-C50C-407E-A947-70E740481C1C}">
                <a14:useLocalDpi xmlns:a14="http://schemas.microsoft.com/office/drawing/2010/main" val="0"/>
              </a:ext>
            </a:extLst>
          </a:blip>
          <a:stretch>
            <a:fillRect/>
          </a:stretch>
        </p:blipFill>
        <p:spPr>
          <a:xfrm>
            <a:off x="2171208" y="4674180"/>
            <a:ext cx="594649" cy="567169"/>
          </a:xfrm>
          <a:prstGeom prst="rect">
            <a:avLst/>
          </a:prstGeom>
        </p:spPr>
      </p:pic>
      <p:sp>
        <p:nvSpPr>
          <p:cNvPr id="76" name="Rectangle 75">
            <a:extLst>
              <a:ext uri="{FF2B5EF4-FFF2-40B4-BE49-F238E27FC236}">
                <a16:creationId xmlns:a16="http://schemas.microsoft.com/office/drawing/2014/main" id="{A494687E-E504-079A-A110-5CE0D4736A8D}"/>
              </a:ext>
            </a:extLst>
          </p:cNvPr>
          <p:cNvSpPr/>
          <p:nvPr/>
        </p:nvSpPr>
        <p:spPr>
          <a:xfrm>
            <a:off x="202165" y="5347818"/>
            <a:ext cx="10640458" cy="307563"/>
          </a:xfrm>
          <a:prstGeom prst="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err="1"/>
              <a:t>Terrestrial</a:t>
            </a:r>
            <a:r>
              <a:rPr lang="de-DE"/>
              <a:t> Core NW/Backend</a:t>
            </a:r>
          </a:p>
        </p:txBody>
      </p:sp>
      <p:pic>
        <p:nvPicPr>
          <p:cNvPr id="80" name="Graphic 79" descr="Database with solid fill">
            <a:extLst>
              <a:ext uri="{FF2B5EF4-FFF2-40B4-BE49-F238E27FC236}">
                <a16:creationId xmlns:a16="http://schemas.microsoft.com/office/drawing/2014/main" id="{7861F8A1-283F-65B5-BF35-D0FBFECF6BE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866875" y="5360627"/>
            <a:ext cx="289524" cy="289524"/>
          </a:xfrm>
          <a:prstGeom prst="rect">
            <a:avLst/>
          </a:prstGeom>
        </p:spPr>
      </p:pic>
      <p:pic>
        <p:nvPicPr>
          <p:cNvPr id="82" name="Graphic 81" descr="Database with solid fill">
            <a:extLst>
              <a:ext uri="{FF2B5EF4-FFF2-40B4-BE49-F238E27FC236}">
                <a16:creationId xmlns:a16="http://schemas.microsoft.com/office/drawing/2014/main" id="{DDD646A0-1A03-F5AA-9062-2C13A0EF905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879182" y="5360627"/>
            <a:ext cx="289524" cy="289524"/>
          </a:xfrm>
          <a:prstGeom prst="rect">
            <a:avLst/>
          </a:prstGeom>
        </p:spPr>
      </p:pic>
      <p:sp>
        <p:nvSpPr>
          <p:cNvPr id="4" name="Textfeld 79">
            <a:extLst>
              <a:ext uri="{FF2B5EF4-FFF2-40B4-BE49-F238E27FC236}">
                <a16:creationId xmlns:a16="http://schemas.microsoft.com/office/drawing/2014/main" id="{F6EBF403-D90A-E849-7440-B05A14B5E7D6}"/>
              </a:ext>
            </a:extLst>
          </p:cNvPr>
          <p:cNvSpPr txBox="1"/>
          <p:nvPr/>
        </p:nvSpPr>
        <p:spPr>
          <a:xfrm>
            <a:off x="3292932" y="2474014"/>
            <a:ext cx="383438" cy="230832"/>
          </a:xfrm>
          <a:prstGeom prst="rect">
            <a:avLst/>
          </a:prstGeom>
          <a:noFill/>
        </p:spPr>
        <p:txBody>
          <a:bodyPr wrap="none" lIns="91440" tIns="45720" rIns="91440" bIns="45720" rtlCol="0" anchor="t">
            <a:spAutoFit/>
          </a:bodyPr>
          <a:lstStyle/>
          <a:p>
            <a:pPr>
              <a:defRPr/>
            </a:pPr>
            <a:r>
              <a:rPr lang="en-US" sz="900" kern="0">
                <a:solidFill>
                  <a:schemeClr val="accent1">
                    <a:lumMod val="75000"/>
                  </a:schemeClr>
                </a:solidFill>
              </a:rPr>
              <a:t>HAP</a:t>
            </a:r>
            <a:endParaRPr lang="de-DE"/>
          </a:p>
        </p:txBody>
      </p:sp>
      <p:sp>
        <p:nvSpPr>
          <p:cNvPr id="17" name="Textfeld 79">
            <a:extLst>
              <a:ext uri="{FF2B5EF4-FFF2-40B4-BE49-F238E27FC236}">
                <a16:creationId xmlns:a16="http://schemas.microsoft.com/office/drawing/2014/main" id="{16FD6680-DF0B-ECC1-FF7B-7B2B1286EDE2}"/>
              </a:ext>
            </a:extLst>
          </p:cNvPr>
          <p:cNvSpPr txBox="1"/>
          <p:nvPr/>
        </p:nvSpPr>
        <p:spPr>
          <a:xfrm>
            <a:off x="637915" y="2117882"/>
            <a:ext cx="1133335" cy="230832"/>
          </a:xfrm>
          <a:prstGeom prst="rect">
            <a:avLst/>
          </a:prstGeom>
          <a:noFill/>
        </p:spPr>
        <p:txBody>
          <a:bodyPr wrap="square" lIns="91440" tIns="45720" rIns="91440" bIns="45720" rtlCol="0" anchor="t">
            <a:spAutoFit/>
          </a:bodyPr>
          <a:lstStyle/>
          <a:p>
            <a:pPr>
              <a:defRPr/>
            </a:pPr>
            <a:r>
              <a:rPr lang="en-US" sz="900" kern="0">
                <a:solidFill>
                  <a:schemeClr val="accent1">
                    <a:lumMod val="75000"/>
                  </a:schemeClr>
                </a:solidFill>
              </a:rPr>
              <a:t>Non-Terrestrial NW</a:t>
            </a:r>
          </a:p>
        </p:txBody>
      </p:sp>
      <p:grpSp>
        <p:nvGrpSpPr>
          <p:cNvPr id="72" name="Group 86">
            <a:extLst>
              <a:ext uri="{FF2B5EF4-FFF2-40B4-BE49-F238E27FC236}">
                <a16:creationId xmlns:a16="http://schemas.microsoft.com/office/drawing/2014/main" id="{55E10B8E-B17F-594B-F16D-5E6E11631562}"/>
              </a:ext>
            </a:extLst>
          </p:cNvPr>
          <p:cNvGrpSpPr/>
          <p:nvPr/>
        </p:nvGrpSpPr>
        <p:grpSpPr>
          <a:xfrm>
            <a:off x="8179093" y="4350551"/>
            <a:ext cx="363940" cy="581068"/>
            <a:chOff x="8397385" y="4381221"/>
            <a:chExt cx="363940" cy="581068"/>
          </a:xfrm>
        </p:grpSpPr>
        <p:pic>
          <p:nvPicPr>
            <p:cNvPr id="73" name="Grafik 72">
              <a:extLst>
                <a:ext uri="{FF2B5EF4-FFF2-40B4-BE49-F238E27FC236}">
                  <a16:creationId xmlns:a16="http://schemas.microsoft.com/office/drawing/2014/main" id="{BB27166D-8754-9C01-DE8E-01B275847285}"/>
                </a:ext>
              </a:extLst>
            </p:cNvPr>
            <p:cNvPicPr>
              <a:picLocks noChangeAspect="1"/>
            </p:cNvPicPr>
            <p:nvPr/>
          </p:nvPicPr>
          <p:blipFill rotWithShape="1">
            <a:blip r:embed="rId4" cstate="print">
              <a:duotone>
                <a:srgbClr val="4472C4">
                  <a:shade val="45000"/>
                  <a:satMod val="135000"/>
                </a:srgbClr>
                <a:prstClr val="white"/>
              </a:duotone>
              <a:extLst>
                <a:ext uri="{28A0092B-C50C-407E-A947-70E740481C1C}">
                  <a14:useLocalDpi xmlns:a14="http://schemas.microsoft.com/office/drawing/2010/main" val="0"/>
                </a:ext>
              </a:extLst>
            </a:blip>
            <a:srcRect l="28161" r="29513"/>
            <a:stretch/>
          </p:blipFill>
          <p:spPr>
            <a:xfrm>
              <a:off x="8397385" y="4381221"/>
              <a:ext cx="363940" cy="581068"/>
            </a:xfrm>
            <a:prstGeom prst="rect">
              <a:avLst/>
            </a:prstGeom>
          </p:spPr>
        </p:pic>
        <p:sp>
          <p:nvSpPr>
            <p:cNvPr id="74" name="TextBox 88">
              <a:extLst>
                <a:ext uri="{FF2B5EF4-FFF2-40B4-BE49-F238E27FC236}">
                  <a16:creationId xmlns:a16="http://schemas.microsoft.com/office/drawing/2014/main" id="{8D62CCBB-F9EA-05DE-740D-15E3FFD42FE8}"/>
                </a:ext>
              </a:extLst>
            </p:cNvPr>
            <p:cNvSpPr txBox="1"/>
            <p:nvPr/>
          </p:nvSpPr>
          <p:spPr>
            <a:xfrm>
              <a:off x="8401931" y="4533255"/>
              <a:ext cx="359394" cy="276999"/>
            </a:xfrm>
            <a:prstGeom prst="rect">
              <a:avLst/>
            </a:prstGeom>
            <a:noFill/>
          </p:spPr>
          <p:txBody>
            <a:bodyPr wrap="none" rtlCol="0">
              <a:spAutoFit/>
            </a:bodyPr>
            <a:lstStyle/>
            <a:p>
              <a:r>
                <a:rPr lang="en-US" sz="1200" noProof="0">
                  <a:solidFill>
                    <a:schemeClr val="accent1">
                      <a:lumMod val="75000"/>
                    </a:schemeClr>
                  </a:solidFill>
                </a:rPr>
                <a:t>UE</a:t>
              </a:r>
              <a:endParaRPr lang="en-US" sz="1400" noProof="0">
                <a:solidFill>
                  <a:schemeClr val="accent1">
                    <a:lumMod val="75000"/>
                  </a:schemeClr>
                </a:solidFill>
              </a:endParaRPr>
            </a:p>
          </p:txBody>
        </p:sp>
      </p:grpSp>
      <p:cxnSp>
        <p:nvCxnSpPr>
          <p:cNvPr id="75" name="Gerade Verbindung mit Pfeil 61">
            <a:extLst>
              <a:ext uri="{FF2B5EF4-FFF2-40B4-BE49-F238E27FC236}">
                <a16:creationId xmlns:a16="http://schemas.microsoft.com/office/drawing/2014/main" id="{2CC3AEA4-5B3F-0DE7-75C4-EF820830C868}"/>
              </a:ext>
            </a:extLst>
          </p:cNvPr>
          <p:cNvCxnSpPr>
            <a:cxnSpLocks/>
            <a:stCxn id="73" idx="0"/>
          </p:cNvCxnSpPr>
          <p:nvPr/>
        </p:nvCxnSpPr>
        <p:spPr>
          <a:xfrm flipH="1" flipV="1">
            <a:off x="7618116" y="3606316"/>
            <a:ext cx="742947" cy="744235"/>
          </a:xfrm>
          <a:prstGeom prst="straightConnector1">
            <a:avLst/>
          </a:prstGeom>
          <a:noFill/>
          <a:ln w="19050" cap="flat" cmpd="sng" algn="ctr">
            <a:solidFill>
              <a:schemeClr val="accent1">
                <a:lumMod val="60000"/>
                <a:lumOff val="40000"/>
              </a:schemeClr>
            </a:solidFill>
            <a:prstDash val="solid"/>
            <a:miter lim="800000"/>
            <a:headEnd type="triangle" w="med" len="med"/>
            <a:tailEnd type="triangle" w="med" len="med"/>
          </a:ln>
          <a:effectLst/>
        </p:spPr>
      </p:cxnSp>
      <p:grpSp>
        <p:nvGrpSpPr>
          <p:cNvPr id="86" name="Group 78">
            <a:extLst>
              <a:ext uri="{FF2B5EF4-FFF2-40B4-BE49-F238E27FC236}">
                <a16:creationId xmlns:a16="http://schemas.microsoft.com/office/drawing/2014/main" id="{00F4BFD5-32DF-E3FC-9F2E-8D7C56BB4F02}"/>
              </a:ext>
            </a:extLst>
          </p:cNvPr>
          <p:cNvGrpSpPr/>
          <p:nvPr/>
        </p:nvGrpSpPr>
        <p:grpSpPr>
          <a:xfrm>
            <a:off x="8095005" y="2307240"/>
            <a:ext cx="2030979" cy="1287519"/>
            <a:chOff x="2074409" y="2254845"/>
            <a:chExt cx="2030979" cy="1287519"/>
          </a:xfrm>
        </p:grpSpPr>
        <p:pic>
          <p:nvPicPr>
            <p:cNvPr id="87" name="Graphic 62" descr="Quadcopter with solid fill">
              <a:extLst>
                <a:ext uri="{FF2B5EF4-FFF2-40B4-BE49-F238E27FC236}">
                  <a16:creationId xmlns:a16="http://schemas.microsoft.com/office/drawing/2014/main" id="{D2DAECA0-FE7E-DA51-0108-6A0D25B7D3E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835979" y="2942599"/>
              <a:ext cx="565686" cy="565686"/>
            </a:xfrm>
            <a:prstGeom prst="rect">
              <a:avLst/>
            </a:prstGeom>
          </p:spPr>
        </p:pic>
        <p:cxnSp>
          <p:nvCxnSpPr>
            <p:cNvPr id="88" name="Gerader Verbinder 45">
              <a:extLst>
                <a:ext uri="{FF2B5EF4-FFF2-40B4-BE49-F238E27FC236}">
                  <a16:creationId xmlns:a16="http://schemas.microsoft.com/office/drawing/2014/main" id="{DC2CE524-4A72-B999-AB17-93DF41B8FF0C}"/>
                </a:ext>
              </a:extLst>
            </p:cNvPr>
            <p:cNvCxnSpPr>
              <a:cxnSpLocks/>
            </p:cNvCxnSpPr>
            <p:nvPr/>
          </p:nvCxnSpPr>
          <p:spPr>
            <a:xfrm flipV="1">
              <a:off x="2074409" y="3018139"/>
              <a:ext cx="781435" cy="486575"/>
            </a:xfrm>
            <a:prstGeom prst="line">
              <a:avLst/>
            </a:prstGeom>
            <a:ln w="1270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89" name="Gerader Verbinder 46">
              <a:extLst>
                <a:ext uri="{FF2B5EF4-FFF2-40B4-BE49-F238E27FC236}">
                  <a16:creationId xmlns:a16="http://schemas.microsoft.com/office/drawing/2014/main" id="{8853FCCD-A8BB-9A09-C39F-6C377D7125EE}"/>
                </a:ext>
              </a:extLst>
            </p:cNvPr>
            <p:cNvCxnSpPr>
              <a:cxnSpLocks/>
            </p:cNvCxnSpPr>
            <p:nvPr/>
          </p:nvCxnSpPr>
          <p:spPr>
            <a:xfrm>
              <a:off x="3366827" y="3014813"/>
              <a:ext cx="738561" cy="527551"/>
            </a:xfrm>
            <a:prstGeom prst="line">
              <a:avLst/>
            </a:prstGeom>
            <a:ln w="1270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90" name="Textfeld 79">
              <a:extLst>
                <a:ext uri="{FF2B5EF4-FFF2-40B4-BE49-F238E27FC236}">
                  <a16:creationId xmlns:a16="http://schemas.microsoft.com/office/drawing/2014/main" id="{77CD2D3E-A7D0-CFCA-52A2-ABA794DD85FD}"/>
                </a:ext>
              </a:extLst>
            </p:cNvPr>
            <p:cNvSpPr txBox="1"/>
            <p:nvPr/>
          </p:nvSpPr>
          <p:spPr>
            <a:xfrm>
              <a:off x="2855844" y="2724708"/>
              <a:ext cx="635110" cy="369332"/>
            </a:xfrm>
            <a:prstGeom prst="rect">
              <a:avLst/>
            </a:prstGeom>
            <a:noFill/>
          </p:spPr>
          <p:txBody>
            <a:bodyPr wrap="none" lIns="91440" tIns="45720" rIns="91440" bIns="45720" rtlCol="0" anchor="t">
              <a:spAutoFit/>
            </a:bodyPr>
            <a:lstStyle/>
            <a:p>
              <a:pPr>
                <a:defRPr/>
              </a:pPr>
              <a:r>
                <a:rPr lang="en-US" sz="900" kern="0" noProof="0">
                  <a:solidFill>
                    <a:srgbClr val="FF0000"/>
                  </a:solidFill>
                </a:rPr>
                <a:t>Malicious</a:t>
              </a:r>
              <a:br>
                <a:rPr lang="en-US" sz="900" kern="0" noProof="0">
                  <a:solidFill>
                    <a:srgbClr val="FF0000"/>
                  </a:solidFill>
                </a:rPr>
              </a:br>
              <a:r>
                <a:rPr lang="en-US" sz="900" kern="0" noProof="0">
                  <a:solidFill>
                    <a:srgbClr val="FF0000"/>
                  </a:solidFill>
                </a:rPr>
                <a:t>Drone</a:t>
              </a:r>
            </a:p>
          </p:txBody>
        </p:sp>
        <p:pic>
          <p:nvPicPr>
            <p:cNvPr id="91" name="Graphic 72" descr="Exclamation mark with solid fill">
              <a:extLst>
                <a:ext uri="{FF2B5EF4-FFF2-40B4-BE49-F238E27FC236}">
                  <a16:creationId xmlns:a16="http://schemas.microsoft.com/office/drawing/2014/main" id="{E406F237-BB36-7855-C573-B0B59B7D2D9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897565" y="2254845"/>
              <a:ext cx="460806" cy="460806"/>
            </a:xfrm>
            <a:prstGeom prst="rect">
              <a:avLst/>
            </a:prstGeom>
          </p:spPr>
        </p:pic>
      </p:grpSp>
      <p:sp>
        <p:nvSpPr>
          <p:cNvPr id="101" name="Rechteck 100">
            <a:extLst>
              <a:ext uri="{FF2B5EF4-FFF2-40B4-BE49-F238E27FC236}">
                <a16:creationId xmlns:a16="http://schemas.microsoft.com/office/drawing/2014/main" id="{559C5CFB-B676-C4BE-6060-525D361FC4FB}"/>
              </a:ext>
            </a:extLst>
          </p:cNvPr>
          <p:cNvSpPr/>
          <p:nvPr/>
        </p:nvSpPr>
        <p:spPr>
          <a:xfrm>
            <a:off x="8092575" y="3283040"/>
            <a:ext cx="405378" cy="2776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hteck 23">
            <a:extLst>
              <a:ext uri="{FF2B5EF4-FFF2-40B4-BE49-F238E27FC236}">
                <a16:creationId xmlns:a16="http://schemas.microsoft.com/office/drawing/2014/main" id="{AE0DC0B6-53DA-1C83-21A1-22CA79836A33}"/>
              </a:ext>
            </a:extLst>
          </p:cNvPr>
          <p:cNvSpPr/>
          <p:nvPr/>
        </p:nvSpPr>
        <p:spPr>
          <a:xfrm>
            <a:off x="9608656" y="3291173"/>
            <a:ext cx="565686" cy="3926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5" name="Graphic 38" descr="Shield Cross with solid fill">
            <a:extLst>
              <a:ext uri="{FF2B5EF4-FFF2-40B4-BE49-F238E27FC236}">
                <a16:creationId xmlns:a16="http://schemas.microsoft.com/office/drawing/2014/main" id="{1652DF1B-2EED-932B-AF51-DAA8D310CF7F}"/>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573818" y="3217071"/>
            <a:ext cx="457200" cy="457200"/>
          </a:xfrm>
          <a:prstGeom prst="rect">
            <a:avLst/>
          </a:prstGeom>
        </p:spPr>
      </p:pic>
      <p:sp>
        <p:nvSpPr>
          <p:cNvPr id="92" name="Rechteck: abgerundete Ecken 91">
            <a:extLst>
              <a:ext uri="{FF2B5EF4-FFF2-40B4-BE49-F238E27FC236}">
                <a16:creationId xmlns:a16="http://schemas.microsoft.com/office/drawing/2014/main" id="{452AAC9B-77FA-40FC-87BC-646BEA40AC5F}"/>
              </a:ext>
            </a:extLst>
          </p:cNvPr>
          <p:cNvSpPr/>
          <p:nvPr/>
        </p:nvSpPr>
        <p:spPr>
          <a:xfrm>
            <a:off x="406957" y="1048362"/>
            <a:ext cx="4050158" cy="2282648"/>
          </a:xfrm>
          <a:prstGeom prst="roundRect">
            <a:avLst>
              <a:gd name="adj" fmla="val 14073"/>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solidFill>
                <a:schemeClr val="tx1"/>
              </a:solidFill>
            </a:endParaRPr>
          </a:p>
        </p:txBody>
      </p:sp>
      <p:pic>
        <p:nvPicPr>
          <p:cNvPr id="79" name="Graphic 37" descr="Shield Cross with solid fill">
            <a:extLst>
              <a:ext uri="{FF2B5EF4-FFF2-40B4-BE49-F238E27FC236}">
                <a16:creationId xmlns:a16="http://schemas.microsoft.com/office/drawing/2014/main" id="{E8B9E1FB-B4EA-46A7-596C-F0D14D0BB5A8}"/>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094997" y="3183198"/>
            <a:ext cx="457200" cy="457200"/>
          </a:xfrm>
          <a:prstGeom prst="rect">
            <a:avLst/>
          </a:prstGeom>
        </p:spPr>
      </p:pic>
      <p:cxnSp>
        <p:nvCxnSpPr>
          <p:cNvPr id="95" name="Gerader Verbinder 46">
            <a:extLst>
              <a:ext uri="{FF2B5EF4-FFF2-40B4-BE49-F238E27FC236}">
                <a16:creationId xmlns:a16="http://schemas.microsoft.com/office/drawing/2014/main" id="{BD14D9AD-7874-46E8-A384-5CDBA166D9E6}"/>
              </a:ext>
            </a:extLst>
          </p:cNvPr>
          <p:cNvCxnSpPr>
            <a:cxnSpLocks/>
          </p:cNvCxnSpPr>
          <p:nvPr/>
        </p:nvCxnSpPr>
        <p:spPr>
          <a:xfrm>
            <a:off x="7615949" y="3225442"/>
            <a:ext cx="981324" cy="616092"/>
          </a:xfrm>
          <a:prstGeom prst="line">
            <a:avLst/>
          </a:prstGeom>
          <a:ln w="12700">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3" name="Inhaltsplatzhalter 2">
            <a:extLst>
              <a:ext uri="{FF2B5EF4-FFF2-40B4-BE49-F238E27FC236}">
                <a16:creationId xmlns:a16="http://schemas.microsoft.com/office/drawing/2014/main" id="{6BE873F6-18A5-5ED0-CAF6-E665DBC70CB6}"/>
              </a:ext>
            </a:extLst>
          </p:cNvPr>
          <p:cNvSpPr>
            <a:spLocks noGrp="1"/>
          </p:cNvSpPr>
          <p:nvPr>
            <p:ph sz="half" idx="1"/>
          </p:nvPr>
        </p:nvSpPr>
        <p:spPr>
          <a:xfrm>
            <a:off x="490541" y="1131889"/>
            <a:ext cx="3966574" cy="2289314"/>
          </a:xfrm>
          <a:noFill/>
        </p:spPr>
        <p:txBody>
          <a:bodyPr/>
          <a:lstStyle/>
          <a:p>
            <a:pPr marL="0" indent="0">
              <a:buNone/>
            </a:pPr>
            <a:r>
              <a:rPr lang="en-US" sz="1600" b="1" u="sng"/>
              <a:t>Solution</a:t>
            </a:r>
          </a:p>
          <a:p>
            <a:r>
              <a:rPr lang="en-US" sz="1600"/>
              <a:t>Full HW and SW Lifecycle Management and Security</a:t>
            </a:r>
          </a:p>
          <a:p>
            <a:r>
              <a:rPr lang="en-US" sz="1600"/>
              <a:t>Automated Security Assessments</a:t>
            </a:r>
          </a:p>
          <a:p>
            <a:pPr lvl="1"/>
            <a:r>
              <a:rPr lang="en-US" sz="1400"/>
              <a:t>Penetration Tests</a:t>
            </a:r>
          </a:p>
          <a:p>
            <a:pPr lvl="1"/>
            <a:r>
              <a:rPr lang="en-US" sz="1400"/>
              <a:t>Vulnerability Scans</a:t>
            </a:r>
          </a:p>
          <a:p>
            <a:r>
              <a:rPr lang="en-US" sz="1600"/>
              <a:t>Cyber-Resilience: AI-driven anomaly detection and recovery</a:t>
            </a:r>
          </a:p>
        </p:txBody>
      </p:sp>
    </p:spTree>
    <p:extLst>
      <p:ext uri="{BB962C8B-B14F-4D97-AF65-F5344CB8AC3E}">
        <p14:creationId xmlns:p14="http://schemas.microsoft.com/office/powerpoint/2010/main" val="3757193397"/>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4562EDF-572B-467F-AB80-A4CF18E58417}"/>
              </a:ext>
            </a:extLst>
          </p:cNvPr>
          <p:cNvSpPr>
            <a:spLocks noGrp="1"/>
          </p:cNvSpPr>
          <p:nvPr>
            <p:ph type="title"/>
          </p:nvPr>
        </p:nvSpPr>
        <p:spPr/>
        <p:txBody>
          <a:bodyPr/>
          <a:lstStyle/>
          <a:p>
            <a:r>
              <a:rPr lang="en-US"/>
              <a:t>Technology</a:t>
            </a:r>
          </a:p>
        </p:txBody>
      </p:sp>
      <p:sp>
        <p:nvSpPr>
          <p:cNvPr id="5" name="Textplatzhalter 4">
            <a:extLst>
              <a:ext uri="{FF2B5EF4-FFF2-40B4-BE49-F238E27FC236}">
                <a16:creationId xmlns:a16="http://schemas.microsoft.com/office/drawing/2014/main" id="{6644065C-808A-4A27-8E30-920147FCA632}"/>
              </a:ext>
            </a:extLst>
          </p:cNvPr>
          <p:cNvSpPr>
            <a:spLocks noGrp="1"/>
          </p:cNvSpPr>
          <p:nvPr>
            <p:ph type="body" idx="1"/>
          </p:nvPr>
        </p:nvSpPr>
        <p:spPr/>
        <p:txBody>
          <a:bodyPr/>
          <a:lstStyle/>
          <a:p>
            <a:endParaRPr lang="en-US"/>
          </a:p>
        </p:txBody>
      </p:sp>
      <p:pic>
        <p:nvPicPr>
          <p:cNvPr id="6" name="Picture 2">
            <a:extLst>
              <a:ext uri="{FF2B5EF4-FFF2-40B4-BE49-F238E27FC236}">
                <a16:creationId xmlns:a16="http://schemas.microsoft.com/office/drawing/2014/main" id="{D774758C-0346-4CEB-ADD3-3E650C8B95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31644" y="2924820"/>
            <a:ext cx="5041106" cy="25990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7360075"/>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23E7E9-18D4-7B0B-3B88-B075988F6B6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B3196CD-001C-B577-1192-AE75AB6E4358}"/>
              </a:ext>
            </a:extLst>
          </p:cNvPr>
          <p:cNvSpPr>
            <a:spLocks noGrp="1"/>
          </p:cNvSpPr>
          <p:nvPr>
            <p:ph type="title"/>
          </p:nvPr>
        </p:nvSpPr>
        <p:spPr/>
        <p:txBody>
          <a:bodyPr/>
          <a:lstStyle/>
          <a:p>
            <a:r>
              <a:rPr lang="en-US"/>
              <a:t>Grant-free access technology for IoT via Satellite</a:t>
            </a:r>
          </a:p>
        </p:txBody>
      </p:sp>
      <p:sp>
        <p:nvSpPr>
          <p:cNvPr id="3" name="Inhaltsplatzhalter 2">
            <a:extLst>
              <a:ext uri="{FF2B5EF4-FFF2-40B4-BE49-F238E27FC236}">
                <a16:creationId xmlns:a16="http://schemas.microsoft.com/office/drawing/2014/main" id="{F42495F3-EE84-0459-0041-3761B3E2F850}"/>
              </a:ext>
            </a:extLst>
          </p:cNvPr>
          <p:cNvSpPr>
            <a:spLocks noGrp="1"/>
          </p:cNvSpPr>
          <p:nvPr>
            <p:ph sz="half" idx="1"/>
          </p:nvPr>
        </p:nvSpPr>
        <p:spPr/>
        <p:txBody>
          <a:bodyPr/>
          <a:lstStyle/>
          <a:p>
            <a:r>
              <a:rPr lang="en-US"/>
              <a:t>Massive Grant-free access is missing in 5G</a:t>
            </a:r>
          </a:p>
          <a:p>
            <a:pPr lvl="1"/>
            <a:r>
              <a:rPr lang="en-US"/>
              <a:t>In 5G grant-free access can serve only a limited number of IoT sensors</a:t>
            </a:r>
          </a:p>
          <a:p>
            <a:pPr lvl="1"/>
            <a:r>
              <a:rPr lang="en-US"/>
              <a:t>In 5G, the waveform and access policy are optimized for TN and only adapted to NTN</a:t>
            </a:r>
          </a:p>
          <a:p>
            <a:endParaRPr lang="en-US"/>
          </a:p>
          <a:p>
            <a:r>
              <a:rPr lang="en-US"/>
              <a:t>What is new </a:t>
            </a:r>
          </a:p>
          <a:p>
            <a:pPr lvl="1"/>
            <a:r>
              <a:rPr lang="en-US"/>
              <a:t>Our grant-free access technology can serve a massive number of IoT sensors</a:t>
            </a:r>
          </a:p>
          <a:p>
            <a:pPr lvl="1"/>
            <a:r>
              <a:rPr lang="en-US"/>
              <a:t>The waveform and access policy is optimized for NTN</a:t>
            </a:r>
          </a:p>
          <a:p>
            <a:endParaRPr lang="en-US"/>
          </a:p>
        </p:txBody>
      </p:sp>
      <p:pic>
        <p:nvPicPr>
          <p:cNvPr id="5" name="Picture 2">
            <a:extLst>
              <a:ext uri="{FF2B5EF4-FFF2-40B4-BE49-F238E27FC236}">
                <a16:creationId xmlns:a16="http://schemas.microsoft.com/office/drawing/2014/main" id="{DEA86D6E-DC29-D3B5-A547-F4DE738D1394}"/>
              </a:ext>
            </a:extLst>
          </p:cNvPr>
          <p:cNvPicPr>
            <a:picLocks noChangeAspect="1"/>
          </p:cNvPicPr>
          <p:nvPr/>
        </p:nvPicPr>
        <p:blipFill>
          <a:blip r:embed="rId2"/>
          <a:stretch>
            <a:fillRect/>
          </a:stretch>
        </p:blipFill>
        <p:spPr>
          <a:xfrm>
            <a:off x="8074552" y="918004"/>
            <a:ext cx="2881604" cy="2362301"/>
          </a:xfrm>
          <a:prstGeom prst="rect">
            <a:avLst/>
          </a:prstGeom>
        </p:spPr>
      </p:pic>
      <p:sp>
        <p:nvSpPr>
          <p:cNvPr id="6" name="TextBox 4">
            <a:extLst>
              <a:ext uri="{FF2B5EF4-FFF2-40B4-BE49-F238E27FC236}">
                <a16:creationId xmlns:a16="http://schemas.microsoft.com/office/drawing/2014/main" id="{4A19EBE9-0F8F-373E-9D52-6BF640392931}"/>
              </a:ext>
            </a:extLst>
          </p:cNvPr>
          <p:cNvSpPr txBox="1"/>
          <p:nvPr/>
        </p:nvSpPr>
        <p:spPr>
          <a:xfrm>
            <a:off x="9043341" y="3275244"/>
            <a:ext cx="146245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ea typeface="Calibri"/>
                <a:cs typeface="Calibri"/>
              </a:rPr>
              <a:t># of sensors</a:t>
            </a:r>
            <a:endParaRPr lang="en-US"/>
          </a:p>
        </p:txBody>
      </p:sp>
      <p:pic>
        <p:nvPicPr>
          <p:cNvPr id="7" name="Picture 8">
            <a:extLst>
              <a:ext uri="{FF2B5EF4-FFF2-40B4-BE49-F238E27FC236}">
                <a16:creationId xmlns:a16="http://schemas.microsoft.com/office/drawing/2014/main" id="{71DA4B79-B669-82D0-8D99-82806D273B4C}"/>
              </a:ext>
            </a:extLst>
          </p:cNvPr>
          <p:cNvPicPr>
            <a:picLocks noChangeAspect="1"/>
          </p:cNvPicPr>
          <p:nvPr/>
        </p:nvPicPr>
        <p:blipFill>
          <a:blip r:embed="rId3"/>
          <a:stretch>
            <a:fillRect/>
          </a:stretch>
        </p:blipFill>
        <p:spPr>
          <a:xfrm>
            <a:off x="8593709" y="4514346"/>
            <a:ext cx="1915030" cy="866775"/>
          </a:xfrm>
          <a:prstGeom prst="rect">
            <a:avLst/>
          </a:prstGeom>
        </p:spPr>
      </p:pic>
      <p:pic>
        <p:nvPicPr>
          <p:cNvPr id="8" name="Picture 9">
            <a:extLst>
              <a:ext uri="{FF2B5EF4-FFF2-40B4-BE49-F238E27FC236}">
                <a16:creationId xmlns:a16="http://schemas.microsoft.com/office/drawing/2014/main" id="{6E89A322-7827-BC77-7EE9-E9DB14D9006E}"/>
              </a:ext>
            </a:extLst>
          </p:cNvPr>
          <p:cNvPicPr>
            <a:picLocks noChangeAspect="1"/>
          </p:cNvPicPr>
          <p:nvPr/>
        </p:nvPicPr>
        <p:blipFill>
          <a:blip r:embed="rId4"/>
          <a:stretch>
            <a:fillRect/>
          </a:stretch>
        </p:blipFill>
        <p:spPr>
          <a:xfrm>
            <a:off x="5613528" y="1882939"/>
            <a:ext cx="1410072" cy="828675"/>
          </a:xfrm>
          <a:prstGeom prst="rect">
            <a:avLst/>
          </a:prstGeom>
        </p:spPr>
      </p:pic>
      <p:pic>
        <p:nvPicPr>
          <p:cNvPr id="9" name="Picture 10">
            <a:extLst>
              <a:ext uri="{FF2B5EF4-FFF2-40B4-BE49-F238E27FC236}">
                <a16:creationId xmlns:a16="http://schemas.microsoft.com/office/drawing/2014/main" id="{17F6BE04-5D06-49E7-6F2A-915D52A27835}"/>
              </a:ext>
            </a:extLst>
          </p:cNvPr>
          <p:cNvPicPr>
            <a:picLocks noChangeAspect="1"/>
          </p:cNvPicPr>
          <p:nvPr/>
        </p:nvPicPr>
        <p:blipFill>
          <a:blip r:embed="rId4"/>
          <a:stretch>
            <a:fillRect/>
          </a:stretch>
        </p:blipFill>
        <p:spPr>
          <a:xfrm>
            <a:off x="5612012" y="3045639"/>
            <a:ext cx="1410072" cy="828675"/>
          </a:xfrm>
          <a:prstGeom prst="rect">
            <a:avLst/>
          </a:prstGeom>
        </p:spPr>
      </p:pic>
      <p:pic>
        <p:nvPicPr>
          <p:cNvPr id="10" name="Picture 11">
            <a:extLst>
              <a:ext uri="{FF2B5EF4-FFF2-40B4-BE49-F238E27FC236}">
                <a16:creationId xmlns:a16="http://schemas.microsoft.com/office/drawing/2014/main" id="{036E6EF0-D7A6-39EC-33D8-3E87ABFE9222}"/>
              </a:ext>
            </a:extLst>
          </p:cNvPr>
          <p:cNvPicPr>
            <a:picLocks noChangeAspect="1"/>
          </p:cNvPicPr>
          <p:nvPr/>
        </p:nvPicPr>
        <p:blipFill>
          <a:blip r:embed="rId4"/>
          <a:stretch>
            <a:fillRect/>
          </a:stretch>
        </p:blipFill>
        <p:spPr>
          <a:xfrm>
            <a:off x="5611975" y="4764686"/>
            <a:ext cx="1410072" cy="828675"/>
          </a:xfrm>
          <a:prstGeom prst="rect">
            <a:avLst/>
          </a:prstGeom>
        </p:spPr>
      </p:pic>
      <p:cxnSp>
        <p:nvCxnSpPr>
          <p:cNvPr id="11" name="Straight Arrow Connector 13">
            <a:extLst>
              <a:ext uri="{FF2B5EF4-FFF2-40B4-BE49-F238E27FC236}">
                <a16:creationId xmlns:a16="http://schemas.microsoft.com/office/drawing/2014/main" id="{9B975379-70CB-7D24-2391-DD7EAFA0F716}"/>
              </a:ext>
            </a:extLst>
          </p:cNvPr>
          <p:cNvCxnSpPr/>
          <p:nvPr/>
        </p:nvCxnSpPr>
        <p:spPr>
          <a:xfrm>
            <a:off x="7193851" y="2317014"/>
            <a:ext cx="1578433" cy="22439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4">
            <a:extLst>
              <a:ext uri="{FF2B5EF4-FFF2-40B4-BE49-F238E27FC236}">
                <a16:creationId xmlns:a16="http://schemas.microsoft.com/office/drawing/2014/main" id="{CDE4FE78-1E0F-4D60-C6A6-746A885F1793}"/>
              </a:ext>
            </a:extLst>
          </p:cNvPr>
          <p:cNvCxnSpPr>
            <a:cxnSpLocks/>
          </p:cNvCxnSpPr>
          <p:nvPr/>
        </p:nvCxnSpPr>
        <p:spPr>
          <a:xfrm>
            <a:off x="7054140" y="3536794"/>
            <a:ext cx="1584691" cy="11053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5">
            <a:extLst>
              <a:ext uri="{FF2B5EF4-FFF2-40B4-BE49-F238E27FC236}">
                <a16:creationId xmlns:a16="http://schemas.microsoft.com/office/drawing/2014/main" id="{D1FF0D40-CA04-0B39-09E0-7EF53DA94FF0}"/>
              </a:ext>
            </a:extLst>
          </p:cNvPr>
          <p:cNvCxnSpPr>
            <a:cxnSpLocks/>
          </p:cNvCxnSpPr>
          <p:nvPr/>
        </p:nvCxnSpPr>
        <p:spPr>
          <a:xfrm flipV="1">
            <a:off x="6927086" y="4792160"/>
            <a:ext cx="1728613" cy="4585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TextBox 17">
            <a:extLst>
              <a:ext uri="{FF2B5EF4-FFF2-40B4-BE49-F238E27FC236}">
                <a16:creationId xmlns:a16="http://schemas.microsoft.com/office/drawing/2014/main" id="{6E186274-2F6B-1F84-CD80-E30231022EA4}"/>
              </a:ext>
            </a:extLst>
          </p:cNvPr>
          <p:cNvSpPr txBox="1"/>
          <p:nvPr/>
        </p:nvSpPr>
        <p:spPr>
          <a:xfrm>
            <a:off x="5528098" y="4332380"/>
            <a:ext cx="2743200" cy="3694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ea typeface="Calibri"/>
                <a:cs typeface="Calibri"/>
              </a:rPr>
              <a:t>Wireless UMAC channel</a:t>
            </a:r>
            <a:endParaRPr lang="en-US"/>
          </a:p>
        </p:txBody>
      </p:sp>
      <p:sp>
        <p:nvSpPr>
          <p:cNvPr id="15" name="TextBox 18">
            <a:extLst>
              <a:ext uri="{FF2B5EF4-FFF2-40B4-BE49-F238E27FC236}">
                <a16:creationId xmlns:a16="http://schemas.microsoft.com/office/drawing/2014/main" id="{E1928E40-36C8-8542-1097-26F87A041297}"/>
              </a:ext>
            </a:extLst>
          </p:cNvPr>
          <p:cNvSpPr txBox="1"/>
          <p:nvPr/>
        </p:nvSpPr>
        <p:spPr>
          <a:xfrm>
            <a:off x="9040920" y="4087883"/>
            <a:ext cx="146245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ea typeface="Calibri"/>
                <a:cs typeface="Calibri"/>
              </a:rPr>
              <a:t>Receiver</a:t>
            </a:r>
            <a:endParaRPr lang="en-US"/>
          </a:p>
        </p:txBody>
      </p:sp>
    </p:spTree>
    <p:extLst>
      <p:ext uri="{BB962C8B-B14F-4D97-AF65-F5344CB8AC3E}">
        <p14:creationId xmlns:p14="http://schemas.microsoft.com/office/powerpoint/2010/main" val="1793038787"/>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CEFC4841-3499-436E-AC2A-C2216E0A59F1}"/>
              </a:ext>
            </a:extLst>
          </p:cNvPr>
          <p:cNvSpPr>
            <a:spLocks noGrp="1"/>
          </p:cNvSpPr>
          <p:nvPr>
            <p:ph type="title"/>
          </p:nvPr>
        </p:nvSpPr>
        <p:spPr/>
        <p:txBody>
          <a:bodyPr/>
          <a:lstStyle/>
          <a:p>
            <a:r>
              <a:rPr lang="en-US"/>
              <a:t>Steerable Antenna Systems for UAVs</a:t>
            </a:r>
            <a:endParaRPr lang="en-US" noProof="0"/>
          </a:p>
        </p:txBody>
      </p:sp>
      <p:sp>
        <p:nvSpPr>
          <p:cNvPr id="6" name="Inhaltsplatzhalter 5">
            <a:extLst>
              <a:ext uri="{FF2B5EF4-FFF2-40B4-BE49-F238E27FC236}">
                <a16:creationId xmlns:a16="http://schemas.microsoft.com/office/drawing/2014/main" id="{F8415785-4E23-4E9C-877E-524655334521}"/>
              </a:ext>
            </a:extLst>
          </p:cNvPr>
          <p:cNvSpPr>
            <a:spLocks noGrp="1"/>
          </p:cNvSpPr>
          <p:nvPr>
            <p:ph sz="half" idx="1"/>
          </p:nvPr>
        </p:nvSpPr>
        <p:spPr/>
        <p:txBody>
          <a:bodyPr lIns="0" tIns="0" rIns="0" bIns="0" anchor="t">
            <a:normAutofit/>
          </a:bodyPr>
          <a:lstStyle/>
          <a:p>
            <a:pPr marL="0" indent="0">
              <a:buNone/>
            </a:pPr>
            <a:r>
              <a:rPr lang="en-US" sz="2150" b="1">
                <a:ea typeface="Microsoft YaHei"/>
                <a:cs typeface="Arial"/>
              </a:rPr>
              <a:t>Challenging requirements </a:t>
            </a:r>
            <a:r>
              <a:rPr lang="en-US" sz="2150">
                <a:ea typeface="Microsoft YaHei"/>
                <a:cs typeface="Arial"/>
              </a:rPr>
              <a:t>for beamforming antennas, UAV tracking algorithms, on-board units:</a:t>
            </a:r>
          </a:p>
          <a:p>
            <a:pPr marL="405765" lvl="1"/>
            <a:r>
              <a:rPr lang="en-US" sz="2000"/>
              <a:t>Light-weight</a:t>
            </a:r>
            <a:endParaRPr lang="en-US" sz="2000">
              <a:ea typeface="Calibri"/>
              <a:cs typeface="Calibri"/>
            </a:endParaRPr>
          </a:p>
          <a:p>
            <a:pPr marL="405765" lvl="1"/>
            <a:r>
              <a:rPr lang="en-US" sz="2000"/>
              <a:t>Energy-efficient</a:t>
            </a:r>
            <a:endParaRPr lang="en-US" sz="2000">
              <a:ea typeface="Calibri"/>
              <a:cs typeface="Calibri"/>
            </a:endParaRPr>
          </a:p>
          <a:p>
            <a:pPr marL="405765" lvl="1"/>
            <a:r>
              <a:rPr lang="en-US" sz="2000"/>
              <a:t>Resistant to adverse environment</a:t>
            </a:r>
            <a:endParaRPr lang="en-US" sz="2000">
              <a:ea typeface="Calibri"/>
              <a:cs typeface="Calibri"/>
            </a:endParaRPr>
          </a:p>
          <a:p>
            <a:pPr marL="0" indent="0">
              <a:buNone/>
            </a:pPr>
            <a:endParaRPr lang="en-US" sz="2200">
              <a:ea typeface="Calibri"/>
              <a:cs typeface="Calibri"/>
            </a:endParaRPr>
          </a:p>
          <a:p>
            <a:pPr marL="0" indent="0">
              <a:buNone/>
            </a:pPr>
            <a:r>
              <a:rPr lang="en-US" sz="2200" b="1">
                <a:ea typeface="Calibri" panose="020F0502020204030204"/>
                <a:cs typeface="Calibri" panose="020F0502020204030204"/>
              </a:rPr>
              <a:t>Challenging requirements </a:t>
            </a:r>
            <a:r>
              <a:rPr lang="en-US" sz="2200">
                <a:ea typeface="Calibri" panose="020F0502020204030204"/>
                <a:cs typeface="Calibri" panose="020F0502020204030204"/>
              </a:rPr>
              <a:t>for </a:t>
            </a:r>
            <a:br>
              <a:rPr lang="en-US" sz="2200">
                <a:ea typeface="Calibri" panose="020F0502020204030204"/>
                <a:cs typeface="Calibri" panose="020F0502020204030204"/>
              </a:rPr>
            </a:br>
            <a:r>
              <a:rPr lang="en-US">
                <a:ea typeface="Calibri" panose="020F0502020204030204"/>
                <a:cs typeface="Calibri" panose="020F0502020204030204"/>
              </a:rPr>
              <a:t>ground stations:</a:t>
            </a:r>
            <a:endParaRPr lang="en-US" sz="2000">
              <a:ea typeface="Calibri" panose="020F0502020204030204"/>
              <a:cs typeface="Calibri" panose="020F0502020204030204"/>
            </a:endParaRPr>
          </a:p>
          <a:p>
            <a:pPr marL="405765" lvl="1" indent="-285750">
              <a:buFont typeface="Arial"/>
              <a:buChar char="•"/>
            </a:pPr>
            <a:r>
              <a:rPr lang="en-US" sz="2000">
                <a:ea typeface="Calibri" panose="020F0502020204030204"/>
                <a:cs typeface="Calibri" panose="020F0502020204030204"/>
              </a:rPr>
              <a:t>Low price point</a:t>
            </a:r>
          </a:p>
          <a:p>
            <a:pPr marL="405765" lvl="1" indent="-285750">
              <a:buFont typeface="Arial"/>
              <a:buChar char="•"/>
            </a:pPr>
            <a:r>
              <a:rPr lang="en-US" sz="2000">
                <a:ea typeface="Calibri" panose="020F0502020204030204"/>
                <a:cs typeface="Calibri" panose="020F0502020204030204"/>
              </a:rPr>
              <a:t>High pointing accuracy and directivity</a:t>
            </a:r>
          </a:p>
          <a:p>
            <a:pPr marL="405765" lvl="1" indent="-285750">
              <a:buFont typeface="Arial"/>
              <a:buChar char="•"/>
            </a:pPr>
            <a:r>
              <a:rPr lang="en-US" sz="2000">
                <a:ea typeface="Calibri" panose="020F0502020204030204"/>
                <a:cs typeface="Calibri" panose="020F0502020204030204"/>
              </a:rPr>
              <a:t>Fault and tamper resistant</a:t>
            </a:r>
          </a:p>
          <a:p>
            <a:pPr marL="0" indent="0">
              <a:buNone/>
            </a:pPr>
            <a:endParaRPr lang="en-US" sz="2200">
              <a:ea typeface="Calibri" panose="020F0502020204030204"/>
              <a:cs typeface="Calibri" panose="020F0502020204030204"/>
            </a:endParaRPr>
          </a:p>
          <a:p>
            <a:pPr marL="405765" lvl="1"/>
            <a:endParaRPr lang="en-US" sz="1815">
              <a:ea typeface="Calibri" panose="020F0502020204030204"/>
              <a:cs typeface="Calibri" panose="020F0502020204030204"/>
            </a:endParaRPr>
          </a:p>
        </p:txBody>
      </p:sp>
      <p:pic>
        <p:nvPicPr>
          <p:cNvPr id="7" name="Picture 2">
            <a:extLst>
              <a:ext uri="{FF2B5EF4-FFF2-40B4-BE49-F238E27FC236}">
                <a16:creationId xmlns:a16="http://schemas.microsoft.com/office/drawing/2014/main" id="{8C12AF7E-8EE9-F17D-111E-C4E9D5A5157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46133" y="1708029"/>
            <a:ext cx="5973266" cy="30796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5821702"/>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23075B-9541-5EAC-4311-4033C6BC996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5348450-2EDA-5FD5-EAB7-90A0E26B0384}"/>
              </a:ext>
            </a:extLst>
          </p:cNvPr>
          <p:cNvSpPr>
            <a:spLocks noGrp="1"/>
          </p:cNvSpPr>
          <p:nvPr>
            <p:ph type="title"/>
          </p:nvPr>
        </p:nvSpPr>
        <p:spPr/>
        <p:txBody>
          <a:bodyPr/>
          <a:lstStyle/>
          <a:p>
            <a:r>
              <a:rPr lang="en-US" noProof="0"/>
              <a:t>Antennas and RF frontend</a:t>
            </a:r>
          </a:p>
        </p:txBody>
      </p:sp>
      <p:sp>
        <p:nvSpPr>
          <p:cNvPr id="7" name="Inhaltsplatzhalter 6">
            <a:extLst>
              <a:ext uri="{FF2B5EF4-FFF2-40B4-BE49-F238E27FC236}">
                <a16:creationId xmlns:a16="http://schemas.microsoft.com/office/drawing/2014/main" id="{5B756A53-159B-661F-61D5-C4CA34347C63}"/>
              </a:ext>
            </a:extLst>
          </p:cNvPr>
          <p:cNvSpPr>
            <a:spLocks noGrp="1"/>
          </p:cNvSpPr>
          <p:nvPr>
            <p:ph sz="half" idx="1"/>
          </p:nvPr>
        </p:nvSpPr>
        <p:spPr>
          <a:xfrm>
            <a:off x="490541" y="1131888"/>
            <a:ext cx="5582346" cy="4608512"/>
          </a:xfrm>
        </p:spPr>
        <p:txBody>
          <a:bodyPr lIns="0" tIns="0" rIns="0" bIns="0" anchor="t">
            <a:noAutofit/>
          </a:bodyPr>
          <a:lstStyle/>
          <a:p>
            <a:pPr marL="251460" indent="-251460"/>
            <a:r>
              <a:rPr lang="en-US" err="1">
                <a:ea typeface="Microsoft YaHei"/>
                <a:cs typeface="Arial"/>
              </a:rPr>
              <a:t>mmWave</a:t>
            </a:r>
            <a:r>
              <a:rPr lang="en-US">
                <a:ea typeface="Microsoft YaHei"/>
                <a:cs typeface="Arial"/>
              </a:rPr>
              <a:t> phased array antenna for LAPS/HAPS</a:t>
            </a:r>
          </a:p>
          <a:p>
            <a:pPr marL="251460" indent="-251460"/>
            <a:r>
              <a:rPr lang="en-US">
                <a:ea typeface="Microsoft YaHei"/>
                <a:cs typeface="Arial"/>
              </a:rPr>
              <a:t>Innovative brick structure (matrix of antennas)</a:t>
            </a:r>
          </a:p>
          <a:p>
            <a:pPr marL="251460" indent="-251460"/>
            <a:r>
              <a:rPr lang="en-US">
                <a:ea typeface="Microsoft YaHei"/>
                <a:cs typeface="Arial"/>
              </a:rPr>
              <a:t>Precise control of phase and amplitude of </a:t>
            </a:r>
            <a:br>
              <a:rPr lang="en-US">
                <a:ea typeface="Microsoft YaHei"/>
                <a:cs typeface="Arial"/>
              </a:rPr>
            </a:br>
            <a:r>
              <a:rPr lang="en-US">
                <a:ea typeface="Microsoft YaHei"/>
                <a:cs typeface="Arial"/>
              </a:rPr>
              <a:t>individual antenna elements</a:t>
            </a:r>
          </a:p>
          <a:p>
            <a:pPr marL="251460" indent="-251460"/>
            <a:r>
              <a:rPr lang="en-US">
                <a:ea typeface="Microsoft YaHei"/>
                <a:cs typeface="Arial"/>
              </a:rPr>
              <a:t>RF frontend based on commercial off-the- shelf components</a:t>
            </a:r>
          </a:p>
          <a:p>
            <a:pPr marL="251460" indent="-251460"/>
            <a:r>
              <a:rPr lang="en-US">
                <a:ea typeface="Microsoft YaHei"/>
                <a:cs typeface="Arial"/>
              </a:rPr>
              <a:t>Signal-to-noise ratio (SNR) of 25 dB over 25km</a:t>
            </a:r>
          </a:p>
        </p:txBody>
      </p:sp>
      <p:graphicFrame>
        <p:nvGraphicFramePr>
          <p:cNvPr id="18" name="Table 17">
            <a:extLst>
              <a:ext uri="{FF2B5EF4-FFF2-40B4-BE49-F238E27FC236}">
                <a16:creationId xmlns:a16="http://schemas.microsoft.com/office/drawing/2014/main" id="{46B02D6D-14A9-E3AD-4598-F70EEF457533}"/>
              </a:ext>
            </a:extLst>
          </p:cNvPr>
          <p:cNvGraphicFramePr>
            <a:graphicFrameLocks noGrp="1"/>
          </p:cNvGraphicFramePr>
          <p:nvPr>
            <p:extLst>
              <p:ext uri="{D42A27DB-BD31-4B8C-83A1-F6EECF244321}">
                <p14:modId xmlns:p14="http://schemas.microsoft.com/office/powerpoint/2010/main" val="3731340732"/>
              </p:ext>
            </p:extLst>
          </p:nvPr>
        </p:nvGraphicFramePr>
        <p:xfrm>
          <a:off x="843144" y="4009129"/>
          <a:ext cx="4687706" cy="1339534"/>
        </p:xfrm>
        <a:graphic>
          <a:graphicData uri="http://schemas.openxmlformats.org/drawingml/2006/table">
            <a:tbl>
              <a:tblPr firstRow="1" bandRow="1"/>
              <a:tblGrid>
                <a:gridCol w="2465054">
                  <a:extLst>
                    <a:ext uri="{9D8B030D-6E8A-4147-A177-3AD203B41FA5}">
                      <a16:colId xmlns:a16="http://schemas.microsoft.com/office/drawing/2014/main" val="20000"/>
                    </a:ext>
                  </a:extLst>
                </a:gridCol>
                <a:gridCol w="2222652">
                  <a:extLst>
                    <a:ext uri="{9D8B030D-6E8A-4147-A177-3AD203B41FA5}">
                      <a16:colId xmlns:a16="http://schemas.microsoft.com/office/drawing/2014/main" val="20001"/>
                    </a:ext>
                  </a:extLst>
                </a:gridCol>
              </a:tblGrid>
              <a:tr h="32014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400" noProof="0"/>
                        <a:t>Communication</a:t>
                      </a:r>
                      <a:r>
                        <a:rPr lang="en-US" sz="1400" baseline="0" noProof="0"/>
                        <a:t> link</a:t>
                      </a:r>
                      <a:endParaRPr lang="en-US" sz="1400" noProof="0"/>
                    </a:p>
                  </a:txBody>
                  <a:tcPr marL="82975" marR="82975" marT="41487" marB="41487">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508B"/>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400" noProof="0"/>
                        <a:t>Frequency band</a:t>
                      </a:r>
                    </a:p>
                  </a:txBody>
                  <a:tcPr marL="82975" marR="82975" marT="41487" marB="41487">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508B"/>
                    </a:solidFill>
                  </a:tcPr>
                </a:tc>
                <a:extLst>
                  <a:ext uri="{0D108BD9-81ED-4DB2-BD59-A6C34878D82A}">
                    <a16:rowId xmlns:a16="http://schemas.microsoft.com/office/drawing/2014/main" val="10000"/>
                  </a:ext>
                </a:extLst>
              </a:tr>
              <a:tr h="47976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400" b="1" noProof="0"/>
                        <a:t>Air-to-ground</a:t>
                      </a:r>
                    </a:p>
                    <a:p>
                      <a:pPr algn="ctr"/>
                      <a:r>
                        <a:rPr lang="en-US" sz="1400" b="1" noProof="0"/>
                        <a:t>(downlink)</a:t>
                      </a:r>
                    </a:p>
                  </a:txBody>
                  <a:tcPr marL="82975" marR="82975" marT="41487" marB="41487">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508B">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a:solidFill>
                            <a:schemeClr val="tx1"/>
                          </a:solidFill>
                        </a:rPr>
                        <a:t>38 – 38.3 GHz</a:t>
                      </a:r>
                    </a:p>
                  </a:txBody>
                  <a:tcPr marL="82975" marR="82975" marT="41487" marB="41487">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508B">
                        <a:tint val="40000"/>
                      </a:srgbClr>
                    </a:solidFill>
                  </a:tcPr>
                </a:tc>
                <a:extLst>
                  <a:ext uri="{0D108BD9-81ED-4DB2-BD59-A6C34878D82A}">
                    <a16:rowId xmlns:a16="http://schemas.microsoft.com/office/drawing/2014/main" val="10001"/>
                  </a:ext>
                </a:extLst>
              </a:tr>
              <a:tr h="49255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400" b="1" noProof="0"/>
                        <a:t>Ground-to-air</a:t>
                      </a:r>
                    </a:p>
                    <a:p>
                      <a:pPr algn="ctr"/>
                      <a:r>
                        <a:rPr lang="en-US" sz="1400" b="1" noProof="0"/>
                        <a:t>(uplink)</a:t>
                      </a:r>
                    </a:p>
                  </a:txBody>
                  <a:tcPr marL="82975" marR="82975" marT="41487" marB="41487">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508B">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400" b="1" noProof="0">
                          <a:solidFill>
                            <a:schemeClr val="tx1"/>
                          </a:solidFill>
                        </a:rPr>
                        <a:t>39.2 – 39.5 GHz</a:t>
                      </a:r>
                      <a:endParaRPr lang="en-US" sz="1400" b="1" noProof="0"/>
                    </a:p>
                  </a:txBody>
                  <a:tcPr marL="82975" marR="82975" marT="41487" marB="41487">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508B">
                        <a:tint val="20000"/>
                      </a:srgbClr>
                    </a:solidFill>
                  </a:tcPr>
                </a:tc>
                <a:extLst>
                  <a:ext uri="{0D108BD9-81ED-4DB2-BD59-A6C34878D82A}">
                    <a16:rowId xmlns:a16="http://schemas.microsoft.com/office/drawing/2014/main" val="10002"/>
                  </a:ext>
                </a:extLst>
              </a:tr>
            </a:tbl>
          </a:graphicData>
        </a:graphic>
      </p:graphicFrame>
      <p:pic>
        <p:nvPicPr>
          <p:cNvPr id="3" name="Picture 2" descr="A close up of a circuit board&#10;&#10;AI-generated content may be incorrect.">
            <a:extLst>
              <a:ext uri="{FF2B5EF4-FFF2-40B4-BE49-F238E27FC236}">
                <a16:creationId xmlns:a16="http://schemas.microsoft.com/office/drawing/2014/main" id="{2E596A36-9BA7-299C-D25F-37BAF522D358}"/>
              </a:ext>
            </a:extLst>
          </p:cNvPr>
          <p:cNvPicPr>
            <a:picLocks noChangeAspect="1"/>
          </p:cNvPicPr>
          <p:nvPr/>
        </p:nvPicPr>
        <p:blipFill>
          <a:blip r:embed="rId3"/>
          <a:stretch>
            <a:fillRect/>
          </a:stretch>
        </p:blipFill>
        <p:spPr>
          <a:xfrm>
            <a:off x="7108380" y="683743"/>
            <a:ext cx="2428877" cy="2428875"/>
          </a:xfrm>
          <a:prstGeom prst="rect">
            <a:avLst/>
          </a:prstGeom>
        </p:spPr>
      </p:pic>
      <p:pic>
        <p:nvPicPr>
          <p:cNvPr id="4" name="Picture 3" descr="A red and yellow circle with numbers&#10;&#10;AI-generated content may be incorrect.">
            <a:extLst>
              <a:ext uri="{FF2B5EF4-FFF2-40B4-BE49-F238E27FC236}">
                <a16:creationId xmlns:a16="http://schemas.microsoft.com/office/drawing/2014/main" id="{3958DEF2-C212-7577-07D8-465E4C27A273}"/>
              </a:ext>
            </a:extLst>
          </p:cNvPr>
          <p:cNvPicPr>
            <a:picLocks noChangeAspect="1"/>
          </p:cNvPicPr>
          <p:nvPr/>
        </p:nvPicPr>
        <p:blipFill>
          <a:blip r:embed="rId4"/>
          <a:stretch>
            <a:fillRect/>
          </a:stretch>
        </p:blipFill>
        <p:spPr>
          <a:xfrm>
            <a:off x="7360792" y="3502495"/>
            <a:ext cx="1924052" cy="1638300"/>
          </a:xfrm>
          <a:prstGeom prst="rect">
            <a:avLst/>
          </a:prstGeom>
        </p:spPr>
      </p:pic>
    </p:spTree>
    <p:extLst>
      <p:ext uri="{BB962C8B-B14F-4D97-AF65-F5344CB8AC3E}">
        <p14:creationId xmlns:p14="http://schemas.microsoft.com/office/powerpoint/2010/main" val="1591686061"/>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888844-E785-9315-4D53-776247FD72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8B6A4C7-8E72-1A43-C2E2-25EB4727A526}"/>
              </a:ext>
            </a:extLst>
          </p:cNvPr>
          <p:cNvSpPr>
            <a:spLocks noGrp="1"/>
          </p:cNvSpPr>
          <p:nvPr>
            <p:ph type="title"/>
          </p:nvPr>
        </p:nvSpPr>
        <p:spPr/>
        <p:txBody>
          <a:bodyPr/>
          <a:lstStyle/>
          <a:p>
            <a:r>
              <a:rPr lang="en-US" noProof="0"/>
              <a:t>Antennas and RF frontend</a:t>
            </a:r>
          </a:p>
        </p:txBody>
      </p:sp>
      <p:sp>
        <p:nvSpPr>
          <p:cNvPr id="7" name="Inhaltsplatzhalter 6">
            <a:extLst>
              <a:ext uri="{FF2B5EF4-FFF2-40B4-BE49-F238E27FC236}">
                <a16:creationId xmlns:a16="http://schemas.microsoft.com/office/drawing/2014/main" id="{6F3506D2-B724-31F4-B4DF-7018A8759D3C}"/>
              </a:ext>
            </a:extLst>
          </p:cNvPr>
          <p:cNvSpPr>
            <a:spLocks noGrp="1"/>
          </p:cNvSpPr>
          <p:nvPr>
            <p:ph sz="half" idx="1"/>
          </p:nvPr>
        </p:nvSpPr>
        <p:spPr>
          <a:xfrm>
            <a:off x="490540" y="1131888"/>
            <a:ext cx="5752779" cy="4608512"/>
          </a:xfrm>
        </p:spPr>
        <p:txBody>
          <a:bodyPr lIns="0" tIns="0" rIns="0" bIns="0" anchor="t">
            <a:noAutofit/>
          </a:bodyPr>
          <a:lstStyle/>
          <a:p>
            <a:pPr marL="0" indent="0">
              <a:buNone/>
            </a:pPr>
            <a:r>
              <a:rPr lang="en-US" b="1">
                <a:ea typeface="Microsoft YaHei"/>
                <a:cs typeface="Arial"/>
              </a:rPr>
              <a:t>Ground station based on 60 cm parabolic dish antenna</a:t>
            </a:r>
          </a:p>
          <a:p>
            <a:pPr marL="251460" indent="-251460"/>
            <a:r>
              <a:rPr lang="en-US">
                <a:ea typeface="Microsoft YaHei"/>
                <a:cs typeface="Arial"/>
              </a:rPr>
              <a:t>High gain: &gt; 41 dB at 40 GHz</a:t>
            </a:r>
          </a:p>
          <a:p>
            <a:pPr marL="251460" indent="-251460"/>
            <a:r>
              <a:rPr lang="en-US">
                <a:ea typeface="Microsoft YaHei"/>
                <a:cs typeface="Arial"/>
              </a:rPr>
              <a:t>High pointing accuracy:  &lt; 1°</a:t>
            </a:r>
          </a:p>
          <a:p>
            <a:pPr marL="251460" indent="-251460"/>
            <a:r>
              <a:rPr lang="en-US">
                <a:ea typeface="Microsoft YaHei"/>
                <a:cs typeface="Arial"/>
              </a:rPr>
              <a:t>RF frontend based on commercial components and standard industry processes for low price point and easy manufacturability</a:t>
            </a:r>
          </a:p>
          <a:p>
            <a:pPr marL="251460" indent="-251460"/>
            <a:r>
              <a:rPr lang="en-US">
                <a:ea typeface="Microsoft YaHei"/>
                <a:cs typeface="Arial"/>
              </a:rPr>
              <a:t>Open system architecture for easy integration</a:t>
            </a:r>
          </a:p>
        </p:txBody>
      </p:sp>
      <p:pic>
        <p:nvPicPr>
          <p:cNvPr id="6" name="Picture 5" descr="A green circuit board with gold connectors&#10;&#10;AI-generated content may be incorrect.">
            <a:extLst>
              <a:ext uri="{FF2B5EF4-FFF2-40B4-BE49-F238E27FC236}">
                <a16:creationId xmlns:a16="http://schemas.microsoft.com/office/drawing/2014/main" id="{827FC2B9-D4EE-D9E7-C059-D8552F3E5508}"/>
              </a:ext>
            </a:extLst>
          </p:cNvPr>
          <p:cNvPicPr>
            <a:picLocks noChangeAspect="1"/>
          </p:cNvPicPr>
          <p:nvPr/>
        </p:nvPicPr>
        <p:blipFill>
          <a:blip r:embed="rId2"/>
          <a:stretch>
            <a:fillRect/>
          </a:stretch>
        </p:blipFill>
        <p:spPr>
          <a:xfrm>
            <a:off x="6729615" y="2736861"/>
            <a:ext cx="3940143" cy="1677107"/>
          </a:xfrm>
          <a:prstGeom prst="rect">
            <a:avLst/>
          </a:prstGeom>
        </p:spPr>
      </p:pic>
      <p:pic>
        <p:nvPicPr>
          <p:cNvPr id="11" name="Picture 10" descr="A metal piece with screws&#10;&#10;AI-generated content may be incorrect.">
            <a:extLst>
              <a:ext uri="{FF2B5EF4-FFF2-40B4-BE49-F238E27FC236}">
                <a16:creationId xmlns:a16="http://schemas.microsoft.com/office/drawing/2014/main" id="{0CE03A60-6DE1-EF1F-E4B6-4193CE7C338D}"/>
              </a:ext>
            </a:extLst>
          </p:cNvPr>
          <p:cNvPicPr>
            <a:picLocks noChangeAspect="1"/>
          </p:cNvPicPr>
          <p:nvPr/>
        </p:nvPicPr>
        <p:blipFill>
          <a:blip r:embed="rId3"/>
          <a:stretch>
            <a:fillRect/>
          </a:stretch>
        </p:blipFill>
        <p:spPr>
          <a:xfrm>
            <a:off x="7267712" y="1217081"/>
            <a:ext cx="2556379" cy="1221053"/>
          </a:xfrm>
          <a:prstGeom prst="rect">
            <a:avLst/>
          </a:prstGeom>
        </p:spPr>
      </p:pic>
    </p:spTree>
    <p:extLst>
      <p:ext uri="{BB962C8B-B14F-4D97-AF65-F5344CB8AC3E}">
        <p14:creationId xmlns:p14="http://schemas.microsoft.com/office/powerpoint/2010/main" val="2374344934"/>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sosceles Triangle 3">
            <a:extLst>
              <a:ext uri="{FF2B5EF4-FFF2-40B4-BE49-F238E27FC236}">
                <a16:creationId xmlns:a16="http://schemas.microsoft.com/office/drawing/2014/main" id="{1561E9D9-2CA6-4976-AACA-DECB15DBD5FF}"/>
              </a:ext>
            </a:extLst>
          </p:cNvPr>
          <p:cNvSpPr/>
          <p:nvPr/>
        </p:nvSpPr>
        <p:spPr>
          <a:xfrm>
            <a:off x="1611146" y="1674777"/>
            <a:ext cx="7775654" cy="2510834"/>
          </a:xfrm>
          <a:prstGeom prst="triangl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5334" tIns="65334" rIns="65334" bIns="65334" rtlCol="0" anchor="ctr"/>
          <a:lstStyle/>
          <a:p>
            <a:pPr algn="ctr"/>
            <a:endParaRPr lang="en-US" sz="1633"/>
          </a:p>
        </p:txBody>
      </p:sp>
      <p:sp>
        <p:nvSpPr>
          <p:cNvPr id="6" name="Rectangle 5">
            <a:extLst>
              <a:ext uri="{FF2B5EF4-FFF2-40B4-BE49-F238E27FC236}">
                <a16:creationId xmlns:a16="http://schemas.microsoft.com/office/drawing/2014/main" id="{A065C83F-0C19-45FE-A196-AB0129147815}"/>
              </a:ext>
            </a:extLst>
          </p:cNvPr>
          <p:cNvSpPr/>
          <p:nvPr/>
        </p:nvSpPr>
        <p:spPr>
          <a:xfrm>
            <a:off x="573778" y="3544432"/>
            <a:ext cx="2940047" cy="829747"/>
          </a:xfrm>
          <a:prstGeom prst="rect">
            <a:avLst/>
          </a:prstGeom>
          <a:solidFill>
            <a:schemeClr val="accent4">
              <a:lumMod val="40000"/>
              <a:lumOff val="60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5334" tIns="65334" rIns="65334" bIns="65334" rtlCol="0" anchor="t"/>
          <a:lstStyle/>
          <a:p>
            <a:pPr algn="ctr"/>
            <a:r>
              <a:rPr lang="en-US" sz="1633" b="1">
                <a:solidFill>
                  <a:schemeClr val="tx1">
                    <a:lumMod val="65000"/>
                    <a:lumOff val="35000"/>
                  </a:schemeClr>
                </a:solidFill>
                <a:latin typeface="Arial" panose="020B0604020202020204" pitchFamily="34" charset="0"/>
                <a:cs typeface="Arial" panose="020B0604020202020204" pitchFamily="34" charset="0"/>
              </a:rPr>
              <a:t>Aerospace</a:t>
            </a:r>
            <a:br>
              <a:rPr lang="en-US" sz="1633" b="1">
                <a:solidFill>
                  <a:schemeClr val="tx1">
                    <a:lumMod val="65000"/>
                    <a:lumOff val="35000"/>
                  </a:schemeClr>
                </a:solidFill>
                <a:latin typeface="Arial" panose="020B0604020202020204" pitchFamily="34" charset="0"/>
                <a:cs typeface="Arial" panose="020B0604020202020204" pitchFamily="34" charset="0"/>
              </a:rPr>
            </a:br>
            <a:endParaRPr lang="en-US" sz="1633">
              <a:solidFill>
                <a:schemeClr val="tx1">
                  <a:lumMod val="65000"/>
                  <a:lumOff val="35000"/>
                </a:schemeClr>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2A272850-50F1-49CF-8BB1-FC82A00E28EC}"/>
              </a:ext>
            </a:extLst>
          </p:cNvPr>
          <p:cNvSpPr/>
          <p:nvPr/>
        </p:nvSpPr>
        <p:spPr>
          <a:xfrm>
            <a:off x="7557235" y="3544432"/>
            <a:ext cx="2940047" cy="829747"/>
          </a:xfrm>
          <a:prstGeom prst="rect">
            <a:avLst/>
          </a:prstGeom>
          <a:solidFill>
            <a:schemeClr val="accent4">
              <a:lumMod val="40000"/>
              <a:lumOff val="60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5334" tIns="65334" rIns="65334" bIns="65334" rtlCol="0" anchor="t"/>
          <a:lstStyle/>
          <a:p>
            <a:pPr algn="ctr"/>
            <a:r>
              <a:rPr lang="en-US" sz="1633" b="1">
                <a:solidFill>
                  <a:schemeClr val="tx1">
                    <a:lumMod val="65000"/>
                    <a:lumOff val="35000"/>
                  </a:schemeClr>
                </a:solidFill>
                <a:latin typeface="Arial" panose="020B0604020202020204" pitchFamily="34" charset="0"/>
                <a:cs typeface="Arial" panose="020B0604020202020204" pitchFamily="34" charset="0"/>
              </a:rPr>
              <a:t>Communications</a:t>
            </a:r>
            <a:br>
              <a:rPr lang="en-US" sz="1633" b="1">
                <a:solidFill>
                  <a:schemeClr val="tx1">
                    <a:lumMod val="65000"/>
                    <a:lumOff val="35000"/>
                  </a:schemeClr>
                </a:solidFill>
                <a:latin typeface="Arial" panose="020B0604020202020204" pitchFamily="34" charset="0"/>
                <a:cs typeface="Arial" panose="020B0604020202020204" pitchFamily="34" charset="0"/>
              </a:rPr>
            </a:br>
            <a:endParaRPr lang="en-US" sz="1633" b="1">
              <a:solidFill>
                <a:schemeClr val="tx1">
                  <a:lumMod val="65000"/>
                  <a:lumOff val="35000"/>
                </a:schemeClr>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9164F514-3A71-4652-885F-ADE2784348AD}"/>
              </a:ext>
            </a:extLst>
          </p:cNvPr>
          <p:cNvSpPr/>
          <p:nvPr/>
        </p:nvSpPr>
        <p:spPr>
          <a:xfrm>
            <a:off x="566232" y="4645002"/>
            <a:ext cx="9931050" cy="829747"/>
          </a:xfrm>
          <a:prstGeom prst="rect">
            <a:avLst/>
          </a:prstGeom>
          <a:solidFill>
            <a:schemeClr val="accent2">
              <a:lumMod val="40000"/>
              <a:lumOff val="60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5334" tIns="65334" rIns="65334" bIns="65334" rtlCol="0" anchor="t"/>
          <a:lstStyle/>
          <a:p>
            <a:pPr algn="ctr" fontAlgn="ctr"/>
            <a:r>
              <a:rPr lang="en-US" sz="1633" b="1">
                <a:solidFill>
                  <a:schemeClr val="tx1">
                    <a:lumMod val="65000"/>
                    <a:lumOff val="35000"/>
                  </a:schemeClr>
                </a:solidFill>
                <a:latin typeface="Arial" panose="020B0604020202020204" pitchFamily="34" charset="0"/>
                <a:cs typeface="Arial" panose="020B0604020202020204" pitchFamily="34" charset="0"/>
              </a:rPr>
              <a:t>Research and Academia</a:t>
            </a:r>
            <a:br>
              <a:rPr lang="en-US" sz="1633">
                <a:solidFill>
                  <a:schemeClr val="tx1">
                    <a:lumMod val="65000"/>
                    <a:lumOff val="35000"/>
                  </a:schemeClr>
                </a:solidFill>
                <a:latin typeface="Arial" panose="020B0604020202020204" pitchFamily="34" charset="0"/>
                <a:cs typeface="Arial" panose="020B0604020202020204" pitchFamily="34" charset="0"/>
              </a:rPr>
            </a:br>
            <a:endParaRPr lang="en-US" sz="1633">
              <a:solidFill>
                <a:schemeClr val="tx1">
                  <a:lumMod val="65000"/>
                  <a:lumOff val="35000"/>
                </a:schemeClr>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EB6C0100-E77C-43BE-9DC5-042260797419}"/>
              </a:ext>
            </a:extLst>
          </p:cNvPr>
          <p:cNvSpPr/>
          <p:nvPr/>
        </p:nvSpPr>
        <p:spPr>
          <a:xfrm>
            <a:off x="3317800" y="1343291"/>
            <a:ext cx="4435460" cy="829747"/>
          </a:xfrm>
          <a:prstGeom prst="rect">
            <a:avLst/>
          </a:prstGeom>
          <a:solidFill>
            <a:schemeClr val="accent6">
              <a:lumMod val="40000"/>
              <a:lumOff val="60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5334" tIns="65334" rIns="65334" bIns="65334" rtlCol="0" anchor="t"/>
          <a:lstStyle/>
          <a:p>
            <a:pPr algn="ctr"/>
            <a:r>
              <a:rPr lang="en-US" sz="1633" b="1">
                <a:solidFill>
                  <a:schemeClr val="tx1">
                    <a:lumMod val="65000"/>
                    <a:lumOff val="35000"/>
                  </a:schemeClr>
                </a:solidFill>
                <a:latin typeface="Arial" panose="020B0604020202020204" pitchFamily="34" charset="0"/>
                <a:cs typeface="Arial" panose="020B0604020202020204" pitchFamily="34" charset="0"/>
              </a:rPr>
              <a:t>Applications / Vertical Industries</a:t>
            </a:r>
            <a:br>
              <a:rPr lang="en-US" sz="1633" b="1">
                <a:solidFill>
                  <a:schemeClr val="tx1">
                    <a:lumMod val="65000"/>
                    <a:lumOff val="35000"/>
                  </a:schemeClr>
                </a:solidFill>
                <a:latin typeface="Arial" panose="020B0604020202020204" pitchFamily="34" charset="0"/>
                <a:cs typeface="Arial" panose="020B0604020202020204" pitchFamily="34" charset="0"/>
              </a:rPr>
            </a:br>
            <a:endParaRPr lang="en-US" sz="1633" b="1">
              <a:solidFill>
                <a:schemeClr val="tx1">
                  <a:lumMod val="65000"/>
                  <a:lumOff val="35000"/>
                </a:schemeClr>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39C9E10F-81CD-458E-A400-D62020855782}"/>
              </a:ext>
            </a:extLst>
          </p:cNvPr>
          <p:cNvSpPr/>
          <p:nvPr/>
        </p:nvSpPr>
        <p:spPr>
          <a:xfrm>
            <a:off x="4065506" y="3544432"/>
            <a:ext cx="2940047" cy="829747"/>
          </a:xfrm>
          <a:prstGeom prst="rect">
            <a:avLst/>
          </a:prstGeom>
          <a:solidFill>
            <a:schemeClr val="accent4">
              <a:lumMod val="40000"/>
              <a:lumOff val="60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5334" tIns="65334" rIns="65334" bIns="65334" rtlCol="0" anchor="t"/>
          <a:lstStyle/>
          <a:p>
            <a:pPr algn="ctr"/>
            <a:r>
              <a:rPr lang="en-US" sz="1633" b="1">
                <a:solidFill>
                  <a:schemeClr val="tx1">
                    <a:lumMod val="65000"/>
                    <a:lumOff val="35000"/>
                  </a:schemeClr>
                </a:solidFill>
                <a:latin typeface="Arial" panose="020B0604020202020204" pitchFamily="34" charset="0"/>
                <a:cs typeface="Arial" panose="020B0604020202020204" pitchFamily="34" charset="0"/>
              </a:rPr>
              <a:t>Micro electronics &amp; SW</a:t>
            </a:r>
            <a:br>
              <a:rPr lang="en-US" sz="1633" b="1">
                <a:solidFill>
                  <a:schemeClr val="tx1">
                    <a:lumMod val="65000"/>
                    <a:lumOff val="35000"/>
                  </a:schemeClr>
                </a:solidFill>
                <a:latin typeface="Arial" panose="020B0604020202020204" pitchFamily="34" charset="0"/>
                <a:cs typeface="Arial" panose="020B0604020202020204" pitchFamily="34" charset="0"/>
              </a:rPr>
            </a:br>
            <a:endParaRPr lang="en-US" sz="1633">
              <a:solidFill>
                <a:schemeClr val="tx1">
                  <a:lumMod val="65000"/>
                  <a:lumOff val="35000"/>
                </a:schemeClr>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B2756A66-955F-4953-94DA-76223BF44DAA}"/>
              </a:ext>
            </a:extLst>
          </p:cNvPr>
          <p:cNvSpPr/>
          <p:nvPr/>
        </p:nvSpPr>
        <p:spPr>
          <a:xfrm>
            <a:off x="3814070" y="2443861"/>
            <a:ext cx="3442920" cy="829747"/>
          </a:xfrm>
          <a:prstGeom prst="rect">
            <a:avLst/>
          </a:prstGeom>
          <a:solidFill>
            <a:schemeClr val="accent5">
              <a:lumMod val="60000"/>
              <a:lumOff val="40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5334" tIns="65334" rIns="65334" bIns="65334" rtlCol="0" anchor="t"/>
          <a:lstStyle/>
          <a:p>
            <a:pPr algn="ctr"/>
            <a:r>
              <a:rPr lang="en-US" sz="1633" b="1">
                <a:solidFill>
                  <a:schemeClr val="tx1">
                    <a:lumMod val="65000"/>
                    <a:lumOff val="35000"/>
                  </a:schemeClr>
                </a:solidFill>
                <a:latin typeface="Arial" panose="020B0604020202020204" pitchFamily="34" charset="0"/>
                <a:cs typeface="Arial" panose="020B0604020202020204" pitchFamily="34" charset="0"/>
              </a:rPr>
              <a:t>Network Operators</a:t>
            </a:r>
            <a:br>
              <a:rPr lang="en-US" sz="1633" b="1">
                <a:solidFill>
                  <a:schemeClr val="tx1">
                    <a:lumMod val="65000"/>
                    <a:lumOff val="35000"/>
                  </a:schemeClr>
                </a:solidFill>
                <a:latin typeface="Arial" panose="020B0604020202020204" pitchFamily="34" charset="0"/>
                <a:cs typeface="Arial" panose="020B0604020202020204" pitchFamily="34" charset="0"/>
              </a:rPr>
            </a:br>
            <a:endParaRPr lang="en-US" sz="1633" b="1">
              <a:solidFill>
                <a:schemeClr val="tx1">
                  <a:lumMod val="65000"/>
                  <a:lumOff val="35000"/>
                </a:schemeClr>
              </a:solidFill>
              <a:latin typeface="Arial" panose="020B0604020202020204" pitchFamily="34" charset="0"/>
              <a:cs typeface="Arial" panose="020B0604020202020204" pitchFamily="34" charset="0"/>
            </a:endParaRPr>
          </a:p>
        </p:txBody>
      </p:sp>
      <p:pic>
        <p:nvPicPr>
          <p:cNvPr id="16" name="Picture 26">
            <a:extLst>
              <a:ext uri="{FF2B5EF4-FFF2-40B4-BE49-F238E27FC236}">
                <a16:creationId xmlns:a16="http://schemas.microsoft.com/office/drawing/2014/main" id="{E565D3F3-006A-429E-84E8-4E0B72CC76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34506" y="4115051"/>
            <a:ext cx="1045466" cy="20105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8">
            <a:extLst>
              <a:ext uri="{FF2B5EF4-FFF2-40B4-BE49-F238E27FC236}">
                <a16:creationId xmlns:a16="http://schemas.microsoft.com/office/drawing/2014/main" id="{441E551E-741E-4AC1-9F28-FD581F6C03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9568" y="3961735"/>
            <a:ext cx="783277" cy="19582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9">
            <a:extLst>
              <a:ext uri="{FF2B5EF4-FFF2-40B4-BE49-F238E27FC236}">
                <a16:creationId xmlns:a16="http://schemas.microsoft.com/office/drawing/2014/main" id="{766F0F29-9A6F-4CB1-AF8F-16296A2728BE}"/>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578857" y="5064683"/>
            <a:ext cx="958502" cy="49232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0">
            <a:extLst>
              <a:ext uri="{FF2B5EF4-FFF2-40B4-BE49-F238E27FC236}">
                <a16:creationId xmlns:a16="http://schemas.microsoft.com/office/drawing/2014/main" id="{2D12A3BF-2159-4A25-97CF-D433C27C95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04234" y="5021454"/>
            <a:ext cx="386546" cy="40902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31">
            <a:extLst>
              <a:ext uri="{FF2B5EF4-FFF2-40B4-BE49-F238E27FC236}">
                <a16:creationId xmlns:a16="http://schemas.microsoft.com/office/drawing/2014/main" id="{D64D2C82-354D-410A-8DD3-067A79EC0FD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51520" y="1751894"/>
            <a:ext cx="1178893" cy="40602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33">
            <a:extLst>
              <a:ext uri="{FF2B5EF4-FFF2-40B4-BE49-F238E27FC236}">
                <a16:creationId xmlns:a16="http://schemas.microsoft.com/office/drawing/2014/main" id="{1FD32D08-28B7-4E11-B0BE-783F8BF004F9}"/>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14555" y="4123431"/>
            <a:ext cx="823922" cy="192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34">
            <a:extLst>
              <a:ext uri="{FF2B5EF4-FFF2-40B4-BE49-F238E27FC236}">
                <a16:creationId xmlns:a16="http://schemas.microsoft.com/office/drawing/2014/main" id="{7F9A8E3B-F27E-4887-A31E-E2361E245C3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24681" y="3984162"/>
            <a:ext cx="1473465" cy="43404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35">
            <a:extLst>
              <a:ext uri="{FF2B5EF4-FFF2-40B4-BE49-F238E27FC236}">
                <a16:creationId xmlns:a16="http://schemas.microsoft.com/office/drawing/2014/main" id="{156163CC-A587-45E4-9834-DADBB9D6182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344603" y="3961735"/>
            <a:ext cx="400031" cy="32115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38">
            <a:extLst>
              <a:ext uri="{FF2B5EF4-FFF2-40B4-BE49-F238E27FC236}">
                <a16:creationId xmlns:a16="http://schemas.microsoft.com/office/drawing/2014/main" id="{DD815585-6AF2-45C1-A120-E6F0F57CBAF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923694" y="1823933"/>
            <a:ext cx="346774" cy="31625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0">
            <a:extLst>
              <a:ext uri="{FF2B5EF4-FFF2-40B4-BE49-F238E27FC236}">
                <a16:creationId xmlns:a16="http://schemas.microsoft.com/office/drawing/2014/main" id="{6732C55E-6C48-4356-84B7-DCEC745F5BE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943570" y="2920652"/>
            <a:ext cx="315123" cy="31166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1">
            <a:extLst>
              <a:ext uri="{FF2B5EF4-FFF2-40B4-BE49-F238E27FC236}">
                <a16:creationId xmlns:a16="http://schemas.microsoft.com/office/drawing/2014/main" id="{D7A9FE8A-34D5-4A04-BEA8-3D7FCECE29B0}"/>
              </a:ext>
            </a:extLst>
          </p:cNvPr>
          <p:cNvPicPr>
            <a:picLocks noChangeAspect="1" noChangeArrowheads="1"/>
          </p:cNvPicPr>
          <p:nvPr/>
        </p:nvPicPr>
        <p:blipFill>
          <a:blip r:embed="rId13">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2513334" y="5038322"/>
            <a:ext cx="510129" cy="41737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2">
            <a:extLst>
              <a:ext uri="{FF2B5EF4-FFF2-40B4-BE49-F238E27FC236}">
                <a16:creationId xmlns:a16="http://schemas.microsoft.com/office/drawing/2014/main" id="{C2BBF997-254E-4C8E-8E8C-CBDDD84D570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p:blipFill>
        <p:spPr bwMode="auto">
          <a:xfrm>
            <a:off x="5166599" y="5137885"/>
            <a:ext cx="842371" cy="302493"/>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3">
            <a:extLst>
              <a:ext uri="{FF2B5EF4-FFF2-40B4-BE49-F238E27FC236}">
                <a16:creationId xmlns:a16="http://schemas.microsoft.com/office/drawing/2014/main" id="{4D9E7B67-717D-445D-8D9A-D4C382AC364B}"/>
              </a:ext>
            </a:extLst>
          </p:cNvPr>
          <p:cNvPicPr>
            <a:picLocks noChangeAspect="1" noChangeArrowheads="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19096" y="4071403"/>
            <a:ext cx="867423" cy="23656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4">
            <a:extLst>
              <a:ext uri="{FF2B5EF4-FFF2-40B4-BE49-F238E27FC236}">
                <a16:creationId xmlns:a16="http://schemas.microsoft.com/office/drawing/2014/main" id="{5081D22E-67AE-4664-8666-7C3A05C29B84}"/>
              </a:ext>
            </a:extLst>
          </p:cNvPr>
          <p:cNvPicPr>
            <a:picLocks noChangeAspect="1" noChangeArrowheads="1"/>
          </p:cNvPicPr>
          <p:nvPr/>
        </p:nvPicPr>
        <p:blipFill>
          <a:blip r:embed="rId16">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9910737" y="3961274"/>
            <a:ext cx="532139" cy="343438"/>
          </a:xfrm>
          <a:prstGeom prst="rect">
            <a:avLst/>
          </a:prstGeom>
          <a:noFill/>
          <a:extLst>
            <a:ext uri="{909E8E84-426E-40DD-AFC4-6F175D3DCCD1}">
              <a14:hiddenFill xmlns:a14="http://schemas.microsoft.com/office/drawing/2010/main">
                <a:solidFill>
                  <a:srgbClr val="FFFFFF"/>
                </a:solidFill>
              </a14:hiddenFill>
            </a:ext>
          </a:extLst>
        </p:spPr>
      </p:pic>
      <p:sp>
        <p:nvSpPr>
          <p:cNvPr id="10" name="Oval 9">
            <a:extLst>
              <a:ext uri="{FF2B5EF4-FFF2-40B4-BE49-F238E27FC236}">
                <a16:creationId xmlns:a16="http://schemas.microsoft.com/office/drawing/2014/main" id="{2BB3692A-7681-4C5E-802F-5EF1350441B5}"/>
              </a:ext>
            </a:extLst>
          </p:cNvPr>
          <p:cNvSpPr>
            <a:spLocks noChangeAspect="1"/>
          </p:cNvSpPr>
          <p:nvPr/>
        </p:nvSpPr>
        <p:spPr>
          <a:xfrm>
            <a:off x="3340235" y="5080072"/>
            <a:ext cx="365873" cy="365873"/>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5334" tIns="65334" rIns="65334" bIns="65334" rtlCol="0" anchor="ctr"/>
          <a:lstStyle/>
          <a:p>
            <a:pPr algn="ctr"/>
            <a:endParaRPr lang="en-US" sz="1633"/>
          </a:p>
        </p:txBody>
      </p:sp>
      <p:pic>
        <p:nvPicPr>
          <p:cNvPr id="29" name="Picture 39">
            <a:extLst>
              <a:ext uri="{FF2B5EF4-FFF2-40B4-BE49-F238E27FC236}">
                <a16:creationId xmlns:a16="http://schemas.microsoft.com/office/drawing/2014/main" id="{D5F5F996-E3F1-414F-A662-95DD00F16352}"/>
              </a:ext>
            </a:extLst>
          </p:cNvPr>
          <p:cNvPicPr>
            <a:picLocks noChangeAspect="1" noChangeArrowheads="1"/>
          </p:cNvPicPr>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322743" y="5072543"/>
            <a:ext cx="845745" cy="372259"/>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D0CD5E77-7293-9B4B-15A3-71C03130349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272025" y="5021454"/>
            <a:ext cx="966837" cy="44051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A colorful logo on a black background&#10;&#10;Description automatically generated">
            <a:extLst>
              <a:ext uri="{FF2B5EF4-FFF2-40B4-BE49-F238E27FC236}">
                <a16:creationId xmlns:a16="http://schemas.microsoft.com/office/drawing/2014/main" id="{0C4F1BF5-5480-CD99-5B15-B576B796A453}"/>
              </a:ext>
            </a:extLst>
          </p:cNvPr>
          <p:cNvPicPr>
            <a:picLocks noChangeAspect="1"/>
          </p:cNvPicPr>
          <p:nvPr/>
        </p:nvPicPr>
        <p:blipFill>
          <a:blip r:embed="rId19"/>
          <a:stretch>
            <a:fillRect/>
          </a:stretch>
        </p:blipFill>
        <p:spPr>
          <a:xfrm>
            <a:off x="5254794" y="4036996"/>
            <a:ext cx="737335" cy="359924"/>
          </a:xfrm>
          <a:prstGeom prst="rect">
            <a:avLst/>
          </a:prstGeom>
        </p:spPr>
      </p:pic>
      <p:pic>
        <p:nvPicPr>
          <p:cNvPr id="3" name="Graphic 2">
            <a:extLst>
              <a:ext uri="{FF2B5EF4-FFF2-40B4-BE49-F238E27FC236}">
                <a16:creationId xmlns:a16="http://schemas.microsoft.com/office/drawing/2014/main" id="{BBBEBF88-3A19-9F32-A903-F55D899FADC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2309896" y="4045974"/>
            <a:ext cx="420238" cy="316658"/>
          </a:xfrm>
          <a:prstGeom prst="rect">
            <a:avLst/>
          </a:prstGeom>
        </p:spPr>
      </p:pic>
      <p:sp>
        <p:nvSpPr>
          <p:cNvPr id="2" name="Title 1">
            <a:extLst>
              <a:ext uri="{FF2B5EF4-FFF2-40B4-BE49-F238E27FC236}">
                <a16:creationId xmlns:a16="http://schemas.microsoft.com/office/drawing/2014/main" id="{3EEB2B75-0A99-EC39-6B7E-B466464B99EB}"/>
              </a:ext>
            </a:extLst>
          </p:cNvPr>
          <p:cNvSpPr>
            <a:spLocks noGrp="1"/>
          </p:cNvSpPr>
          <p:nvPr>
            <p:ph type="title"/>
          </p:nvPr>
        </p:nvSpPr>
        <p:spPr/>
        <p:txBody>
          <a:bodyPr/>
          <a:lstStyle/>
          <a:p>
            <a:r>
              <a:rPr lang="en-US" noProof="0"/>
              <a:t>Project Partners: Bringing Industries Together</a:t>
            </a:r>
          </a:p>
        </p:txBody>
      </p:sp>
      <p:pic>
        <p:nvPicPr>
          <p:cNvPr id="5" name="Picture 2" descr="Logos">
            <a:extLst>
              <a:ext uri="{FF2B5EF4-FFF2-40B4-BE49-F238E27FC236}">
                <a16:creationId xmlns:a16="http://schemas.microsoft.com/office/drawing/2014/main" id="{AA7BB51D-7B9F-4ABD-8530-EDEA3B50BA5C}"/>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498973" y="2931330"/>
            <a:ext cx="966387" cy="27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0776127"/>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4562EDF-572B-467F-AB80-A4CF18E58417}"/>
              </a:ext>
            </a:extLst>
          </p:cNvPr>
          <p:cNvSpPr>
            <a:spLocks noGrp="1"/>
          </p:cNvSpPr>
          <p:nvPr>
            <p:ph type="title"/>
          </p:nvPr>
        </p:nvSpPr>
        <p:spPr/>
        <p:txBody>
          <a:bodyPr/>
          <a:lstStyle/>
          <a:p>
            <a:r>
              <a:rPr lang="en-US"/>
              <a:t>Testbed</a:t>
            </a:r>
          </a:p>
        </p:txBody>
      </p:sp>
      <p:sp>
        <p:nvSpPr>
          <p:cNvPr id="5" name="Textplatzhalter 4">
            <a:extLst>
              <a:ext uri="{FF2B5EF4-FFF2-40B4-BE49-F238E27FC236}">
                <a16:creationId xmlns:a16="http://schemas.microsoft.com/office/drawing/2014/main" id="{6644065C-808A-4A27-8E30-920147FCA632}"/>
              </a:ext>
            </a:extLst>
          </p:cNvPr>
          <p:cNvSpPr>
            <a:spLocks noGrp="1"/>
          </p:cNvSpPr>
          <p:nvPr>
            <p:ph type="body" idx="1"/>
          </p:nvPr>
        </p:nvSpPr>
        <p:spPr/>
        <p:txBody>
          <a:bodyPr/>
          <a:lstStyle/>
          <a:p>
            <a:endParaRPr lang="en-US"/>
          </a:p>
        </p:txBody>
      </p:sp>
      <p:pic>
        <p:nvPicPr>
          <p:cNvPr id="6" name="Picture 6" descr="A building with a tall tower&#10;&#10;Description automatically generated">
            <a:extLst>
              <a:ext uri="{FF2B5EF4-FFF2-40B4-BE49-F238E27FC236}">
                <a16:creationId xmlns:a16="http://schemas.microsoft.com/office/drawing/2014/main" id="{AE81CDFB-FE81-4998-A3C8-FF53347F2E15}"/>
              </a:ext>
            </a:extLst>
          </p:cNvPr>
          <p:cNvPicPr>
            <a:picLocks noChangeAspect="1"/>
          </p:cNvPicPr>
          <p:nvPr/>
        </p:nvPicPr>
        <p:blipFill>
          <a:blip r:embed="rId2"/>
          <a:stretch>
            <a:fillRect/>
          </a:stretch>
        </p:blipFill>
        <p:spPr>
          <a:xfrm>
            <a:off x="5917325" y="1130075"/>
            <a:ext cx="4655426" cy="4397606"/>
          </a:xfrm>
          <a:prstGeom prst="rect">
            <a:avLst/>
          </a:prstGeom>
        </p:spPr>
      </p:pic>
    </p:spTree>
    <p:extLst>
      <p:ext uri="{BB962C8B-B14F-4D97-AF65-F5344CB8AC3E}">
        <p14:creationId xmlns:p14="http://schemas.microsoft.com/office/powerpoint/2010/main" val="1272416299"/>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a:extLst>
              <a:ext uri="{FF2B5EF4-FFF2-40B4-BE49-F238E27FC236}">
                <a16:creationId xmlns:a16="http://schemas.microsoft.com/office/drawing/2014/main" id="{81A4D76B-5D49-4488-9A17-536617689615}"/>
              </a:ext>
            </a:extLst>
          </p:cNvPr>
          <p:cNvSpPr>
            <a:spLocks noGrp="1"/>
          </p:cNvSpPr>
          <p:nvPr>
            <p:ph type="title"/>
          </p:nvPr>
        </p:nvSpPr>
        <p:spPr/>
        <p:txBody>
          <a:bodyPr/>
          <a:lstStyle/>
          <a:p>
            <a:r>
              <a:rPr lang="en-US"/>
              <a:t>3D Experimental Field @ Uni Bremen</a:t>
            </a:r>
          </a:p>
        </p:txBody>
      </p:sp>
      <p:sp>
        <p:nvSpPr>
          <p:cNvPr id="13" name="Inhaltsplatzhalter 12">
            <a:extLst>
              <a:ext uri="{FF2B5EF4-FFF2-40B4-BE49-F238E27FC236}">
                <a16:creationId xmlns:a16="http://schemas.microsoft.com/office/drawing/2014/main" id="{7EF8DC10-D925-4902-9A39-85D83319E9F9}"/>
              </a:ext>
            </a:extLst>
          </p:cNvPr>
          <p:cNvSpPr>
            <a:spLocks noGrp="1"/>
          </p:cNvSpPr>
          <p:nvPr>
            <p:ph idx="1"/>
          </p:nvPr>
        </p:nvSpPr>
        <p:spPr/>
        <p:txBody>
          <a:bodyPr/>
          <a:lstStyle/>
          <a:p>
            <a:endParaRPr lang="en-US"/>
          </a:p>
        </p:txBody>
      </p:sp>
      <p:sp>
        <p:nvSpPr>
          <p:cNvPr id="48" name="Freihandform: Form 47">
            <a:extLst>
              <a:ext uri="{FF2B5EF4-FFF2-40B4-BE49-F238E27FC236}">
                <a16:creationId xmlns:a16="http://schemas.microsoft.com/office/drawing/2014/main" id="{EF156EDE-8C8F-4094-8F2C-404D2B948886}"/>
              </a:ext>
            </a:extLst>
          </p:cNvPr>
          <p:cNvSpPr/>
          <p:nvPr/>
        </p:nvSpPr>
        <p:spPr>
          <a:xfrm>
            <a:off x="1887499" y="2392784"/>
            <a:ext cx="6728653" cy="3426988"/>
          </a:xfrm>
          <a:custGeom>
            <a:avLst/>
            <a:gdLst>
              <a:gd name="connsiteX0" fmla="*/ 2110158 w 9855652"/>
              <a:gd name="connsiteY0" fmla="*/ 179043 h 5019608"/>
              <a:gd name="connsiteX1" fmla="*/ 2110158 w 9855652"/>
              <a:gd name="connsiteY1" fmla="*/ 179043 h 5019608"/>
              <a:gd name="connsiteX2" fmla="*/ 1163786 w 9855652"/>
              <a:gd name="connsiteY2" fmla="*/ 537130 h 5019608"/>
              <a:gd name="connsiteX3" fmla="*/ 818488 w 9855652"/>
              <a:gd name="connsiteY3" fmla="*/ 780117 h 5019608"/>
              <a:gd name="connsiteX4" fmla="*/ 639444 w 9855652"/>
              <a:gd name="connsiteY4" fmla="*/ 1003921 h 5019608"/>
              <a:gd name="connsiteX5" fmla="*/ 326118 w 9855652"/>
              <a:gd name="connsiteY5" fmla="*/ 1496290 h 5019608"/>
              <a:gd name="connsiteX6" fmla="*/ 121497 w 9855652"/>
              <a:gd name="connsiteY6" fmla="*/ 2122942 h 5019608"/>
              <a:gd name="connsiteX7" fmla="*/ 25581 w 9855652"/>
              <a:gd name="connsiteY7" fmla="*/ 2417085 h 5019608"/>
              <a:gd name="connsiteX8" fmla="*/ 44765 w 9855652"/>
              <a:gd name="connsiteY8" fmla="*/ 3133258 h 5019608"/>
              <a:gd name="connsiteX9" fmla="*/ 140681 w 9855652"/>
              <a:gd name="connsiteY9" fmla="*/ 3369851 h 5019608"/>
              <a:gd name="connsiteX10" fmla="*/ 262174 w 9855652"/>
              <a:gd name="connsiteY10" fmla="*/ 3587261 h 5019608"/>
              <a:gd name="connsiteX11" fmla="*/ 505162 w 9855652"/>
              <a:gd name="connsiteY11" fmla="*/ 3817460 h 5019608"/>
              <a:gd name="connsiteX12" fmla="*/ 1278885 w 9855652"/>
              <a:gd name="connsiteY12" fmla="*/ 4162758 h 5019608"/>
              <a:gd name="connsiteX13" fmla="*/ 1496295 w 9855652"/>
              <a:gd name="connsiteY13" fmla="*/ 4252279 h 5019608"/>
              <a:gd name="connsiteX14" fmla="*/ 2078186 w 9855652"/>
              <a:gd name="connsiteY14" fmla="*/ 4424928 h 5019608"/>
              <a:gd name="connsiteX15" fmla="*/ 2282807 w 9855652"/>
              <a:gd name="connsiteY15" fmla="*/ 4508055 h 5019608"/>
              <a:gd name="connsiteX16" fmla="*/ 2314779 w 9855652"/>
              <a:gd name="connsiteY16" fmla="*/ 4546422 h 5019608"/>
              <a:gd name="connsiteX17" fmla="*/ 2481033 w 9855652"/>
              <a:gd name="connsiteY17" fmla="*/ 4808593 h 5019608"/>
              <a:gd name="connsiteX18" fmla="*/ 2877486 w 9855652"/>
              <a:gd name="connsiteY18" fmla="*/ 5000425 h 5019608"/>
              <a:gd name="connsiteX19" fmla="*/ 3114079 w 9855652"/>
              <a:gd name="connsiteY19" fmla="*/ 5019608 h 5019608"/>
              <a:gd name="connsiteX20" fmla="*/ 4086029 w 9855652"/>
              <a:gd name="connsiteY20" fmla="*/ 5000425 h 5019608"/>
              <a:gd name="connsiteX21" fmla="*/ 4252284 w 9855652"/>
              <a:gd name="connsiteY21" fmla="*/ 4981241 h 5019608"/>
              <a:gd name="connsiteX22" fmla="*/ 4456904 w 9855652"/>
              <a:gd name="connsiteY22" fmla="*/ 4962058 h 5019608"/>
              <a:gd name="connsiteX23" fmla="*/ 4751047 w 9855652"/>
              <a:gd name="connsiteY23" fmla="*/ 4955664 h 5019608"/>
              <a:gd name="connsiteX24" fmla="*/ 6669369 w 9855652"/>
              <a:gd name="connsiteY24" fmla="*/ 4942875 h 5019608"/>
              <a:gd name="connsiteX25" fmla="*/ 7283232 w 9855652"/>
              <a:gd name="connsiteY25" fmla="*/ 4904509 h 5019608"/>
              <a:gd name="connsiteX26" fmla="*/ 7507036 w 9855652"/>
              <a:gd name="connsiteY26" fmla="*/ 4885325 h 5019608"/>
              <a:gd name="connsiteX27" fmla="*/ 8830678 w 9855652"/>
              <a:gd name="connsiteY27" fmla="*/ 4834170 h 5019608"/>
              <a:gd name="connsiteX28" fmla="*/ 8964960 w 9855652"/>
              <a:gd name="connsiteY28" fmla="*/ 4751043 h 5019608"/>
              <a:gd name="connsiteX29" fmla="*/ 9009721 w 9855652"/>
              <a:gd name="connsiteY29" fmla="*/ 4629549 h 5019608"/>
              <a:gd name="connsiteX30" fmla="*/ 9144004 w 9855652"/>
              <a:gd name="connsiteY30" fmla="*/ 4201124 h 5019608"/>
              <a:gd name="connsiteX31" fmla="*/ 9233525 w 9855652"/>
              <a:gd name="connsiteY31" fmla="*/ 3964531 h 5019608"/>
              <a:gd name="connsiteX32" fmla="*/ 9278286 w 9855652"/>
              <a:gd name="connsiteY32" fmla="*/ 3875009 h 5019608"/>
              <a:gd name="connsiteX33" fmla="*/ 9412569 w 9855652"/>
              <a:gd name="connsiteY33" fmla="*/ 3670388 h 5019608"/>
              <a:gd name="connsiteX34" fmla="*/ 9457330 w 9855652"/>
              <a:gd name="connsiteY34" fmla="*/ 3542500 h 5019608"/>
              <a:gd name="connsiteX35" fmla="*/ 9540457 w 9855652"/>
              <a:gd name="connsiteY35" fmla="*/ 3280330 h 5019608"/>
              <a:gd name="connsiteX36" fmla="*/ 9668345 w 9855652"/>
              <a:gd name="connsiteY36" fmla="*/ 2941426 h 5019608"/>
              <a:gd name="connsiteX37" fmla="*/ 9745078 w 9855652"/>
              <a:gd name="connsiteY37" fmla="*/ 2736805 h 5019608"/>
              <a:gd name="connsiteX38" fmla="*/ 9809022 w 9855652"/>
              <a:gd name="connsiteY38" fmla="*/ 2410690 h 5019608"/>
              <a:gd name="connsiteX39" fmla="*/ 9815416 w 9855652"/>
              <a:gd name="connsiteY39" fmla="*/ 2193281 h 5019608"/>
              <a:gd name="connsiteX40" fmla="*/ 9853783 w 9855652"/>
              <a:gd name="connsiteY40" fmla="*/ 1790433 h 5019608"/>
              <a:gd name="connsiteX41" fmla="*/ 9847388 w 9855652"/>
              <a:gd name="connsiteY41" fmla="*/ 1387586 h 5019608"/>
              <a:gd name="connsiteX42" fmla="*/ 9674739 w 9855652"/>
              <a:gd name="connsiteY42" fmla="*/ 978344 h 5019608"/>
              <a:gd name="connsiteX43" fmla="*/ 9367808 w 9855652"/>
              <a:gd name="connsiteY43" fmla="*/ 741751 h 5019608"/>
              <a:gd name="connsiteX44" fmla="*/ 9086454 w 9855652"/>
              <a:gd name="connsiteY44" fmla="*/ 658623 h 5019608"/>
              <a:gd name="connsiteX45" fmla="*/ 8562113 w 9855652"/>
              <a:gd name="connsiteY45" fmla="*/ 537130 h 5019608"/>
              <a:gd name="connsiteX46" fmla="*/ 8159265 w 9855652"/>
              <a:gd name="connsiteY46" fmla="*/ 498763 h 5019608"/>
              <a:gd name="connsiteX47" fmla="*/ 7564586 w 9855652"/>
              <a:gd name="connsiteY47" fmla="*/ 441213 h 5019608"/>
              <a:gd name="connsiteX48" fmla="*/ 7347176 w 9855652"/>
              <a:gd name="connsiteY48" fmla="*/ 345297 h 5019608"/>
              <a:gd name="connsiteX49" fmla="*/ 6899567 w 9855652"/>
              <a:gd name="connsiteY49" fmla="*/ 115099 h 5019608"/>
              <a:gd name="connsiteX50" fmla="*/ 6400804 w 9855652"/>
              <a:gd name="connsiteY50" fmla="*/ 63944 h 5019608"/>
              <a:gd name="connsiteX51" fmla="*/ 5806124 w 9855652"/>
              <a:gd name="connsiteY51" fmla="*/ 38366 h 5019608"/>
              <a:gd name="connsiteX52" fmla="*/ 5422460 w 9855652"/>
              <a:gd name="connsiteY52" fmla="*/ 19183 h 5019608"/>
              <a:gd name="connsiteX53" fmla="*/ 4795808 w 9855652"/>
              <a:gd name="connsiteY53" fmla="*/ 12788 h 5019608"/>
              <a:gd name="connsiteX54" fmla="*/ 3817464 w 9855652"/>
              <a:gd name="connsiteY54" fmla="*/ 0 h 5019608"/>
              <a:gd name="connsiteX55" fmla="*/ 3107685 w 9855652"/>
              <a:gd name="connsiteY55" fmla="*/ 31972 h 5019608"/>
              <a:gd name="connsiteX56" fmla="*/ 2871092 w 9855652"/>
              <a:gd name="connsiteY56" fmla="*/ 76732 h 5019608"/>
              <a:gd name="connsiteX57" fmla="*/ 2640893 w 9855652"/>
              <a:gd name="connsiteY57" fmla="*/ 102310 h 5019608"/>
              <a:gd name="connsiteX58" fmla="*/ 2410695 w 9855652"/>
              <a:gd name="connsiteY58" fmla="*/ 127888 h 5019608"/>
              <a:gd name="connsiteX59" fmla="*/ 2308384 w 9855652"/>
              <a:gd name="connsiteY59" fmla="*/ 147071 h 5019608"/>
              <a:gd name="connsiteX60" fmla="*/ 2270018 w 9855652"/>
              <a:gd name="connsiteY60" fmla="*/ 153465 h 5019608"/>
              <a:gd name="connsiteX61" fmla="*/ 2186891 w 9855652"/>
              <a:gd name="connsiteY61" fmla="*/ 179043 h 5019608"/>
              <a:gd name="connsiteX62" fmla="*/ 1969481 w 9855652"/>
              <a:gd name="connsiteY62" fmla="*/ 191832 h 5019608"/>
              <a:gd name="connsiteX63" fmla="*/ 1886353 w 9855652"/>
              <a:gd name="connsiteY63" fmla="*/ 249381 h 50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855652" h="5019608">
                <a:moveTo>
                  <a:pt x="2110158" y="179043"/>
                </a:moveTo>
                <a:lnTo>
                  <a:pt x="2110158" y="179043"/>
                </a:lnTo>
                <a:cubicBezTo>
                  <a:pt x="1794701" y="298405"/>
                  <a:pt x="1439619" y="343025"/>
                  <a:pt x="1163786" y="537130"/>
                </a:cubicBezTo>
                <a:cubicBezTo>
                  <a:pt x="1048687" y="618126"/>
                  <a:pt x="923609" y="686534"/>
                  <a:pt x="818488" y="780117"/>
                </a:cubicBezTo>
                <a:cubicBezTo>
                  <a:pt x="747131" y="843642"/>
                  <a:pt x="697114" y="927754"/>
                  <a:pt x="639444" y="1003921"/>
                </a:cubicBezTo>
                <a:cubicBezTo>
                  <a:pt x="523796" y="1156663"/>
                  <a:pt x="407945" y="1322408"/>
                  <a:pt x="326118" y="1496290"/>
                </a:cubicBezTo>
                <a:cubicBezTo>
                  <a:pt x="236720" y="1686261"/>
                  <a:pt x="181849" y="1926312"/>
                  <a:pt x="121497" y="2122942"/>
                </a:cubicBezTo>
                <a:cubicBezTo>
                  <a:pt x="91237" y="2221531"/>
                  <a:pt x="57553" y="2319037"/>
                  <a:pt x="25581" y="2417085"/>
                </a:cubicBezTo>
                <a:cubicBezTo>
                  <a:pt x="5488" y="2723506"/>
                  <a:pt x="-28378" y="2840686"/>
                  <a:pt x="44765" y="3133258"/>
                </a:cubicBezTo>
                <a:cubicBezTo>
                  <a:pt x="65405" y="3215816"/>
                  <a:pt x="103927" y="3293099"/>
                  <a:pt x="140681" y="3369851"/>
                </a:cubicBezTo>
                <a:cubicBezTo>
                  <a:pt x="176537" y="3444726"/>
                  <a:pt x="209754" y="3522886"/>
                  <a:pt x="262174" y="3587261"/>
                </a:cubicBezTo>
                <a:cubicBezTo>
                  <a:pt x="332623" y="3673778"/>
                  <a:pt x="415904" y="3750517"/>
                  <a:pt x="505162" y="3817460"/>
                </a:cubicBezTo>
                <a:cubicBezTo>
                  <a:pt x="686202" y="3953240"/>
                  <a:pt x="1132403" y="4103915"/>
                  <a:pt x="1278885" y="4162758"/>
                </a:cubicBezTo>
                <a:cubicBezTo>
                  <a:pt x="1351610" y="4191972"/>
                  <a:pt x="1420727" y="4231498"/>
                  <a:pt x="1496295" y="4252279"/>
                </a:cubicBezTo>
                <a:cubicBezTo>
                  <a:pt x="1820915" y="4341550"/>
                  <a:pt x="1720536" y="4310679"/>
                  <a:pt x="2078186" y="4424928"/>
                </a:cubicBezTo>
                <a:cubicBezTo>
                  <a:pt x="2227993" y="4472783"/>
                  <a:pt x="2176601" y="4450125"/>
                  <a:pt x="2282807" y="4508055"/>
                </a:cubicBezTo>
                <a:cubicBezTo>
                  <a:pt x="2293464" y="4520844"/>
                  <a:pt x="2305613" y="4532525"/>
                  <a:pt x="2314779" y="4546422"/>
                </a:cubicBezTo>
                <a:cubicBezTo>
                  <a:pt x="2371755" y="4632805"/>
                  <a:pt x="2393611" y="4753226"/>
                  <a:pt x="2481033" y="4808593"/>
                </a:cubicBezTo>
                <a:cubicBezTo>
                  <a:pt x="2638947" y="4908604"/>
                  <a:pt x="2691669" y="4962723"/>
                  <a:pt x="2877486" y="5000425"/>
                </a:cubicBezTo>
                <a:cubicBezTo>
                  <a:pt x="2955029" y="5016158"/>
                  <a:pt x="3035215" y="5013214"/>
                  <a:pt x="3114079" y="5019608"/>
                </a:cubicBezTo>
                <a:lnTo>
                  <a:pt x="4086029" y="5000425"/>
                </a:lnTo>
                <a:cubicBezTo>
                  <a:pt x="4141783" y="4998546"/>
                  <a:pt x="4196794" y="4986981"/>
                  <a:pt x="4252284" y="4981241"/>
                </a:cubicBezTo>
                <a:cubicBezTo>
                  <a:pt x="4320426" y="4974192"/>
                  <a:pt x="4388488" y="4965566"/>
                  <a:pt x="4456904" y="4962058"/>
                </a:cubicBezTo>
                <a:cubicBezTo>
                  <a:pt x="4554846" y="4957035"/>
                  <a:pt x="4652980" y="4956514"/>
                  <a:pt x="4751047" y="4955664"/>
                </a:cubicBezTo>
                <a:lnTo>
                  <a:pt x="6669369" y="4942875"/>
                </a:lnTo>
                <a:cubicBezTo>
                  <a:pt x="6961222" y="4926661"/>
                  <a:pt x="7011061" y="4925717"/>
                  <a:pt x="7283232" y="4904509"/>
                </a:cubicBezTo>
                <a:cubicBezTo>
                  <a:pt x="7357881" y="4898692"/>
                  <a:pt x="7432238" y="4888725"/>
                  <a:pt x="7507036" y="4885325"/>
                </a:cubicBezTo>
                <a:lnTo>
                  <a:pt x="8830678" y="4834170"/>
                </a:lnTo>
                <a:cubicBezTo>
                  <a:pt x="8866999" y="4817406"/>
                  <a:pt x="8940862" y="4792812"/>
                  <a:pt x="8964960" y="4751043"/>
                </a:cubicBezTo>
                <a:cubicBezTo>
                  <a:pt x="8986527" y="4713659"/>
                  <a:pt x="8996360" y="4670588"/>
                  <a:pt x="9009721" y="4629549"/>
                </a:cubicBezTo>
                <a:cubicBezTo>
                  <a:pt x="9056053" y="4487243"/>
                  <a:pt x="9098627" y="4343738"/>
                  <a:pt x="9144004" y="4201124"/>
                </a:cubicBezTo>
                <a:cubicBezTo>
                  <a:pt x="9180930" y="4085072"/>
                  <a:pt x="9185322" y="4067823"/>
                  <a:pt x="9233525" y="3964531"/>
                </a:cubicBezTo>
                <a:cubicBezTo>
                  <a:pt x="9247634" y="3934298"/>
                  <a:pt x="9260435" y="3903195"/>
                  <a:pt x="9278286" y="3875009"/>
                </a:cubicBezTo>
                <a:cubicBezTo>
                  <a:pt x="9355032" y="3753832"/>
                  <a:pt x="9355657" y="3798439"/>
                  <a:pt x="9412569" y="3670388"/>
                </a:cubicBezTo>
                <a:cubicBezTo>
                  <a:pt x="9430912" y="3629116"/>
                  <a:pt x="9443259" y="3585417"/>
                  <a:pt x="9457330" y="3542500"/>
                </a:cubicBezTo>
                <a:cubicBezTo>
                  <a:pt x="9485892" y="3455385"/>
                  <a:pt x="9504343" y="3364595"/>
                  <a:pt x="9540457" y="3280330"/>
                </a:cubicBezTo>
                <a:cubicBezTo>
                  <a:pt x="9642799" y="3041533"/>
                  <a:pt x="9557916" y="3248708"/>
                  <a:pt x="9668345" y="2941426"/>
                </a:cubicBezTo>
                <a:cubicBezTo>
                  <a:pt x="9692981" y="2872873"/>
                  <a:pt x="9728078" y="2807639"/>
                  <a:pt x="9745078" y="2736805"/>
                </a:cubicBezTo>
                <a:cubicBezTo>
                  <a:pt x="9796529" y="2522423"/>
                  <a:pt x="9775111" y="2631108"/>
                  <a:pt x="9809022" y="2410690"/>
                </a:cubicBezTo>
                <a:cubicBezTo>
                  <a:pt x="9811153" y="2338220"/>
                  <a:pt x="9809477" y="2265538"/>
                  <a:pt x="9815416" y="2193281"/>
                </a:cubicBezTo>
                <a:cubicBezTo>
                  <a:pt x="9868103" y="1552255"/>
                  <a:pt x="9835221" y="2235872"/>
                  <a:pt x="9853783" y="1790433"/>
                </a:cubicBezTo>
                <a:cubicBezTo>
                  <a:pt x="9851651" y="1656151"/>
                  <a:pt x="9862677" y="1521012"/>
                  <a:pt x="9847388" y="1387586"/>
                </a:cubicBezTo>
                <a:cubicBezTo>
                  <a:pt x="9834588" y="1275878"/>
                  <a:pt x="9743937" y="1065244"/>
                  <a:pt x="9674739" y="978344"/>
                </a:cubicBezTo>
                <a:cubicBezTo>
                  <a:pt x="9630556" y="922859"/>
                  <a:pt x="9447934" y="774530"/>
                  <a:pt x="9367808" y="741751"/>
                </a:cubicBezTo>
                <a:cubicBezTo>
                  <a:pt x="9277296" y="704724"/>
                  <a:pt x="9181237" y="682695"/>
                  <a:pt x="9086454" y="658623"/>
                </a:cubicBezTo>
                <a:cubicBezTo>
                  <a:pt x="8912564" y="614460"/>
                  <a:pt x="8740484" y="556414"/>
                  <a:pt x="8562113" y="537130"/>
                </a:cubicBezTo>
                <a:cubicBezTo>
                  <a:pt x="7923652" y="468106"/>
                  <a:pt x="8647478" y="543892"/>
                  <a:pt x="8159265" y="498763"/>
                </a:cubicBezTo>
                <a:lnTo>
                  <a:pt x="7564586" y="441213"/>
                </a:lnTo>
                <a:cubicBezTo>
                  <a:pt x="7492116" y="409241"/>
                  <a:pt x="7417228" y="382269"/>
                  <a:pt x="7347176" y="345297"/>
                </a:cubicBezTo>
                <a:cubicBezTo>
                  <a:pt x="7125477" y="228289"/>
                  <a:pt x="7126374" y="180840"/>
                  <a:pt x="6899567" y="115099"/>
                </a:cubicBezTo>
                <a:cubicBezTo>
                  <a:pt x="6699368" y="57070"/>
                  <a:pt x="6610029" y="69047"/>
                  <a:pt x="6400804" y="63944"/>
                </a:cubicBezTo>
                <a:cubicBezTo>
                  <a:pt x="5726955" y="21827"/>
                  <a:pt x="6450140" y="62899"/>
                  <a:pt x="5806124" y="38366"/>
                </a:cubicBezTo>
                <a:cubicBezTo>
                  <a:pt x="5678169" y="33492"/>
                  <a:pt x="5550467" y="22424"/>
                  <a:pt x="5422460" y="19183"/>
                </a:cubicBezTo>
                <a:cubicBezTo>
                  <a:pt x="5213632" y="13896"/>
                  <a:pt x="5004688" y="15285"/>
                  <a:pt x="4795808" y="12788"/>
                </a:cubicBezTo>
                <a:lnTo>
                  <a:pt x="3817464" y="0"/>
                </a:lnTo>
                <a:cubicBezTo>
                  <a:pt x="3580871" y="10657"/>
                  <a:pt x="3343743" y="12832"/>
                  <a:pt x="3107685" y="31972"/>
                </a:cubicBezTo>
                <a:cubicBezTo>
                  <a:pt x="3027684" y="38458"/>
                  <a:pt x="2950459" y="64773"/>
                  <a:pt x="2871092" y="76732"/>
                </a:cubicBezTo>
                <a:cubicBezTo>
                  <a:pt x="2794749" y="88236"/>
                  <a:pt x="2717626" y="93784"/>
                  <a:pt x="2640893" y="102310"/>
                </a:cubicBezTo>
                <a:cubicBezTo>
                  <a:pt x="2478482" y="142912"/>
                  <a:pt x="2660426" y="102914"/>
                  <a:pt x="2410695" y="127888"/>
                </a:cubicBezTo>
                <a:cubicBezTo>
                  <a:pt x="2376169" y="131341"/>
                  <a:pt x="2342522" y="140864"/>
                  <a:pt x="2308384" y="147071"/>
                </a:cubicBezTo>
                <a:cubicBezTo>
                  <a:pt x="2295628" y="149390"/>
                  <a:pt x="2282556" y="150165"/>
                  <a:pt x="2270018" y="153465"/>
                </a:cubicBezTo>
                <a:cubicBezTo>
                  <a:pt x="2241981" y="160843"/>
                  <a:pt x="2215192" y="172754"/>
                  <a:pt x="2186891" y="179043"/>
                </a:cubicBezTo>
                <a:cubicBezTo>
                  <a:pt x="2102212" y="197861"/>
                  <a:pt x="2060982" y="191832"/>
                  <a:pt x="1969481" y="191832"/>
                </a:cubicBezTo>
                <a:lnTo>
                  <a:pt x="1886353" y="249381"/>
                </a:lnTo>
              </a:path>
            </a:pathLst>
          </a:custGeom>
          <a:solidFill>
            <a:schemeClr val="bg1">
              <a:lumMod val="75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9" name="Content Placeholder 40">
            <a:extLst>
              <a:ext uri="{FF2B5EF4-FFF2-40B4-BE49-F238E27FC236}">
                <a16:creationId xmlns:a16="http://schemas.microsoft.com/office/drawing/2014/main" id="{A04759B6-B241-4430-891D-A79D6E8F4974}"/>
              </a:ext>
            </a:extLst>
          </p:cNvPr>
          <p:cNvPicPr>
            <a:picLocks noChangeAspect="1"/>
          </p:cNvPicPr>
          <p:nvPr/>
        </p:nvPicPr>
        <p:blipFill>
          <a:blip r:embed="rId3"/>
          <a:stretch>
            <a:fillRect/>
          </a:stretch>
        </p:blipFill>
        <p:spPr>
          <a:xfrm>
            <a:off x="5564001" y="1358260"/>
            <a:ext cx="630782" cy="721823"/>
          </a:xfrm>
          <a:prstGeom prst="rect">
            <a:avLst/>
          </a:prstGeom>
        </p:spPr>
      </p:pic>
      <p:pic>
        <p:nvPicPr>
          <p:cNvPr id="61" name="Picture 6" descr="A building with a tall tower&#10;&#10;Description automatically generated">
            <a:extLst>
              <a:ext uri="{FF2B5EF4-FFF2-40B4-BE49-F238E27FC236}">
                <a16:creationId xmlns:a16="http://schemas.microsoft.com/office/drawing/2014/main" id="{3DA8645B-B61A-4B7B-8FF2-F313EBAD5D08}"/>
              </a:ext>
            </a:extLst>
          </p:cNvPr>
          <p:cNvPicPr>
            <a:picLocks noChangeAspect="1"/>
          </p:cNvPicPr>
          <p:nvPr/>
        </p:nvPicPr>
        <p:blipFill>
          <a:blip r:embed="rId4"/>
          <a:stretch>
            <a:fillRect/>
          </a:stretch>
        </p:blipFill>
        <p:spPr>
          <a:xfrm>
            <a:off x="3670764" y="1773746"/>
            <a:ext cx="4284267" cy="4047001"/>
          </a:xfrm>
          <a:prstGeom prst="rect">
            <a:avLst/>
          </a:prstGeom>
        </p:spPr>
      </p:pic>
      <p:grpSp>
        <p:nvGrpSpPr>
          <p:cNvPr id="62" name="Gruppieren 191">
            <a:extLst>
              <a:ext uri="{FF2B5EF4-FFF2-40B4-BE49-F238E27FC236}">
                <a16:creationId xmlns:a16="http://schemas.microsoft.com/office/drawing/2014/main" id="{DE4AE8F2-819B-4D97-8F02-121110ECC19F}"/>
              </a:ext>
            </a:extLst>
          </p:cNvPr>
          <p:cNvGrpSpPr/>
          <p:nvPr/>
        </p:nvGrpSpPr>
        <p:grpSpPr>
          <a:xfrm rot="3360000">
            <a:off x="7380223" y="1659866"/>
            <a:ext cx="567645" cy="546762"/>
            <a:chOff x="2445238" y="748237"/>
            <a:chExt cx="754642" cy="726876"/>
          </a:xfrm>
        </p:grpSpPr>
        <p:sp>
          <p:nvSpPr>
            <p:cNvPr id="115" name="Freihandform: Form 192">
              <a:extLst>
                <a:ext uri="{FF2B5EF4-FFF2-40B4-BE49-F238E27FC236}">
                  <a16:creationId xmlns:a16="http://schemas.microsoft.com/office/drawing/2014/main" id="{AC00B55A-223B-4111-BF1F-66894B1DB9B8}"/>
                </a:ext>
              </a:extLst>
            </p:cNvPr>
            <p:cNvSpPr/>
            <p:nvPr/>
          </p:nvSpPr>
          <p:spPr>
            <a:xfrm>
              <a:off x="2540795" y="1455738"/>
              <a:ext cx="19376" cy="19375"/>
            </a:xfrm>
            <a:custGeom>
              <a:avLst/>
              <a:gdLst/>
              <a:ahLst/>
              <a:cxnLst/>
              <a:rect l="l" t="t" r="r" b="b"/>
              <a:pathLst>
                <a:path w="19376" h="19375"/>
              </a:pathLst>
            </a:custGeom>
            <a:solidFill>
              <a:schemeClr val="tx1"/>
            </a:solidFill>
            <a:ln w="21701" cap="flat">
              <a:solidFill>
                <a:srgbClr val="000000"/>
              </a:solidFill>
              <a:prstDash val="solid"/>
              <a:miter/>
            </a:ln>
          </p:spPr>
          <p:txBody>
            <a:bodyPr rtlCol="0" anchor="ctr"/>
            <a:lstStyle/>
            <a:p>
              <a:endParaRPr lang="en-US" sz="2204"/>
            </a:p>
          </p:txBody>
        </p:sp>
        <p:sp>
          <p:nvSpPr>
            <p:cNvPr id="116" name="Freihandform: Form 193">
              <a:extLst>
                <a:ext uri="{FF2B5EF4-FFF2-40B4-BE49-F238E27FC236}">
                  <a16:creationId xmlns:a16="http://schemas.microsoft.com/office/drawing/2014/main" id="{D4F7DCA7-EBB5-44F1-8133-AF327E1880DC}"/>
                </a:ext>
              </a:extLst>
            </p:cNvPr>
            <p:cNvSpPr/>
            <p:nvPr/>
          </p:nvSpPr>
          <p:spPr>
            <a:xfrm>
              <a:off x="2540795" y="1455738"/>
              <a:ext cx="19376" cy="19375"/>
            </a:xfrm>
            <a:custGeom>
              <a:avLst/>
              <a:gdLst/>
              <a:ahLst/>
              <a:cxnLst/>
              <a:rect l="l" t="t" r="r" b="b"/>
              <a:pathLst>
                <a:path w="19376" h="19375"/>
              </a:pathLst>
            </a:custGeom>
            <a:solidFill>
              <a:schemeClr val="tx1"/>
            </a:solidFill>
            <a:ln w="21701" cap="flat">
              <a:solidFill>
                <a:srgbClr val="000000"/>
              </a:solidFill>
              <a:prstDash val="solid"/>
              <a:miter/>
            </a:ln>
          </p:spPr>
          <p:txBody>
            <a:bodyPr rtlCol="0" anchor="ctr"/>
            <a:lstStyle/>
            <a:p>
              <a:endParaRPr lang="en-US" sz="2204"/>
            </a:p>
          </p:txBody>
        </p:sp>
        <p:pic>
          <p:nvPicPr>
            <p:cNvPr id="117" name="Grafik 194">
              <a:extLst>
                <a:ext uri="{FF2B5EF4-FFF2-40B4-BE49-F238E27FC236}">
                  <a16:creationId xmlns:a16="http://schemas.microsoft.com/office/drawing/2014/main" id="{B88816C3-CE0D-4BF7-9676-CC93A815981E}"/>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rot="251750">
              <a:off x="2445238" y="748237"/>
              <a:ext cx="754642" cy="308931"/>
            </a:xfrm>
            <a:prstGeom prst="rect">
              <a:avLst/>
            </a:prstGeom>
          </p:spPr>
        </p:pic>
        <p:grpSp>
          <p:nvGrpSpPr>
            <p:cNvPr id="118" name="Inhaltsplatzhalter 9">
              <a:extLst>
                <a:ext uri="{FF2B5EF4-FFF2-40B4-BE49-F238E27FC236}">
                  <a16:creationId xmlns:a16="http://schemas.microsoft.com/office/drawing/2014/main" id="{6E36CC2B-25C8-4E01-B151-248EBC6DF0DC}"/>
                </a:ext>
              </a:extLst>
            </p:cNvPr>
            <p:cNvGrpSpPr/>
            <p:nvPr/>
          </p:nvGrpSpPr>
          <p:grpSpPr>
            <a:xfrm rot="18791923">
              <a:off x="2737139" y="1038419"/>
              <a:ext cx="198658" cy="278462"/>
              <a:chOff x="6434388" y="2239243"/>
              <a:chExt cx="454707" cy="566514"/>
            </a:xfrm>
            <a:solidFill>
              <a:schemeClr val="accent2"/>
            </a:solidFill>
          </p:grpSpPr>
          <p:sp>
            <p:nvSpPr>
              <p:cNvPr id="119" name="Freihandform: Form 196">
                <a:extLst>
                  <a:ext uri="{FF2B5EF4-FFF2-40B4-BE49-F238E27FC236}">
                    <a16:creationId xmlns:a16="http://schemas.microsoft.com/office/drawing/2014/main" id="{2087BA3E-98EB-4CE3-BD4B-B44800CC6623}"/>
                  </a:ext>
                </a:extLst>
              </p:cNvPr>
              <p:cNvSpPr/>
              <p:nvPr/>
            </p:nvSpPr>
            <p:spPr>
              <a:xfrm rot="-7526254">
                <a:off x="6794704" y="2255577"/>
                <a:ext cx="94394" cy="94389"/>
              </a:xfrm>
              <a:custGeom>
                <a:avLst/>
                <a:gdLst>
                  <a:gd name="connsiteX0" fmla="*/ 94272 w 94394"/>
                  <a:gd name="connsiteY0" fmla="*/ 46842 h 94389"/>
                  <a:gd name="connsiteX1" fmla="*/ 47075 w 94394"/>
                  <a:gd name="connsiteY1" fmla="*/ 94037 h 94389"/>
                  <a:gd name="connsiteX2" fmla="*/ -122 w 94394"/>
                  <a:gd name="connsiteY2" fmla="*/ 46842 h 94389"/>
                  <a:gd name="connsiteX3" fmla="*/ 47075 w 94394"/>
                  <a:gd name="connsiteY3" fmla="*/ -353 h 94389"/>
                  <a:gd name="connsiteX4" fmla="*/ 94272 w 94394"/>
                  <a:gd name="connsiteY4" fmla="*/ 46842 h 94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94" h="94389">
                    <a:moveTo>
                      <a:pt x="94272" y="46842"/>
                    </a:moveTo>
                    <a:cubicBezTo>
                      <a:pt x="94272" y="72907"/>
                      <a:pt x="73141" y="94037"/>
                      <a:pt x="47075" y="94037"/>
                    </a:cubicBezTo>
                    <a:cubicBezTo>
                      <a:pt x="21009" y="94037"/>
                      <a:pt x="-122" y="72907"/>
                      <a:pt x="-122" y="46842"/>
                    </a:cubicBezTo>
                    <a:cubicBezTo>
                      <a:pt x="-122" y="20777"/>
                      <a:pt x="21009" y="-353"/>
                      <a:pt x="47075" y="-353"/>
                    </a:cubicBezTo>
                    <a:cubicBezTo>
                      <a:pt x="73141" y="-353"/>
                      <a:pt x="94272" y="20777"/>
                      <a:pt x="94272" y="46842"/>
                    </a:cubicBezTo>
                    <a:close/>
                  </a:path>
                </a:pathLst>
              </a:custGeom>
              <a:solidFill>
                <a:schemeClr val="tx1"/>
              </a:solidFill>
              <a:ln w="674" cap="flat">
                <a:noFill/>
                <a:prstDash val="solid"/>
                <a:miter/>
              </a:ln>
            </p:spPr>
            <p:txBody>
              <a:bodyPr rtlCol="0" anchor="ctr"/>
              <a:lstStyle/>
              <a:p>
                <a:endParaRPr lang="en-US" sz="2204"/>
              </a:p>
            </p:txBody>
          </p:sp>
          <p:sp>
            <p:nvSpPr>
              <p:cNvPr id="120" name="Freihandform: Form 197">
                <a:extLst>
                  <a:ext uri="{FF2B5EF4-FFF2-40B4-BE49-F238E27FC236}">
                    <a16:creationId xmlns:a16="http://schemas.microsoft.com/office/drawing/2014/main" id="{8695F563-340F-4DBE-80EB-0C9D19AB51AC}"/>
                  </a:ext>
                </a:extLst>
              </p:cNvPr>
              <p:cNvSpPr/>
              <p:nvPr/>
            </p:nvSpPr>
            <p:spPr>
              <a:xfrm rot="-7526254">
                <a:off x="6424544" y="2374537"/>
                <a:ext cx="410367" cy="142415"/>
              </a:xfrm>
              <a:custGeom>
                <a:avLst/>
                <a:gdLst>
                  <a:gd name="connsiteX0" fmla="*/ 208336 w 410367"/>
                  <a:gd name="connsiteY0" fmla="*/ -98 h 142415"/>
                  <a:gd name="connsiteX1" fmla="*/ -143 w 410367"/>
                  <a:gd name="connsiteY1" fmla="*/ 82673 h 142415"/>
                  <a:gd name="connsiteX2" fmla="*/ 38554 w 410367"/>
                  <a:gd name="connsiteY2" fmla="*/ 142317 h 142415"/>
                  <a:gd name="connsiteX3" fmla="*/ 208336 w 410367"/>
                  <a:gd name="connsiteY3" fmla="*/ 66409 h 142415"/>
                  <a:gd name="connsiteX4" fmla="*/ 370107 w 410367"/>
                  <a:gd name="connsiteY4" fmla="*/ 132493 h 142415"/>
                  <a:gd name="connsiteX5" fmla="*/ 410225 w 410367"/>
                  <a:gd name="connsiteY5" fmla="*/ 75871 h 142415"/>
                  <a:gd name="connsiteX6" fmla="*/ 208336 w 410367"/>
                  <a:gd name="connsiteY6" fmla="*/ -98 h 142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0367" h="142415">
                    <a:moveTo>
                      <a:pt x="208336" y="-98"/>
                    </a:moveTo>
                    <a:cubicBezTo>
                      <a:pt x="122520" y="-98"/>
                      <a:pt x="46537" y="32525"/>
                      <a:pt x="-143" y="82673"/>
                    </a:cubicBezTo>
                    <a:lnTo>
                      <a:pt x="38554" y="142317"/>
                    </a:lnTo>
                    <a:cubicBezTo>
                      <a:pt x="72526" y="96928"/>
                      <a:pt x="135824" y="66409"/>
                      <a:pt x="208336" y="66409"/>
                    </a:cubicBezTo>
                    <a:cubicBezTo>
                      <a:pt x="275472" y="66409"/>
                      <a:pt x="334720" y="92589"/>
                      <a:pt x="370107" y="132493"/>
                    </a:cubicBezTo>
                    <a:lnTo>
                      <a:pt x="410225" y="75871"/>
                    </a:lnTo>
                    <a:cubicBezTo>
                      <a:pt x="363152" y="29584"/>
                      <a:pt x="290215" y="-98"/>
                      <a:pt x="208336" y="-98"/>
                    </a:cubicBezTo>
                    <a:close/>
                  </a:path>
                </a:pathLst>
              </a:custGeom>
              <a:solidFill>
                <a:schemeClr val="tx1"/>
              </a:solidFill>
              <a:ln w="967" cap="flat">
                <a:noFill/>
                <a:prstDash val="solid"/>
                <a:miter/>
              </a:ln>
            </p:spPr>
            <p:txBody>
              <a:bodyPr rtlCol="0" anchor="ctr"/>
              <a:lstStyle/>
              <a:p>
                <a:endParaRPr lang="en-US" sz="2204"/>
              </a:p>
            </p:txBody>
          </p:sp>
          <p:sp>
            <p:nvSpPr>
              <p:cNvPr id="121" name="Freihandform: Form 198">
                <a:extLst>
                  <a:ext uri="{FF2B5EF4-FFF2-40B4-BE49-F238E27FC236}">
                    <a16:creationId xmlns:a16="http://schemas.microsoft.com/office/drawing/2014/main" id="{8ED72BF5-05F1-4C5A-B456-2EC23020D52D}"/>
                  </a:ext>
                </a:extLst>
              </p:cNvPr>
              <p:cNvSpPr/>
              <p:nvPr/>
            </p:nvSpPr>
            <p:spPr>
              <a:xfrm rot="-7526254">
                <a:off x="6610433" y="2326785"/>
                <a:ext cx="251770" cy="98460"/>
              </a:xfrm>
              <a:custGeom>
                <a:avLst/>
                <a:gdLst>
                  <a:gd name="connsiteX0" fmla="*/ 127144 w 251770"/>
                  <a:gd name="connsiteY0" fmla="*/ -233 h 98460"/>
                  <a:gd name="connsiteX1" fmla="*/ -132 w 251770"/>
                  <a:gd name="connsiteY1" fmla="*/ 47833 h 98460"/>
                  <a:gd name="connsiteX2" fmla="*/ 32549 w 251770"/>
                  <a:gd name="connsiteY2" fmla="*/ 98227 h 98460"/>
                  <a:gd name="connsiteX3" fmla="*/ 127144 w 251770"/>
                  <a:gd name="connsiteY3" fmla="*/ 63734 h 98460"/>
                  <a:gd name="connsiteX4" fmla="*/ 216963 w 251770"/>
                  <a:gd name="connsiteY4" fmla="*/ 94358 h 98460"/>
                  <a:gd name="connsiteX5" fmla="*/ 251639 w 251770"/>
                  <a:gd name="connsiteY5" fmla="*/ 45385 h 98460"/>
                  <a:gd name="connsiteX6" fmla="*/ 127144 w 251770"/>
                  <a:gd name="connsiteY6" fmla="*/ -233 h 9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770" h="98460">
                    <a:moveTo>
                      <a:pt x="127144" y="-233"/>
                    </a:moveTo>
                    <a:cubicBezTo>
                      <a:pt x="78331" y="-233"/>
                      <a:pt x="33771" y="17935"/>
                      <a:pt x="-132" y="47833"/>
                    </a:cubicBezTo>
                    <a:lnTo>
                      <a:pt x="32549" y="98227"/>
                    </a:lnTo>
                    <a:cubicBezTo>
                      <a:pt x="58095" y="76718"/>
                      <a:pt x="91092" y="63734"/>
                      <a:pt x="127144" y="63734"/>
                    </a:cubicBezTo>
                    <a:cubicBezTo>
                      <a:pt x="160988" y="63734"/>
                      <a:pt x="192132" y="75164"/>
                      <a:pt x="216963" y="94358"/>
                    </a:cubicBezTo>
                    <a:lnTo>
                      <a:pt x="251639" y="45385"/>
                    </a:lnTo>
                    <a:cubicBezTo>
                      <a:pt x="218092" y="16925"/>
                      <a:pt x="174634" y="-233"/>
                      <a:pt x="127144" y="-233"/>
                    </a:cubicBezTo>
                    <a:close/>
                  </a:path>
                </a:pathLst>
              </a:custGeom>
              <a:solidFill>
                <a:schemeClr val="tx1"/>
              </a:solidFill>
              <a:ln w="967" cap="flat">
                <a:noFill/>
                <a:prstDash val="solid"/>
                <a:miter/>
              </a:ln>
            </p:spPr>
            <p:txBody>
              <a:bodyPr rtlCol="0" anchor="ctr"/>
              <a:lstStyle/>
              <a:p>
                <a:endParaRPr lang="en-US" sz="2204"/>
              </a:p>
            </p:txBody>
          </p:sp>
          <p:sp>
            <p:nvSpPr>
              <p:cNvPr id="122" name="Freihandform: Form 199">
                <a:extLst>
                  <a:ext uri="{FF2B5EF4-FFF2-40B4-BE49-F238E27FC236}">
                    <a16:creationId xmlns:a16="http://schemas.microsoft.com/office/drawing/2014/main" id="{F30F4CCC-3835-448C-B65A-988AB619B676}"/>
                  </a:ext>
                </a:extLst>
              </p:cNvPr>
              <p:cNvSpPr/>
              <p:nvPr/>
            </p:nvSpPr>
            <p:spPr>
              <a:xfrm rot="-7526254">
                <a:off x="6235882" y="2437749"/>
                <a:ext cx="566514" cy="169501"/>
              </a:xfrm>
              <a:custGeom>
                <a:avLst/>
                <a:gdLst>
                  <a:gd name="connsiteX0" fmla="*/ 283711 w 566514"/>
                  <a:gd name="connsiteY0" fmla="*/ -171 h 169501"/>
                  <a:gd name="connsiteX1" fmla="*/ -166 w 566514"/>
                  <a:gd name="connsiteY1" fmla="*/ 112830 h 169501"/>
                  <a:gd name="connsiteX2" fmla="*/ 36505 w 566514"/>
                  <a:gd name="connsiteY2" fmla="*/ 169331 h 169501"/>
                  <a:gd name="connsiteX3" fmla="*/ 282018 w 566514"/>
                  <a:gd name="connsiteY3" fmla="*/ 69994 h 169501"/>
                  <a:gd name="connsiteX4" fmla="*/ 526382 w 566514"/>
                  <a:gd name="connsiteY4" fmla="*/ 167940 h 169501"/>
                  <a:gd name="connsiteX5" fmla="*/ 566349 w 566514"/>
                  <a:gd name="connsiteY5" fmla="*/ 111560 h 169501"/>
                  <a:gd name="connsiteX6" fmla="*/ 283711 w 566514"/>
                  <a:gd name="connsiteY6" fmla="*/ -171 h 16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514" h="169501">
                    <a:moveTo>
                      <a:pt x="283711" y="-171"/>
                    </a:moveTo>
                    <a:cubicBezTo>
                      <a:pt x="170925" y="-171"/>
                      <a:pt x="69614" y="43484"/>
                      <a:pt x="-166" y="112830"/>
                    </a:cubicBezTo>
                    <a:lnTo>
                      <a:pt x="36505" y="169331"/>
                    </a:lnTo>
                    <a:cubicBezTo>
                      <a:pt x="88069" y="109640"/>
                      <a:pt x="178729" y="69994"/>
                      <a:pt x="282018" y="69994"/>
                    </a:cubicBezTo>
                    <a:cubicBezTo>
                      <a:pt x="384512" y="69994"/>
                      <a:pt x="474604" y="109017"/>
                      <a:pt x="526382" y="167940"/>
                    </a:cubicBezTo>
                    <a:lnTo>
                      <a:pt x="566349" y="111560"/>
                    </a:lnTo>
                    <a:cubicBezTo>
                      <a:pt x="496591" y="42946"/>
                      <a:pt x="395819" y="-171"/>
                      <a:pt x="283711" y="-171"/>
                    </a:cubicBezTo>
                    <a:close/>
                  </a:path>
                </a:pathLst>
              </a:custGeom>
              <a:solidFill>
                <a:schemeClr val="tx1"/>
              </a:solidFill>
              <a:ln w="967" cap="flat">
                <a:noFill/>
                <a:prstDash val="solid"/>
                <a:miter/>
              </a:ln>
            </p:spPr>
            <p:txBody>
              <a:bodyPr rtlCol="0" anchor="ctr"/>
              <a:lstStyle/>
              <a:p>
                <a:endParaRPr lang="en-US" sz="2204"/>
              </a:p>
            </p:txBody>
          </p:sp>
        </p:grpSp>
      </p:grpSp>
      <p:grpSp>
        <p:nvGrpSpPr>
          <p:cNvPr id="63" name="Group 78">
            <a:extLst>
              <a:ext uri="{FF2B5EF4-FFF2-40B4-BE49-F238E27FC236}">
                <a16:creationId xmlns:a16="http://schemas.microsoft.com/office/drawing/2014/main" id="{ABA8F433-8281-4901-B6CF-7AF3E0602FF4}"/>
              </a:ext>
            </a:extLst>
          </p:cNvPr>
          <p:cNvGrpSpPr/>
          <p:nvPr/>
        </p:nvGrpSpPr>
        <p:grpSpPr>
          <a:xfrm>
            <a:off x="5806628" y="2011256"/>
            <a:ext cx="209457" cy="176601"/>
            <a:chOff x="2943595" y="3703491"/>
            <a:chExt cx="306798" cy="258673"/>
          </a:xfrm>
        </p:grpSpPr>
        <p:sp>
          <p:nvSpPr>
            <p:cNvPr id="111" name="Freihandform: Form 196">
              <a:extLst>
                <a:ext uri="{FF2B5EF4-FFF2-40B4-BE49-F238E27FC236}">
                  <a16:creationId xmlns:a16="http://schemas.microsoft.com/office/drawing/2014/main" id="{710E82D4-7344-4E54-9B23-23F998DAA092}"/>
                </a:ext>
              </a:extLst>
            </p:cNvPr>
            <p:cNvSpPr/>
            <p:nvPr/>
          </p:nvSpPr>
          <p:spPr>
            <a:xfrm rot="10665669">
              <a:off x="3056931" y="3703491"/>
              <a:ext cx="51119" cy="45435"/>
            </a:xfrm>
            <a:custGeom>
              <a:avLst/>
              <a:gdLst>
                <a:gd name="connsiteX0" fmla="*/ 94272 w 94394"/>
                <a:gd name="connsiteY0" fmla="*/ 46842 h 94389"/>
                <a:gd name="connsiteX1" fmla="*/ 47075 w 94394"/>
                <a:gd name="connsiteY1" fmla="*/ 94037 h 94389"/>
                <a:gd name="connsiteX2" fmla="*/ -122 w 94394"/>
                <a:gd name="connsiteY2" fmla="*/ 46842 h 94389"/>
                <a:gd name="connsiteX3" fmla="*/ 47075 w 94394"/>
                <a:gd name="connsiteY3" fmla="*/ -353 h 94389"/>
                <a:gd name="connsiteX4" fmla="*/ 94272 w 94394"/>
                <a:gd name="connsiteY4" fmla="*/ 46842 h 94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94" h="94389">
                  <a:moveTo>
                    <a:pt x="94272" y="46842"/>
                  </a:moveTo>
                  <a:cubicBezTo>
                    <a:pt x="94272" y="72907"/>
                    <a:pt x="73141" y="94037"/>
                    <a:pt x="47075" y="94037"/>
                  </a:cubicBezTo>
                  <a:cubicBezTo>
                    <a:pt x="21009" y="94037"/>
                    <a:pt x="-122" y="72907"/>
                    <a:pt x="-122" y="46842"/>
                  </a:cubicBezTo>
                  <a:cubicBezTo>
                    <a:pt x="-122" y="20777"/>
                    <a:pt x="21009" y="-353"/>
                    <a:pt x="47075" y="-353"/>
                  </a:cubicBezTo>
                  <a:cubicBezTo>
                    <a:pt x="73141" y="-353"/>
                    <a:pt x="94272" y="20777"/>
                    <a:pt x="94272" y="46842"/>
                  </a:cubicBezTo>
                  <a:close/>
                </a:path>
              </a:pathLst>
            </a:custGeom>
            <a:solidFill>
              <a:schemeClr val="tx1"/>
            </a:solidFill>
            <a:ln w="674" cap="flat">
              <a:noFill/>
              <a:prstDash val="solid"/>
              <a:miter/>
            </a:ln>
          </p:spPr>
          <p:txBody>
            <a:bodyPr rtlCol="0" anchor="ctr"/>
            <a:lstStyle/>
            <a:p>
              <a:endParaRPr lang="en-US" sz="2204">
                <a:solidFill>
                  <a:srgbClr val="000000"/>
                </a:solidFill>
              </a:endParaRPr>
            </a:p>
          </p:txBody>
        </p:sp>
        <p:sp>
          <p:nvSpPr>
            <p:cNvPr id="112" name="Freihandform: Form 197">
              <a:extLst>
                <a:ext uri="{FF2B5EF4-FFF2-40B4-BE49-F238E27FC236}">
                  <a16:creationId xmlns:a16="http://schemas.microsoft.com/office/drawing/2014/main" id="{F86FA827-B7C0-494C-BA72-0DDF1A5568B1}"/>
                </a:ext>
              </a:extLst>
            </p:cNvPr>
            <p:cNvSpPr/>
            <p:nvPr/>
          </p:nvSpPr>
          <p:spPr>
            <a:xfrm rot="10665669">
              <a:off x="2980241" y="3819789"/>
              <a:ext cx="222236" cy="68553"/>
            </a:xfrm>
            <a:custGeom>
              <a:avLst/>
              <a:gdLst>
                <a:gd name="connsiteX0" fmla="*/ 208336 w 410367"/>
                <a:gd name="connsiteY0" fmla="*/ -98 h 142415"/>
                <a:gd name="connsiteX1" fmla="*/ -143 w 410367"/>
                <a:gd name="connsiteY1" fmla="*/ 82673 h 142415"/>
                <a:gd name="connsiteX2" fmla="*/ 38554 w 410367"/>
                <a:gd name="connsiteY2" fmla="*/ 142317 h 142415"/>
                <a:gd name="connsiteX3" fmla="*/ 208336 w 410367"/>
                <a:gd name="connsiteY3" fmla="*/ 66409 h 142415"/>
                <a:gd name="connsiteX4" fmla="*/ 370107 w 410367"/>
                <a:gd name="connsiteY4" fmla="*/ 132493 h 142415"/>
                <a:gd name="connsiteX5" fmla="*/ 410225 w 410367"/>
                <a:gd name="connsiteY5" fmla="*/ 75871 h 142415"/>
                <a:gd name="connsiteX6" fmla="*/ 208336 w 410367"/>
                <a:gd name="connsiteY6" fmla="*/ -98 h 142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0367" h="142415">
                  <a:moveTo>
                    <a:pt x="208336" y="-98"/>
                  </a:moveTo>
                  <a:cubicBezTo>
                    <a:pt x="122520" y="-98"/>
                    <a:pt x="46537" y="32525"/>
                    <a:pt x="-143" y="82673"/>
                  </a:cubicBezTo>
                  <a:lnTo>
                    <a:pt x="38554" y="142317"/>
                  </a:lnTo>
                  <a:cubicBezTo>
                    <a:pt x="72526" y="96928"/>
                    <a:pt x="135824" y="66409"/>
                    <a:pt x="208336" y="66409"/>
                  </a:cubicBezTo>
                  <a:cubicBezTo>
                    <a:pt x="275472" y="66409"/>
                    <a:pt x="334720" y="92589"/>
                    <a:pt x="370107" y="132493"/>
                  </a:cubicBezTo>
                  <a:lnTo>
                    <a:pt x="410225" y="75871"/>
                  </a:lnTo>
                  <a:cubicBezTo>
                    <a:pt x="363152" y="29584"/>
                    <a:pt x="290215" y="-98"/>
                    <a:pt x="208336" y="-98"/>
                  </a:cubicBezTo>
                  <a:close/>
                </a:path>
              </a:pathLst>
            </a:custGeom>
            <a:solidFill>
              <a:schemeClr val="tx1"/>
            </a:solidFill>
            <a:ln w="967" cap="flat">
              <a:noFill/>
              <a:prstDash val="solid"/>
              <a:miter/>
            </a:ln>
          </p:spPr>
          <p:txBody>
            <a:bodyPr rtlCol="0" anchor="ctr"/>
            <a:lstStyle/>
            <a:p>
              <a:endParaRPr lang="en-US" sz="2204">
                <a:solidFill>
                  <a:srgbClr val="000000"/>
                </a:solidFill>
              </a:endParaRPr>
            </a:p>
          </p:txBody>
        </p:sp>
        <p:sp>
          <p:nvSpPr>
            <p:cNvPr id="113" name="Freihandform: Form 198">
              <a:extLst>
                <a:ext uri="{FF2B5EF4-FFF2-40B4-BE49-F238E27FC236}">
                  <a16:creationId xmlns:a16="http://schemas.microsoft.com/office/drawing/2014/main" id="{844D140F-78ED-45AF-9266-224E17A1298C}"/>
                </a:ext>
              </a:extLst>
            </p:cNvPr>
            <p:cNvSpPr/>
            <p:nvPr/>
          </p:nvSpPr>
          <p:spPr>
            <a:xfrm rot="10665669">
              <a:off x="3019680" y="3766757"/>
              <a:ext cx="136347" cy="47395"/>
            </a:xfrm>
            <a:custGeom>
              <a:avLst/>
              <a:gdLst>
                <a:gd name="connsiteX0" fmla="*/ 127144 w 251770"/>
                <a:gd name="connsiteY0" fmla="*/ -233 h 98460"/>
                <a:gd name="connsiteX1" fmla="*/ -132 w 251770"/>
                <a:gd name="connsiteY1" fmla="*/ 47833 h 98460"/>
                <a:gd name="connsiteX2" fmla="*/ 32549 w 251770"/>
                <a:gd name="connsiteY2" fmla="*/ 98227 h 98460"/>
                <a:gd name="connsiteX3" fmla="*/ 127144 w 251770"/>
                <a:gd name="connsiteY3" fmla="*/ 63734 h 98460"/>
                <a:gd name="connsiteX4" fmla="*/ 216963 w 251770"/>
                <a:gd name="connsiteY4" fmla="*/ 94358 h 98460"/>
                <a:gd name="connsiteX5" fmla="*/ 251639 w 251770"/>
                <a:gd name="connsiteY5" fmla="*/ 45385 h 98460"/>
                <a:gd name="connsiteX6" fmla="*/ 127144 w 251770"/>
                <a:gd name="connsiteY6" fmla="*/ -233 h 9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770" h="98460">
                  <a:moveTo>
                    <a:pt x="127144" y="-233"/>
                  </a:moveTo>
                  <a:cubicBezTo>
                    <a:pt x="78331" y="-233"/>
                    <a:pt x="33771" y="17935"/>
                    <a:pt x="-132" y="47833"/>
                  </a:cubicBezTo>
                  <a:lnTo>
                    <a:pt x="32549" y="98227"/>
                  </a:lnTo>
                  <a:cubicBezTo>
                    <a:pt x="58095" y="76718"/>
                    <a:pt x="91092" y="63734"/>
                    <a:pt x="127144" y="63734"/>
                  </a:cubicBezTo>
                  <a:cubicBezTo>
                    <a:pt x="160988" y="63734"/>
                    <a:pt x="192132" y="75164"/>
                    <a:pt x="216963" y="94358"/>
                  </a:cubicBezTo>
                  <a:lnTo>
                    <a:pt x="251639" y="45385"/>
                  </a:lnTo>
                  <a:cubicBezTo>
                    <a:pt x="218092" y="16925"/>
                    <a:pt x="174634" y="-233"/>
                    <a:pt x="127144" y="-233"/>
                  </a:cubicBezTo>
                  <a:close/>
                </a:path>
              </a:pathLst>
            </a:custGeom>
            <a:solidFill>
              <a:schemeClr val="tx1"/>
            </a:solidFill>
            <a:ln w="967" cap="flat">
              <a:noFill/>
              <a:prstDash val="solid"/>
              <a:miter/>
            </a:ln>
          </p:spPr>
          <p:txBody>
            <a:bodyPr rtlCol="0" anchor="ctr"/>
            <a:lstStyle/>
            <a:p>
              <a:endParaRPr lang="en-US" sz="2204">
                <a:solidFill>
                  <a:srgbClr val="000000"/>
                </a:solidFill>
              </a:endParaRPr>
            </a:p>
          </p:txBody>
        </p:sp>
        <p:sp>
          <p:nvSpPr>
            <p:cNvPr id="114" name="Freihandform: Form 199">
              <a:extLst>
                <a:ext uri="{FF2B5EF4-FFF2-40B4-BE49-F238E27FC236}">
                  <a16:creationId xmlns:a16="http://schemas.microsoft.com/office/drawing/2014/main" id="{80297C24-989E-4260-B14A-2D15505C7F8D}"/>
                </a:ext>
              </a:extLst>
            </p:cNvPr>
            <p:cNvSpPr/>
            <p:nvPr/>
          </p:nvSpPr>
          <p:spPr>
            <a:xfrm rot="10665669">
              <a:off x="2943595" y="3880573"/>
              <a:ext cx="306798" cy="81591"/>
            </a:xfrm>
            <a:custGeom>
              <a:avLst/>
              <a:gdLst>
                <a:gd name="connsiteX0" fmla="*/ 283711 w 566514"/>
                <a:gd name="connsiteY0" fmla="*/ -171 h 169501"/>
                <a:gd name="connsiteX1" fmla="*/ -166 w 566514"/>
                <a:gd name="connsiteY1" fmla="*/ 112830 h 169501"/>
                <a:gd name="connsiteX2" fmla="*/ 36505 w 566514"/>
                <a:gd name="connsiteY2" fmla="*/ 169331 h 169501"/>
                <a:gd name="connsiteX3" fmla="*/ 282018 w 566514"/>
                <a:gd name="connsiteY3" fmla="*/ 69994 h 169501"/>
                <a:gd name="connsiteX4" fmla="*/ 526382 w 566514"/>
                <a:gd name="connsiteY4" fmla="*/ 167940 h 169501"/>
                <a:gd name="connsiteX5" fmla="*/ 566349 w 566514"/>
                <a:gd name="connsiteY5" fmla="*/ 111560 h 169501"/>
                <a:gd name="connsiteX6" fmla="*/ 283711 w 566514"/>
                <a:gd name="connsiteY6" fmla="*/ -171 h 16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514" h="169501">
                  <a:moveTo>
                    <a:pt x="283711" y="-171"/>
                  </a:moveTo>
                  <a:cubicBezTo>
                    <a:pt x="170925" y="-171"/>
                    <a:pt x="69614" y="43484"/>
                    <a:pt x="-166" y="112830"/>
                  </a:cubicBezTo>
                  <a:lnTo>
                    <a:pt x="36505" y="169331"/>
                  </a:lnTo>
                  <a:cubicBezTo>
                    <a:pt x="88069" y="109640"/>
                    <a:pt x="178729" y="69994"/>
                    <a:pt x="282018" y="69994"/>
                  </a:cubicBezTo>
                  <a:cubicBezTo>
                    <a:pt x="384512" y="69994"/>
                    <a:pt x="474604" y="109017"/>
                    <a:pt x="526382" y="167940"/>
                  </a:cubicBezTo>
                  <a:lnTo>
                    <a:pt x="566349" y="111560"/>
                  </a:lnTo>
                  <a:cubicBezTo>
                    <a:pt x="496591" y="42946"/>
                    <a:pt x="395819" y="-171"/>
                    <a:pt x="283711" y="-171"/>
                  </a:cubicBezTo>
                  <a:close/>
                </a:path>
              </a:pathLst>
            </a:custGeom>
            <a:solidFill>
              <a:schemeClr val="tx1"/>
            </a:solidFill>
            <a:ln w="967" cap="flat">
              <a:noFill/>
              <a:prstDash val="solid"/>
              <a:miter/>
            </a:ln>
          </p:spPr>
          <p:txBody>
            <a:bodyPr rtlCol="0" anchor="ctr"/>
            <a:lstStyle/>
            <a:p>
              <a:endParaRPr lang="en-US" sz="2204">
                <a:solidFill>
                  <a:srgbClr val="000000"/>
                </a:solidFill>
              </a:endParaRPr>
            </a:p>
          </p:txBody>
        </p:sp>
      </p:grpSp>
      <p:grpSp>
        <p:nvGrpSpPr>
          <p:cNvPr id="64" name="Gruppieren 191">
            <a:extLst>
              <a:ext uri="{FF2B5EF4-FFF2-40B4-BE49-F238E27FC236}">
                <a16:creationId xmlns:a16="http://schemas.microsoft.com/office/drawing/2014/main" id="{C085EF20-D4A2-4AD5-B02D-7D3E31D5C992}"/>
              </a:ext>
            </a:extLst>
          </p:cNvPr>
          <p:cNvGrpSpPr/>
          <p:nvPr/>
        </p:nvGrpSpPr>
        <p:grpSpPr>
          <a:xfrm rot="10080000">
            <a:off x="5595812" y="4162614"/>
            <a:ext cx="327137" cy="298468"/>
            <a:chOff x="2540795" y="1078324"/>
            <a:chExt cx="434904" cy="396789"/>
          </a:xfrm>
        </p:grpSpPr>
        <p:sp>
          <p:nvSpPr>
            <p:cNvPr id="104" name="Freihandform: Form 192">
              <a:extLst>
                <a:ext uri="{FF2B5EF4-FFF2-40B4-BE49-F238E27FC236}">
                  <a16:creationId xmlns:a16="http://schemas.microsoft.com/office/drawing/2014/main" id="{481E0D79-7989-4888-9E05-6238CB733465}"/>
                </a:ext>
              </a:extLst>
            </p:cNvPr>
            <p:cNvSpPr/>
            <p:nvPr/>
          </p:nvSpPr>
          <p:spPr>
            <a:xfrm>
              <a:off x="2540795" y="1455738"/>
              <a:ext cx="19376" cy="19375"/>
            </a:xfrm>
            <a:custGeom>
              <a:avLst/>
              <a:gdLst/>
              <a:ahLst/>
              <a:cxnLst/>
              <a:rect l="l" t="t" r="r" b="b"/>
              <a:pathLst>
                <a:path w="19376" h="19375"/>
              </a:pathLst>
            </a:custGeom>
            <a:solidFill>
              <a:schemeClr val="tx1"/>
            </a:solidFill>
            <a:ln w="21701" cap="flat">
              <a:noFill/>
              <a:prstDash val="solid"/>
              <a:miter/>
            </a:ln>
          </p:spPr>
          <p:txBody>
            <a:bodyPr rtlCol="0" anchor="ctr"/>
            <a:lstStyle/>
            <a:p>
              <a:endParaRPr lang="en-US" sz="2204">
                <a:solidFill>
                  <a:srgbClr val="000000"/>
                </a:solidFill>
              </a:endParaRPr>
            </a:p>
          </p:txBody>
        </p:sp>
        <p:sp>
          <p:nvSpPr>
            <p:cNvPr id="105" name="Freihandform: Form 193">
              <a:extLst>
                <a:ext uri="{FF2B5EF4-FFF2-40B4-BE49-F238E27FC236}">
                  <a16:creationId xmlns:a16="http://schemas.microsoft.com/office/drawing/2014/main" id="{BD8E1C22-B23D-440B-A007-F6F137796D5E}"/>
                </a:ext>
              </a:extLst>
            </p:cNvPr>
            <p:cNvSpPr/>
            <p:nvPr/>
          </p:nvSpPr>
          <p:spPr>
            <a:xfrm>
              <a:off x="2540795" y="1455738"/>
              <a:ext cx="19376" cy="19375"/>
            </a:xfrm>
            <a:custGeom>
              <a:avLst/>
              <a:gdLst/>
              <a:ahLst/>
              <a:cxnLst/>
              <a:rect l="l" t="t" r="r" b="b"/>
              <a:pathLst>
                <a:path w="19376" h="19375"/>
              </a:pathLst>
            </a:custGeom>
            <a:solidFill>
              <a:schemeClr val="tx1"/>
            </a:solidFill>
            <a:ln w="21701" cap="flat">
              <a:noFill/>
              <a:prstDash val="solid"/>
              <a:miter/>
            </a:ln>
          </p:spPr>
          <p:txBody>
            <a:bodyPr rtlCol="0" anchor="ctr"/>
            <a:lstStyle/>
            <a:p>
              <a:endParaRPr lang="en-US" sz="2204">
                <a:solidFill>
                  <a:srgbClr val="000000"/>
                </a:solidFill>
              </a:endParaRPr>
            </a:p>
          </p:txBody>
        </p:sp>
        <p:grpSp>
          <p:nvGrpSpPr>
            <p:cNvPr id="106" name="Inhaltsplatzhalter 9">
              <a:extLst>
                <a:ext uri="{FF2B5EF4-FFF2-40B4-BE49-F238E27FC236}">
                  <a16:creationId xmlns:a16="http://schemas.microsoft.com/office/drawing/2014/main" id="{D7A64AE0-F3A9-4E5A-8F32-422867294AF4}"/>
                </a:ext>
              </a:extLst>
            </p:cNvPr>
            <p:cNvGrpSpPr/>
            <p:nvPr/>
          </p:nvGrpSpPr>
          <p:grpSpPr>
            <a:xfrm rot="18791923">
              <a:off x="2737139" y="1038422"/>
              <a:ext cx="198658" cy="278462"/>
              <a:chOff x="6434388" y="2239243"/>
              <a:chExt cx="454707" cy="566514"/>
            </a:xfrm>
            <a:solidFill>
              <a:schemeClr val="accent2"/>
            </a:solidFill>
          </p:grpSpPr>
          <p:sp>
            <p:nvSpPr>
              <p:cNvPr id="107" name="Freihandform: Form 196">
                <a:extLst>
                  <a:ext uri="{FF2B5EF4-FFF2-40B4-BE49-F238E27FC236}">
                    <a16:creationId xmlns:a16="http://schemas.microsoft.com/office/drawing/2014/main" id="{2D382DB5-191B-4FD1-883F-CFF541B3E6E1}"/>
                  </a:ext>
                </a:extLst>
              </p:cNvPr>
              <p:cNvSpPr/>
              <p:nvPr/>
            </p:nvSpPr>
            <p:spPr>
              <a:xfrm rot="-7526254">
                <a:off x="6794704" y="2255577"/>
                <a:ext cx="94394" cy="94389"/>
              </a:xfrm>
              <a:custGeom>
                <a:avLst/>
                <a:gdLst>
                  <a:gd name="connsiteX0" fmla="*/ 94272 w 94394"/>
                  <a:gd name="connsiteY0" fmla="*/ 46842 h 94389"/>
                  <a:gd name="connsiteX1" fmla="*/ 47075 w 94394"/>
                  <a:gd name="connsiteY1" fmla="*/ 94037 h 94389"/>
                  <a:gd name="connsiteX2" fmla="*/ -122 w 94394"/>
                  <a:gd name="connsiteY2" fmla="*/ 46842 h 94389"/>
                  <a:gd name="connsiteX3" fmla="*/ 47075 w 94394"/>
                  <a:gd name="connsiteY3" fmla="*/ -353 h 94389"/>
                  <a:gd name="connsiteX4" fmla="*/ 94272 w 94394"/>
                  <a:gd name="connsiteY4" fmla="*/ 46842 h 94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94" h="94389">
                    <a:moveTo>
                      <a:pt x="94272" y="46842"/>
                    </a:moveTo>
                    <a:cubicBezTo>
                      <a:pt x="94272" y="72907"/>
                      <a:pt x="73141" y="94037"/>
                      <a:pt x="47075" y="94037"/>
                    </a:cubicBezTo>
                    <a:cubicBezTo>
                      <a:pt x="21009" y="94037"/>
                      <a:pt x="-122" y="72907"/>
                      <a:pt x="-122" y="46842"/>
                    </a:cubicBezTo>
                    <a:cubicBezTo>
                      <a:pt x="-122" y="20777"/>
                      <a:pt x="21009" y="-353"/>
                      <a:pt x="47075" y="-353"/>
                    </a:cubicBezTo>
                    <a:cubicBezTo>
                      <a:pt x="73141" y="-353"/>
                      <a:pt x="94272" y="20777"/>
                      <a:pt x="94272" y="46842"/>
                    </a:cubicBezTo>
                    <a:close/>
                  </a:path>
                </a:pathLst>
              </a:custGeom>
              <a:solidFill>
                <a:schemeClr val="tx1"/>
              </a:solidFill>
              <a:ln w="674" cap="flat">
                <a:noFill/>
                <a:prstDash val="solid"/>
                <a:miter/>
              </a:ln>
            </p:spPr>
            <p:txBody>
              <a:bodyPr rtlCol="0" anchor="ctr"/>
              <a:lstStyle/>
              <a:p>
                <a:endParaRPr lang="en-US" sz="2204">
                  <a:solidFill>
                    <a:srgbClr val="000000"/>
                  </a:solidFill>
                </a:endParaRPr>
              </a:p>
            </p:txBody>
          </p:sp>
          <p:sp>
            <p:nvSpPr>
              <p:cNvPr id="108" name="Freihandform: Form 197">
                <a:extLst>
                  <a:ext uri="{FF2B5EF4-FFF2-40B4-BE49-F238E27FC236}">
                    <a16:creationId xmlns:a16="http://schemas.microsoft.com/office/drawing/2014/main" id="{B0F319AE-2FB2-426C-9A36-66D58F724660}"/>
                  </a:ext>
                </a:extLst>
              </p:cNvPr>
              <p:cNvSpPr/>
              <p:nvPr/>
            </p:nvSpPr>
            <p:spPr>
              <a:xfrm rot="-7526254">
                <a:off x="6424544" y="2374537"/>
                <a:ext cx="410367" cy="142415"/>
              </a:xfrm>
              <a:custGeom>
                <a:avLst/>
                <a:gdLst>
                  <a:gd name="connsiteX0" fmla="*/ 208336 w 410367"/>
                  <a:gd name="connsiteY0" fmla="*/ -98 h 142415"/>
                  <a:gd name="connsiteX1" fmla="*/ -143 w 410367"/>
                  <a:gd name="connsiteY1" fmla="*/ 82673 h 142415"/>
                  <a:gd name="connsiteX2" fmla="*/ 38554 w 410367"/>
                  <a:gd name="connsiteY2" fmla="*/ 142317 h 142415"/>
                  <a:gd name="connsiteX3" fmla="*/ 208336 w 410367"/>
                  <a:gd name="connsiteY3" fmla="*/ 66409 h 142415"/>
                  <a:gd name="connsiteX4" fmla="*/ 370107 w 410367"/>
                  <a:gd name="connsiteY4" fmla="*/ 132493 h 142415"/>
                  <a:gd name="connsiteX5" fmla="*/ 410225 w 410367"/>
                  <a:gd name="connsiteY5" fmla="*/ 75871 h 142415"/>
                  <a:gd name="connsiteX6" fmla="*/ 208336 w 410367"/>
                  <a:gd name="connsiteY6" fmla="*/ -98 h 142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0367" h="142415">
                    <a:moveTo>
                      <a:pt x="208336" y="-98"/>
                    </a:moveTo>
                    <a:cubicBezTo>
                      <a:pt x="122520" y="-98"/>
                      <a:pt x="46537" y="32525"/>
                      <a:pt x="-143" y="82673"/>
                    </a:cubicBezTo>
                    <a:lnTo>
                      <a:pt x="38554" y="142317"/>
                    </a:lnTo>
                    <a:cubicBezTo>
                      <a:pt x="72526" y="96928"/>
                      <a:pt x="135824" y="66409"/>
                      <a:pt x="208336" y="66409"/>
                    </a:cubicBezTo>
                    <a:cubicBezTo>
                      <a:pt x="275472" y="66409"/>
                      <a:pt x="334720" y="92589"/>
                      <a:pt x="370107" y="132493"/>
                    </a:cubicBezTo>
                    <a:lnTo>
                      <a:pt x="410225" y="75871"/>
                    </a:lnTo>
                    <a:cubicBezTo>
                      <a:pt x="363152" y="29584"/>
                      <a:pt x="290215" y="-98"/>
                      <a:pt x="208336" y="-98"/>
                    </a:cubicBezTo>
                    <a:close/>
                  </a:path>
                </a:pathLst>
              </a:custGeom>
              <a:solidFill>
                <a:schemeClr val="tx1"/>
              </a:solidFill>
              <a:ln w="967" cap="flat">
                <a:noFill/>
                <a:prstDash val="solid"/>
                <a:miter/>
              </a:ln>
            </p:spPr>
            <p:txBody>
              <a:bodyPr rtlCol="0" anchor="ctr"/>
              <a:lstStyle/>
              <a:p>
                <a:endParaRPr lang="en-US" sz="2204">
                  <a:solidFill>
                    <a:srgbClr val="000000"/>
                  </a:solidFill>
                </a:endParaRPr>
              </a:p>
            </p:txBody>
          </p:sp>
          <p:sp>
            <p:nvSpPr>
              <p:cNvPr id="109" name="Freihandform: Form 198">
                <a:extLst>
                  <a:ext uri="{FF2B5EF4-FFF2-40B4-BE49-F238E27FC236}">
                    <a16:creationId xmlns:a16="http://schemas.microsoft.com/office/drawing/2014/main" id="{407F0284-4E48-4F57-906A-BC657764C450}"/>
                  </a:ext>
                </a:extLst>
              </p:cNvPr>
              <p:cNvSpPr/>
              <p:nvPr/>
            </p:nvSpPr>
            <p:spPr>
              <a:xfrm rot="-7526254">
                <a:off x="6610433" y="2326785"/>
                <a:ext cx="251770" cy="98460"/>
              </a:xfrm>
              <a:custGeom>
                <a:avLst/>
                <a:gdLst>
                  <a:gd name="connsiteX0" fmla="*/ 127144 w 251770"/>
                  <a:gd name="connsiteY0" fmla="*/ -233 h 98460"/>
                  <a:gd name="connsiteX1" fmla="*/ -132 w 251770"/>
                  <a:gd name="connsiteY1" fmla="*/ 47833 h 98460"/>
                  <a:gd name="connsiteX2" fmla="*/ 32549 w 251770"/>
                  <a:gd name="connsiteY2" fmla="*/ 98227 h 98460"/>
                  <a:gd name="connsiteX3" fmla="*/ 127144 w 251770"/>
                  <a:gd name="connsiteY3" fmla="*/ 63734 h 98460"/>
                  <a:gd name="connsiteX4" fmla="*/ 216963 w 251770"/>
                  <a:gd name="connsiteY4" fmla="*/ 94358 h 98460"/>
                  <a:gd name="connsiteX5" fmla="*/ 251639 w 251770"/>
                  <a:gd name="connsiteY5" fmla="*/ 45385 h 98460"/>
                  <a:gd name="connsiteX6" fmla="*/ 127144 w 251770"/>
                  <a:gd name="connsiteY6" fmla="*/ -233 h 98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770" h="98460">
                    <a:moveTo>
                      <a:pt x="127144" y="-233"/>
                    </a:moveTo>
                    <a:cubicBezTo>
                      <a:pt x="78331" y="-233"/>
                      <a:pt x="33771" y="17935"/>
                      <a:pt x="-132" y="47833"/>
                    </a:cubicBezTo>
                    <a:lnTo>
                      <a:pt x="32549" y="98227"/>
                    </a:lnTo>
                    <a:cubicBezTo>
                      <a:pt x="58095" y="76718"/>
                      <a:pt x="91092" y="63734"/>
                      <a:pt x="127144" y="63734"/>
                    </a:cubicBezTo>
                    <a:cubicBezTo>
                      <a:pt x="160988" y="63734"/>
                      <a:pt x="192132" y="75164"/>
                      <a:pt x="216963" y="94358"/>
                    </a:cubicBezTo>
                    <a:lnTo>
                      <a:pt x="251639" y="45385"/>
                    </a:lnTo>
                    <a:cubicBezTo>
                      <a:pt x="218092" y="16925"/>
                      <a:pt x="174634" y="-233"/>
                      <a:pt x="127144" y="-233"/>
                    </a:cubicBezTo>
                    <a:close/>
                  </a:path>
                </a:pathLst>
              </a:custGeom>
              <a:solidFill>
                <a:schemeClr val="tx1"/>
              </a:solidFill>
              <a:ln w="967" cap="flat">
                <a:noFill/>
                <a:prstDash val="solid"/>
                <a:miter/>
              </a:ln>
            </p:spPr>
            <p:txBody>
              <a:bodyPr rtlCol="0" anchor="ctr"/>
              <a:lstStyle/>
              <a:p>
                <a:endParaRPr lang="en-US" sz="2204">
                  <a:solidFill>
                    <a:srgbClr val="000000"/>
                  </a:solidFill>
                </a:endParaRPr>
              </a:p>
            </p:txBody>
          </p:sp>
          <p:sp>
            <p:nvSpPr>
              <p:cNvPr id="110" name="Freihandform: Form 199">
                <a:extLst>
                  <a:ext uri="{FF2B5EF4-FFF2-40B4-BE49-F238E27FC236}">
                    <a16:creationId xmlns:a16="http://schemas.microsoft.com/office/drawing/2014/main" id="{ECFBD340-CAD1-4947-8E06-C552A4B38ABB}"/>
                  </a:ext>
                </a:extLst>
              </p:cNvPr>
              <p:cNvSpPr/>
              <p:nvPr/>
            </p:nvSpPr>
            <p:spPr>
              <a:xfrm rot="-7526254">
                <a:off x="6235882" y="2437749"/>
                <a:ext cx="566514" cy="169501"/>
              </a:xfrm>
              <a:custGeom>
                <a:avLst/>
                <a:gdLst>
                  <a:gd name="connsiteX0" fmla="*/ 283711 w 566514"/>
                  <a:gd name="connsiteY0" fmla="*/ -171 h 169501"/>
                  <a:gd name="connsiteX1" fmla="*/ -166 w 566514"/>
                  <a:gd name="connsiteY1" fmla="*/ 112830 h 169501"/>
                  <a:gd name="connsiteX2" fmla="*/ 36505 w 566514"/>
                  <a:gd name="connsiteY2" fmla="*/ 169331 h 169501"/>
                  <a:gd name="connsiteX3" fmla="*/ 282018 w 566514"/>
                  <a:gd name="connsiteY3" fmla="*/ 69994 h 169501"/>
                  <a:gd name="connsiteX4" fmla="*/ 526382 w 566514"/>
                  <a:gd name="connsiteY4" fmla="*/ 167940 h 169501"/>
                  <a:gd name="connsiteX5" fmla="*/ 566349 w 566514"/>
                  <a:gd name="connsiteY5" fmla="*/ 111560 h 169501"/>
                  <a:gd name="connsiteX6" fmla="*/ 283711 w 566514"/>
                  <a:gd name="connsiteY6" fmla="*/ -171 h 16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514" h="169501">
                    <a:moveTo>
                      <a:pt x="283711" y="-171"/>
                    </a:moveTo>
                    <a:cubicBezTo>
                      <a:pt x="170925" y="-171"/>
                      <a:pt x="69614" y="43484"/>
                      <a:pt x="-166" y="112830"/>
                    </a:cubicBezTo>
                    <a:lnTo>
                      <a:pt x="36505" y="169331"/>
                    </a:lnTo>
                    <a:cubicBezTo>
                      <a:pt x="88069" y="109640"/>
                      <a:pt x="178729" y="69994"/>
                      <a:pt x="282018" y="69994"/>
                    </a:cubicBezTo>
                    <a:cubicBezTo>
                      <a:pt x="384512" y="69994"/>
                      <a:pt x="474604" y="109017"/>
                      <a:pt x="526382" y="167940"/>
                    </a:cubicBezTo>
                    <a:lnTo>
                      <a:pt x="566349" y="111560"/>
                    </a:lnTo>
                    <a:cubicBezTo>
                      <a:pt x="496591" y="42946"/>
                      <a:pt x="395819" y="-171"/>
                      <a:pt x="283711" y="-171"/>
                    </a:cubicBezTo>
                    <a:close/>
                  </a:path>
                </a:pathLst>
              </a:custGeom>
              <a:solidFill>
                <a:schemeClr val="tx1"/>
              </a:solidFill>
              <a:ln w="967" cap="flat">
                <a:noFill/>
                <a:prstDash val="solid"/>
                <a:miter/>
              </a:ln>
            </p:spPr>
            <p:txBody>
              <a:bodyPr rtlCol="0" anchor="ctr"/>
              <a:lstStyle/>
              <a:p>
                <a:endParaRPr lang="en-US" sz="2204">
                  <a:solidFill>
                    <a:srgbClr val="000000"/>
                  </a:solidFill>
                </a:endParaRPr>
              </a:p>
            </p:txBody>
          </p:sp>
        </p:grpSp>
      </p:grpSp>
      <p:cxnSp>
        <p:nvCxnSpPr>
          <p:cNvPr id="65" name="Straight Arrow Connector 62">
            <a:extLst>
              <a:ext uri="{FF2B5EF4-FFF2-40B4-BE49-F238E27FC236}">
                <a16:creationId xmlns:a16="http://schemas.microsoft.com/office/drawing/2014/main" id="{E03D7AFC-3B76-4B19-8A6A-F77574B0B627}"/>
              </a:ext>
            </a:extLst>
          </p:cNvPr>
          <p:cNvCxnSpPr>
            <a:cxnSpLocks/>
          </p:cNvCxnSpPr>
          <p:nvPr/>
        </p:nvCxnSpPr>
        <p:spPr>
          <a:xfrm flipH="1" flipV="1">
            <a:off x="3889131" y="3319384"/>
            <a:ext cx="1741740" cy="963457"/>
          </a:xfrm>
          <a:prstGeom prst="straightConnector1">
            <a:avLst/>
          </a:prstGeom>
          <a:ln w="28575">
            <a:solidFill>
              <a:srgbClr val="4472C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4">
            <a:extLst>
              <a:ext uri="{FF2B5EF4-FFF2-40B4-BE49-F238E27FC236}">
                <a16:creationId xmlns:a16="http://schemas.microsoft.com/office/drawing/2014/main" id="{272455E0-5385-42CF-8195-B4712AEF9D74}"/>
              </a:ext>
            </a:extLst>
          </p:cNvPr>
          <p:cNvCxnSpPr>
            <a:cxnSpLocks/>
          </p:cNvCxnSpPr>
          <p:nvPr/>
        </p:nvCxnSpPr>
        <p:spPr>
          <a:xfrm flipV="1">
            <a:off x="5706823" y="2179247"/>
            <a:ext cx="223783" cy="2121393"/>
          </a:xfrm>
          <a:prstGeom prst="straightConnector1">
            <a:avLst/>
          </a:prstGeom>
          <a:ln w="28575">
            <a:solidFill>
              <a:srgbClr val="4472C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5">
            <a:extLst>
              <a:ext uri="{FF2B5EF4-FFF2-40B4-BE49-F238E27FC236}">
                <a16:creationId xmlns:a16="http://schemas.microsoft.com/office/drawing/2014/main" id="{27882E01-E184-4CF7-B2C2-D96C68CF41B8}"/>
              </a:ext>
            </a:extLst>
          </p:cNvPr>
          <p:cNvCxnSpPr>
            <a:cxnSpLocks/>
          </p:cNvCxnSpPr>
          <p:nvPr/>
        </p:nvCxnSpPr>
        <p:spPr>
          <a:xfrm flipV="1">
            <a:off x="5810178" y="1984781"/>
            <a:ext cx="1734935" cy="2323706"/>
          </a:xfrm>
          <a:prstGeom prst="straightConnector1">
            <a:avLst/>
          </a:prstGeom>
          <a:ln w="28575">
            <a:solidFill>
              <a:srgbClr val="4472C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1D4E4D45-D01E-43B4-BCBD-1E3CAE1D2186}"/>
              </a:ext>
            </a:extLst>
          </p:cNvPr>
          <p:cNvCxnSpPr>
            <a:cxnSpLocks/>
          </p:cNvCxnSpPr>
          <p:nvPr/>
        </p:nvCxnSpPr>
        <p:spPr>
          <a:xfrm flipH="1">
            <a:off x="4052439" y="4464637"/>
            <a:ext cx="1532750" cy="69112"/>
          </a:xfrm>
          <a:prstGeom prst="straightConnector1">
            <a:avLst/>
          </a:prstGeom>
          <a:ln w="28575">
            <a:solidFill>
              <a:srgbClr val="4472C4"/>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94" name="Grafik 93">
            <a:extLst>
              <a:ext uri="{FF2B5EF4-FFF2-40B4-BE49-F238E27FC236}">
                <a16:creationId xmlns:a16="http://schemas.microsoft.com/office/drawing/2014/main" id="{5D5A496B-9496-44CE-A21B-389F46162E86}"/>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8098" b="92655" l="7395" r="92973">
                        <a14:foregroundMark x1="11994" y1="49765" x2="26233" y2="87853"/>
                        <a14:foregroundMark x1="26233" y1="87853" x2="58352" y2="61723"/>
                        <a14:foregroundMark x1="58352" y1="61723" x2="62068" y2="61441"/>
                        <a14:foregroundMark x1="27116" y1="48540" x2="52171" y2="18079"/>
                        <a14:foregroundMark x1="52171" y1="18079" x2="76453" y2="48446"/>
                        <a14:foregroundMark x1="76453" y1="48446" x2="43745" y2="61723"/>
                        <a14:foregroundMark x1="43745" y1="61723" x2="28109" y2="47552"/>
                        <a14:foregroundMark x1="40066" y1="19492" x2="50883" y2="18362"/>
                        <a14:foregroundMark x1="40397" y1="16573" x2="50883" y2="16855"/>
                        <a14:foregroundMark x1="54525" y1="8145" x2="60302" y2="21045"/>
                        <a14:foregroundMark x1="81788" y1="51177" x2="81898" y2="52166"/>
                        <a14:foregroundMark x1="79801" y1="53861" x2="86166" y2="82580"/>
                        <a14:foregroundMark x1="87380" y1="82863" x2="90986" y2="57768"/>
                        <a14:foregroundMark x1="92642" y1="61017" x2="92973" y2="66761"/>
                        <a14:foregroundMark x1="28330" y1="92702" x2="42347" y2="92561"/>
                        <a14:foregroundMark x1="7395" y1="63512" x2="8057" y2="72505"/>
                        <a14:backgroundMark x1="2244" y1="48682" x2="33775" y2="8380"/>
                        <a14:backgroundMark x1="33775" y1="8380" x2="662" y2="1977"/>
                        <a14:backgroundMark x1="662" y1="1977" x2="2502" y2="47881"/>
                        <a14:backgroundMark x1="2502" y1="47881" x2="15195" y2="27213"/>
                      </a14:backgroundRemoval>
                    </a14:imgEffect>
                  </a14:imgLayer>
                </a14:imgProps>
              </a:ext>
              <a:ext uri="{28A0092B-C50C-407E-A947-70E740481C1C}">
                <a14:useLocalDpi xmlns:a14="http://schemas.microsoft.com/office/drawing/2010/main" val="0"/>
              </a:ext>
            </a:extLst>
          </a:blip>
          <a:stretch>
            <a:fillRect/>
          </a:stretch>
        </p:blipFill>
        <p:spPr>
          <a:xfrm>
            <a:off x="5366680" y="4210452"/>
            <a:ext cx="751482" cy="587251"/>
          </a:xfrm>
          <a:prstGeom prst="rect">
            <a:avLst/>
          </a:prstGeom>
        </p:spPr>
      </p:pic>
      <p:sp>
        <p:nvSpPr>
          <p:cNvPr id="96" name="TextBox 4">
            <a:extLst>
              <a:ext uri="{FF2B5EF4-FFF2-40B4-BE49-F238E27FC236}">
                <a16:creationId xmlns:a16="http://schemas.microsoft.com/office/drawing/2014/main" id="{5829F2BE-F87E-4E82-8768-A76037D0AF84}"/>
              </a:ext>
            </a:extLst>
          </p:cNvPr>
          <p:cNvSpPr txBox="1"/>
          <p:nvPr/>
        </p:nvSpPr>
        <p:spPr>
          <a:xfrm>
            <a:off x="7318561" y="1366482"/>
            <a:ext cx="1150325"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a:cs typeface="Arial"/>
              </a:rPr>
              <a:t>SDR mockup</a:t>
            </a:r>
            <a:endParaRPr lang="en-US" b="1"/>
          </a:p>
        </p:txBody>
      </p:sp>
      <p:sp>
        <p:nvSpPr>
          <p:cNvPr id="97" name="TextBox 6">
            <a:extLst>
              <a:ext uri="{FF2B5EF4-FFF2-40B4-BE49-F238E27FC236}">
                <a16:creationId xmlns:a16="http://schemas.microsoft.com/office/drawing/2014/main" id="{1D518802-8292-4801-B1FF-CEDD616C13EB}"/>
              </a:ext>
            </a:extLst>
          </p:cNvPr>
          <p:cNvSpPr txBox="1"/>
          <p:nvPr/>
        </p:nvSpPr>
        <p:spPr>
          <a:xfrm>
            <a:off x="2930442" y="3411756"/>
            <a:ext cx="1228508"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600" b="1">
                <a:solidFill>
                  <a:schemeClr val="bg1"/>
                </a:solidFill>
              </a:rPr>
              <a:t>Flying </a:t>
            </a:r>
            <a:br>
              <a:rPr lang="en-US" sz="1600" b="1">
                <a:solidFill>
                  <a:schemeClr val="bg1"/>
                </a:solidFill>
              </a:rPr>
            </a:br>
            <a:r>
              <a:rPr lang="en-US" sz="1600" b="1">
                <a:solidFill>
                  <a:schemeClr val="bg1"/>
                </a:solidFill>
              </a:rPr>
              <a:t>base station</a:t>
            </a:r>
            <a:endParaRPr lang="en-US" sz="1600" b="1">
              <a:solidFill>
                <a:schemeClr val="bg1"/>
              </a:solidFill>
              <a:cs typeface="Arial"/>
            </a:endParaRPr>
          </a:p>
        </p:txBody>
      </p:sp>
      <p:sp>
        <p:nvSpPr>
          <p:cNvPr id="98" name="TextBox 7">
            <a:extLst>
              <a:ext uri="{FF2B5EF4-FFF2-40B4-BE49-F238E27FC236}">
                <a16:creationId xmlns:a16="http://schemas.microsoft.com/office/drawing/2014/main" id="{E4ADD9C6-DB88-4035-9062-0AE6C6ADF80E}"/>
              </a:ext>
            </a:extLst>
          </p:cNvPr>
          <p:cNvSpPr txBox="1"/>
          <p:nvPr/>
        </p:nvSpPr>
        <p:spPr>
          <a:xfrm>
            <a:off x="2861562" y="4733406"/>
            <a:ext cx="1030924" cy="492443"/>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a:r>
              <a:rPr lang="en-US" sz="1600" b="1">
                <a:solidFill>
                  <a:schemeClr val="bg1"/>
                </a:solidFill>
              </a:rPr>
              <a:t>Terrestrial </a:t>
            </a:r>
            <a:br>
              <a:rPr lang="en-US" sz="1600" b="1">
                <a:solidFill>
                  <a:schemeClr val="bg1"/>
                </a:solidFill>
              </a:rPr>
            </a:br>
            <a:r>
              <a:rPr lang="en-US" sz="1600" b="1">
                <a:solidFill>
                  <a:schemeClr val="bg1"/>
                </a:solidFill>
              </a:rPr>
              <a:t>base station</a:t>
            </a:r>
            <a:endParaRPr lang="en-US" b="1">
              <a:solidFill>
                <a:schemeClr val="bg1"/>
              </a:solidFill>
            </a:endParaRPr>
          </a:p>
        </p:txBody>
      </p:sp>
      <p:sp>
        <p:nvSpPr>
          <p:cNvPr id="100" name="TextBox 9">
            <a:extLst>
              <a:ext uri="{FF2B5EF4-FFF2-40B4-BE49-F238E27FC236}">
                <a16:creationId xmlns:a16="http://schemas.microsoft.com/office/drawing/2014/main" id="{E80C310C-1110-433A-92C4-A70C08B75AC4}"/>
              </a:ext>
            </a:extLst>
          </p:cNvPr>
          <p:cNvSpPr txBox="1"/>
          <p:nvPr/>
        </p:nvSpPr>
        <p:spPr>
          <a:xfrm>
            <a:off x="6222841" y="1505253"/>
            <a:ext cx="671146" cy="492443"/>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sz="1600" b="1"/>
              <a:t>LEO </a:t>
            </a:r>
            <a:br>
              <a:rPr lang="en-US" sz="1600" b="1"/>
            </a:br>
            <a:r>
              <a:rPr lang="en-US" sz="1600" b="1"/>
              <a:t>satellite</a:t>
            </a:r>
            <a:endParaRPr lang="en-US" b="1"/>
          </a:p>
        </p:txBody>
      </p:sp>
      <p:sp>
        <p:nvSpPr>
          <p:cNvPr id="101" name="TextBox 10">
            <a:extLst>
              <a:ext uri="{FF2B5EF4-FFF2-40B4-BE49-F238E27FC236}">
                <a16:creationId xmlns:a16="http://schemas.microsoft.com/office/drawing/2014/main" id="{92A738FC-13DB-490A-81E7-99CB30BF3C78}"/>
              </a:ext>
            </a:extLst>
          </p:cNvPr>
          <p:cNvSpPr txBox="1"/>
          <p:nvPr/>
        </p:nvSpPr>
        <p:spPr>
          <a:xfrm>
            <a:off x="5057652" y="4746539"/>
            <a:ext cx="1388842" cy="338554"/>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r>
              <a:rPr lang="en-US" sz="1600" b="1">
                <a:solidFill>
                  <a:schemeClr val="bg1"/>
                </a:solidFill>
              </a:rPr>
              <a:t>Rover with UE</a:t>
            </a:r>
            <a:endParaRPr lang="en-US" b="1">
              <a:solidFill>
                <a:schemeClr val="bg1"/>
              </a:solidFill>
              <a:cs typeface="Arial"/>
            </a:endParaRPr>
          </a:p>
        </p:txBody>
      </p:sp>
      <p:pic>
        <p:nvPicPr>
          <p:cNvPr id="102" name="Grafik 101" descr="Ein Bild, das Transport, Flugzeug, Hubschrauber, Drohne enthält.&#10;&#10;Automatisch generierte Beschreibung">
            <a:extLst>
              <a:ext uri="{FF2B5EF4-FFF2-40B4-BE49-F238E27FC236}">
                <a16:creationId xmlns:a16="http://schemas.microsoft.com/office/drawing/2014/main" id="{624FC1FE-5C08-4F6E-B04D-C0C11314E7E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769111" y="2467860"/>
            <a:ext cx="2128214" cy="1214369"/>
          </a:xfrm>
          <a:prstGeom prst="rect">
            <a:avLst/>
          </a:prstGeom>
        </p:spPr>
      </p:pic>
      <p:pic>
        <p:nvPicPr>
          <p:cNvPr id="103" name="Picture 1" descr="A white rectangular object with a black background&#10;&#10;Description automatically generated">
            <a:extLst>
              <a:ext uri="{FF2B5EF4-FFF2-40B4-BE49-F238E27FC236}">
                <a16:creationId xmlns:a16="http://schemas.microsoft.com/office/drawing/2014/main" id="{B9A6215A-B854-4458-9F92-56D32D5EA59B}"/>
              </a:ext>
            </a:extLst>
          </p:cNvPr>
          <p:cNvPicPr>
            <a:picLocks noChangeAspect="1"/>
          </p:cNvPicPr>
          <p:nvPr/>
        </p:nvPicPr>
        <p:blipFill>
          <a:blip r:embed="rId9"/>
          <a:stretch>
            <a:fillRect/>
          </a:stretch>
        </p:blipFill>
        <p:spPr>
          <a:xfrm>
            <a:off x="3589540" y="4313998"/>
            <a:ext cx="727229" cy="1415724"/>
          </a:xfrm>
          <a:prstGeom prst="rect">
            <a:avLst/>
          </a:prstGeom>
        </p:spPr>
      </p:pic>
      <p:sp>
        <p:nvSpPr>
          <p:cNvPr id="14" name="Rechteck: abgerundete Ecken 13">
            <a:extLst>
              <a:ext uri="{FF2B5EF4-FFF2-40B4-BE49-F238E27FC236}">
                <a16:creationId xmlns:a16="http://schemas.microsoft.com/office/drawing/2014/main" id="{7104968A-DC0A-4B32-AAAF-DFB25375AA36}"/>
              </a:ext>
            </a:extLst>
          </p:cNvPr>
          <p:cNvSpPr/>
          <p:nvPr/>
        </p:nvSpPr>
        <p:spPr>
          <a:xfrm>
            <a:off x="8354233" y="1574501"/>
            <a:ext cx="2342098" cy="9562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b="1"/>
              <a:t>SPACE</a:t>
            </a:r>
            <a:br>
              <a:rPr lang="en-US" sz="1600"/>
            </a:br>
            <a:r>
              <a:rPr lang="en-US" sz="1600"/>
              <a:t>Connectivity provided by </a:t>
            </a:r>
            <a:br>
              <a:rPr lang="en-US" sz="1600"/>
            </a:br>
            <a:r>
              <a:rPr lang="en-US" sz="1600"/>
              <a:t>in-orbit LEO satellites</a:t>
            </a:r>
          </a:p>
          <a:p>
            <a:pPr algn="ctr"/>
            <a:r>
              <a:rPr lang="en-US" sz="1600"/>
              <a:t>&amp; space-ready hardware</a:t>
            </a:r>
          </a:p>
        </p:txBody>
      </p:sp>
      <p:sp>
        <p:nvSpPr>
          <p:cNvPr id="123" name="Rechteck: abgerundete Ecken 122">
            <a:extLst>
              <a:ext uri="{FF2B5EF4-FFF2-40B4-BE49-F238E27FC236}">
                <a16:creationId xmlns:a16="http://schemas.microsoft.com/office/drawing/2014/main" id="{4F1F5C1B-7D34-49B2-B7C5-2FEC4DC48252}"/>
              </a:ext>
            </a:extLst>
          </p:cNvPr>
          <p:cNvSpPr/>
          <p:nvPr/>
        </p:nvSpPr>
        <p:spPr>
          <a:xfrm>
            <a:off x="724870" y="2791047"/>
            <a:ext cx="2184483" cy="71117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b="1"/>
              <a:t>AIR</a:t>
            </a:r>
            <a:br>
              <a:rPr lang="en-US" sz="1600"/>
            </a:br>
            <a:r>
              <a:rPr lang="en-US" sz="1600"/>
              <a:t>Drone provides connectivity on-demand</a:t>
            </a:r>
          </a:p>
        </p:txBody>
      </p:sp>
      <p:sp>
        <p:nvSpPr>
          <p:cNvPr id="124" name="Rechteck: abgerundete Ecken 123">
            <a:extLst>
              <a:ext uri="{FF2B5EF4-FFF2-40B4-BE49-F238E27FC236}">
                <a16:creationId xmlns:a16="http://schemas.microsoft.com/office/drawing/2014/main" id="{B83E3A8F-B2AF-430A-9C0A-A57B0FC99389}"/>
              </a:ext>
            </a:extLst>
          </p:cNvPr>
          <p:cNvSpPr/>
          <p:nvPr/>
        </p:nvSpPr>
        <p:spPr>
          <a:xfrm>
            <a:off x="8329453" y="4856272"/>
            <a:ext cx="2196839" cy="75265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b="1"/>
              <a:t>GROUND</a:t>
            </a:r>
            <a:br>
              <a:rPr lang="en-US" sz="1600"/>
            </a:br>
            <a:r>
              <a:rPr lang="en-US" sz="1600"/>
              <a:t>Public &amp; Campus network integration</a:t>
            </a:r>
          </a:p>
        </p:txBody>
      </p:sp>
      <p:sp>
        <p:nvSpPr>
          <p:cNvPr id="127" name="TextBox 7">
            <a:extLst>
              <a:ext uri="{FF2B5EF4-FFF2-40B4-BE49-F238E27FC236}">
                <a16:creationId xmlns:a16="http://schemas.microsoft.com/office/drawing/2014/main" id="{0D4D30B0-91F1-477C-B9FE-A7A26E76B1E5}"/>
              </a:ext>
            </a:extLst>
          </p:cNvPr>
          <p:cNvSpPr txBox="1"/>
          <p:nvPr/>
        </p:nvSpPr>
        <p:spPr>
          <a:xfrm>
            <a:off x="4625573" y="2674482"/>
            <a:ext cx="1167435" cy="553998"/>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a:r>
              <a:rPr lang="en-US" b="1">
                <a:solidFill>
                  <a:schemeClr val="accent1"/>
                </a:solidFill>
              </a:rPr>
              <a:t>Multi-</a:t>
            </a:r>
            <a:br>
              <a:rPr lang="en-US" b="1">
                <a:solidFill>
                  <a:schemeClr val="accent1"/>
                </a:solidFill>
              </a:rPr>
            </a:br>
            <a:r>
              <a:rPr lang="en-US" b="1">
                <a:solidFill>
                  <a:schemeClr val="accent1"/>
                </a:solidFill>
              </a:rPr>
              <a:t>connectivity</a:t>
            </a:r>
          </a:p>
        </p:txBody>
      </p:sp>
      <p:sp>
        <p:nvSpPr>
          <p:cNvPr id="128" name="TextBox 7">
            <a:extLst>
              <a:ext uri="{FF2B5EF4-FFF2-40B4-BE49-F238E27FC236}">
                <a16:creationId xmlns:a16="http://schemas.microsoft.com/office/drawing/2014/main" id="{13191AE0-5D1C-4E10-B09A-EC10A4260DC3}"/>
              </a:ext>
            </a:extLst>
          </p:cNvPr>
          <p:cNvSpPr txBox="1"/>
          <p:nvPr/>
        </p:nvSpPr>
        <p:spPr>
          <a:xfrm>
            <a:off x="6257187" y="5195273"/>
            <a:ext cx="1264962" cy="553998"/>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a:r>
              <a:rPr lang="en-US" b="1">
                <a:solidFill>
                  <a:schemeClr val="accent1"/>
                </a:solidFill>
              </a:rPr>
              <a:t>Resource</a:t>
            </a:r>
            <a:br>
              <a:rPr lang="en-US" b="1">
                <a:solidFill>
                  <a:schemeClr val="accent1"/>
                </a:solidFill>
              </a:rPr>
            </a:br>
            <a:r>
              <a:rPr lang="en-US" b="1">
                <a:solidFill>
                  <a:schemeClr val="accent1"/>
                </a:solidFill>
              </a:rPr>
              <a:t>management​</a:t>
            </a:r>
          </a:p>
        </p:txBody>
      </p:sp>
      <p:sp>
        <p:nvSpPr>
          <p:cNvPr id="129" name="TextBox 7">
            <a:extLst>
              <a:ext uri="{FF2B5EF4-FFF2-40B4-BE49-F238E27FC236}">
                <a16:creationId xmlns:a16="http://schemas.microsoft.com/office/drawing/2014/main" id="{F617311F-24B6-4AF6-9F2F-0D71D0D1FEAA}"/>
              </a:ext>
            </a:extLst>
          </p:cNvPr>
          <p:cNvSpPr txBox="1"/>
          <p:nvPr/>
        </p:nvSpPr>
        <p:spPr>
          <a:xfrm>
            <a:off x="4933590" y="2283987"/>
            <a:ext cx="933332" cy="276999"/>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b="1">
                <a:solidFill>
                  <a:schemeClr val="accent1"/>
                </a:solidFill>
              </a:rPr>
              <a:t>Handover​</a:t>
            </a:r>
          </a:p>
        </p:txBody>
      </p:sp>
      <p:sp>
        <p:nvSpPr>
          <p:cNvPr id="130" name="TextBox 7">
            <a:extLst>
              <a:ext uri="{FF2B5EF4-FFF2-40B4-BE49-F238E27FC236}">
                <a16:creationId xmlns:a16="http://schemas.microsoft.com/office/drawing/2014/main" id="{283F29FD-DFD0-4859-968C-0D821304A356}"/>
              </a:ext>
            </a:extLst>
          </p:cNvPr>
          <p:cNvSpPr txBox="1"/>
          <p:nvPr/>
        </p:nvSpPr>
        <p:spPr>
          <a:xfrm>
            <a:off x="8154221" y="3733473"/>
            <a:ext cx="2216056" cy="553998"/>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a:r>
              <a:rPr lang="en-US" b="1">
                <a:solidFill>
                  <a:schemeClr val="accent1"/>
                </a:solidFill>
              </a:rPr>
              <a:t>Remote monitoring of </a:t>
            </a:r>
            <a:br>
              <a:rPr lang="en-US" b="1">
                <a:solidFill>
                  <a:schemeClr val="accent1"/>
                </a:solidFill>
              </a:rPr>
            </a:br>
            <a:r>
              <a:rPr lang="en-US" b="1">
                <a:solidFill>
                  <a:schemeClr val="accent1"/>
                </a:solidFill>
              </a:rPr>
              <a:t>IoT devices via Satellite​</a:t>
            </a:r>
          </a:p>
        </p:txBody>
      </p:sp>
      <p:sp>
        <p:nvSpPr>
          <p:cNvPr id="131" name="TextBox 7">
            <a:extLst>
              <a:ext uri="{FF2B5EF4-FFF2-40B4-BE49-F238E27FC236}">
                <a16:creationId xmlns:a16="http://schemas.microsoft.com/office/drawing/2014/main" id="{841F6E44-759A-438E-B6BD-CAE0C234A435}"/>
              </a:ext>
            </a:extLst>
          </p:cNvPr>
          <p:cNvSpPr txBox="1"/>
          <p:nvPr/>
        </p:nvSpPr>
        <p:spPr>
          <a:xfrm>
            <a:off x="910964" y="4905344"/>
            <a:ext cx="1827552" cy="553998"/>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a:r>
              <a:rPr lang="en-US" b="1">
                <a:solidFill>
                  <a:schemeClr val="accent1"/>
                </a:solidFill>
              </a:rPr>
              <a:t>QoS measurement </a:t>
            </a:r>
            <a:br>
              <a:rPr lang="en-US" b="1">
                <a:solidFill>
                  <a:schemeClr val="accent1"/>
                </a:solidFill>
              </a:rPr>
            </a:br>
            <a:r>
              <a:rPr lang="en-US" b="1">
                <a:solidFill>
                  <a:schemeClr val="accent1"/>
                </a:solidFill>
              </a:rPr>
              <a:t>&amp; visualization ​</a:t>
            </a:r>
          </a:p>
        </p:txBody>
      </p:sp>
      <p:sp>
        <p:nvSpPr>
          <p:cNvPr id="132" name="TextBox 7">
            <a:extLst>
              <a:ext uri="{FF2B5EF4-FFF2-40B4-BE49-F238E27FC236}">
                <a16:creationId xmlns:a16="http://schemas.microsoft.com/office/drawing/2014/main" id="{5A144F9C-C009-46CB-BF49-D805EA150185}"/>
              </a:ext>
            </a:extLst>
          </p:cNvPr>
          <p:cNvSpPr txBox="1"/>
          <p:nvPr/>
        </p:nvSpPr>
        <p:spPr>
          <a:xfrm>
            <a:off x="811915" y="1685183"/>
            <a:ext cx="2097434" cy="276999"/>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b="1">
                <a:solidFill>
                  <a:schemeClr val="accent1"/>
                </a:solidFill>
              </a:rPr>
              <a:t>Security toolkit for 6G</a:t>
            </a:r>
          </a:p>
        </p:txBody>
      </p:sp>
      <p:pic>
        <p:nvPicPr>
          <p:cNvPr id="50" name="Grafik 49">
            <a:extLst>
              <a:ext uri="{FF2B5EF4-FFF2-40B4-BE49-F238E27FC236}">
                <a16:creationId xmlns:a16="http://schemas.microsoft.com/office/drawing/2014/main" id="{9DF35788-55C7-4AEE-9962-6172F71D2917}"/>
              </a:ext>
            </a:extLst>
          </p:cNvPr>
          <p:cNvPicPr>
            <a:picLocks noChangeAspect="1"/>
          </p:cNvPicPr>
          <p:nvPr/>
        </p:nvPicPr>
        <p:blipFill rotWithShape="1">
          <a:blip r:embed="rId10">
            <a:extLst>
              <a:ext uri="{28A0092B-C50C-407E-A947-70E740481C1C}">
                <a14:useLocalDpi xmlns:a14="http://schemas.microsoft.com/office/drawing/2010/main" val="0"/>
              </a:ext>
            </a:extLst>
          </a:blip>
          <a:srcRect l="6358" t="5072" r="6225" b="5907"/>
          <a:stretch/>
        </p:blipFill>
        <p:spPr>
          <a:xfrm>
            <a:off x="8784806" y="73567"/>
            <a:ext cx="825118" cy="764633"/>
          </a:xfrm>
          <a:prstGeom prst="rect">
            <a:avLst/>
          </a:prstGeom>
        </p:spPr>
      </p:pic>
    </p:spTree>
    <p:extLst>
      <p:ext uri="{BB962C8B-B14F-4D97-AF65-F5344CB8AC3E}">
        <p14:creationId xmlns:p14="http://schemas.microsoft.com/office/powerpoint/2010/main" val="4023978940"/>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F80290-CFCA-43EB-AB1D-738E632A410C}"/>
              </a:ext>
            </a:extLst>
          </p:cNvPr>
          <p:cNvSpPr>
            <a:spLocks noGrp="1"/>
          </p:cNvSpPr>
          <p:nvPr>
            <p:ph type="title"/>
          </p:nvPr>
        </p:nvSpPr>
        <p:spPr/>
        <p:txBody>
          <a:bodyPr/>
          <a:lstStyle/>
          <a:p>
            <a:r>
              <a:rPr lang="en-US"/>
              <a:t>Extended On-Demand Coverage by Drone</a:t>
            </a:r>
          </a:p>
        </p:txBody>
      </p:sp>
      <p:sp>
        <p:nvSpPr>
          <p:cNvPr id="3" name="Inhaltsplatzhalter 2">
            <a:extLst>
              <a:ext uri="{FF2B5EF4-FFF2-40B4-BE49-F238E27FC236}">
                <a16:creationId xmlns:a16="http://schemas.microsoft.com/office/drawing/2014/main" id="{AC599F71-A8FD-409D-BA5F-8847061908C1}"/>
              </a:ext>
            </a:extLst>
          </p:cNvPr>
          <p:cNvSpPr>
            <a:spLocks noGrp="1"/>
          </p:cNvSpPr>
          <p:nvPr>
            <p:ph idx="1"/>
          </p:nvPr>
        </p:nvSpPr>
        <p:spPr/>
        <p:txBody>
          <a:bodyPr lIns="0" tIns="0" rIns="0" bIns="0" anchor="t">
            <a:noAutofit/>
          </a:bodyPr>
          <a:lstStyle/>
          <a:p>
            <a:pPr marL="251460" indent="-251460"/>
            <a:r>
              <a:rPr lang="en-US" sz="1600">
                <a:ea typeface="Microsoft YaHei"/>
                <a:cs typeface="Arial"/>
              </a:rPr>
              <a:t>Flying BS helps restoring the signal quality, so coverage </a:t>
            </a:r>
          </a:p>
          <a:p>
            <a:pPr marL="251460" indent="-251460"/>
            <a:r>
              <a:rPr lang="en-US" sz="1600">
                <a:ea typeface="Microsoft YaHei"/>
                <a:cs typeface="Arial"/>
              </a:rPr>
              <a:t>UE uses the same SIM card, as a common core is used</a:t>
            </a:r>
          </a:p>
          <a:p>
            <a:pPr marL="251460" indent="-251460"/>
            <a:endParaRPr lang="en-US" sz="1600">
              <a:ea typeface="Microsoft YaHei"/>
              <a:cs typeface="Arial"/>
            </a:endParaRPr>
          </a:p>
          <a:p>
            <a:pPr marL="251460" indent="-251460"/>
            <a:endParaRPr lang="en-US" sz="1600">
              <a:ea typeface="Microsoft YaHei"/>
              <a:cs typeface="Arial"/>
            </a:endParaRPr>
          </a:p>
          <a:p>
            <a:pPr marL="251460" indent="-251460"/>
            <a:endParaRPr lang="en-US">
              <a:ea typeface="Microsoft YaHei"/>
              <a:cs typeface="Arial"/>
            </a:endParaRPr>
          </a:p>
        </p:txBody>
      </p:sp>
      <p:sp>
        <p:nvSpPr>
          <p:cNvPr id="4" name="Rechteck 3">
            <a:extLst>
              <a:ext uri="{FF2B5EF4-FFF2-40B4-BE49-F238E27FC236}">
                <a16:creationId xmlns:a16="http://schemas.microsoft.com/office/drawing/2014/main" id="{9428B25E-7E79-4D6D-9E3B-09EF8BD6B9F2}"/>
              </a:ext>
            </a:extLst>
          </p:cNvPr>
          <p:cNvSpPr/>
          <p:nvPr/>
        </p:nvSpPr>
        <p:spPr>
          <a:xfrm>
            <a:off x="8076574" y="4461549"/>
            <a:ext cx="2474259" cy="99436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9">
            <a:extLst>
              <a:ext uri="{FF2B5EF4-FFF2-40B4-BE49-F238E27FC236}">
                <a16:creationId xmlns:a16="http://schemas.microsoft.com/office/drawing/2014/main" id="{52FF4736-9B0D-408E-AAB0-26D51EA57E05}"/>
              </a:ext>
            </a:extLst>
          </p:cNvPr>
          <p:cNvSpPr/>
          <p:nvPr/>
        </p:nvSpPr>
        <p:spPr>
          <a:xfrm>
            <a:off x="8476384" y="4556228"/>
            <a:ext cx="117481" cy="141399"/>
          </a:xfrm>
          <a:prstGeom prst="ellipse">
            <a:avLst/>
          </a:prstGeom>
          <a:solidFill>
            <a:srgbClr val="FFFF00"/>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21">
            <a:extLst>
              <a:ext uri="{FF2B5EF4-FFF2-40B4-BE49-F238E27FC236}">
                <a16:creationId xmlns:a16="http://schemas.microsoft.com/office/drawing/2014/main" id="{743B1652-2310-4DB3-A000-E721FA160CA8}"/>
              </a:ext>
            </a:extLst>
          </p:cNvPr>
          <p:cNvSpPr txBox="1"/>
          <p:nvPr/>
        </p:nvSpPr>
        <p:spPr>
          <a:xfrm>
            <a:off x="8890695" y="4470295"/>
            <a:ext cx="159539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ea typeface="Calibri"/>
                <a:cs typeface="Calibri"/>
              </a:rPr>
              <a:t>Ground BS</a:t>
            </a:r>
            <a:endParaRPr lang="en-US" sz="1400"/>
          </a:p>
        </p:txBody>
      </p:sp>
      <p:cxnSp>
        <p:nvCxnSpPr>
          <p:cNvPr id="15" name="Straight Arrow Connector 25">
            <a:extLst>
              <a:ext uri="{FF2B5EF4-FFF2-40B4-BE49-F238E27FC236}">
                <a16:creationId xmlns:a16="http://schemas.microsoft.com/office/drawing/2014/main" id="{3AE381AC-7FBC-45E1-8443-DDCDE522A6D3}"/>
              </a:ext>
            </a:extLst>
          </p:cNvPr>
          <p:cNvCxnSpPr/>
          <p:nvPr/>
        </p:nvCxnSpPr>
        <p:spPr>
          <a:xfrm>
            <a:off x="8470107" y="4923439"/>
            <a:ext cx="330741" cy="5802"/>
          </a:xfrm>
          <a:prstGeom prst="straightConnector1">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cxnSp>
      <p:sp>
        <p:nvSpPr>
          <p:cNvPr id="16" name="TextBox 26">
            <a:extLst>
              <a:ext uri="{FF2B5EF4-FFF2-40B4-BE49-F238E27FC236}">
                <a16:creationId xmlns:a16="http://schemas.microsoft.com/office/drawing/2014/main" id="{28AC140A-4FC6-49B8-A60A-0891D2CE51F7}"/>
              </a:ext>
            </a:extLst>
          </p:cNvPr>
          <p:cNvSpPr txBox="1"/>
          <p:nvPr/>
        </p:nvSpPr>
        <p:spPr>
          <a:xfrm>
            <a:off x="8890695" y="4801046"/>
            <a:ext cx="1293013"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ea typeface="Calibri"/>
                <a:cs typeface="Calibri"/>
              </a:rPr>
              <a:t>Rover path</a:t>
            </a:r>
            <a:endParaRPr lang="en-US"/>
          </a:p>
        </p:txBody>
      </p:sp>
      <p:sp>
        <p:nvSpPr>
          <p:cNvPr id="17" name="Oval 4">
            <a:extLst>
              <a:ext uri="{FF2B5EF4-FFF2-40B4-BE49-F238E27FC236}">
                <a16:creationId xmlns:a16="http://schemas.microsoft.com/office/drawing/2014/main" id="{EE613CD6-6BC1-4A01-9237-736D7ED6A7E2}"/>
              </a:ext>
            </a:extLst>
          </p:cNvPr>
          <p:cNvSpPr/>
          <p:nvPr/>
        </p:nvSpPr>
        <p:spPr>
          <a:xfrm>
            <a:off x="8599309" y="5187050"/>
            <a:ext cx="117481" cy="141399"/>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6">
            <a:extLst>
              <a:ext uri="{FF2B5EF4-FFF2-40B4-BE49-F238E27FC236}">
                <a16:creationId xmlns:a16="http://schemas.microsoft.com/office/drawing/2014/main" id="{40CC9DF5-2138-461D-9CB4-C6DE39333350}"/>
              </a:ext>
            </a:extLst>
          </p:cNvPr>
          <p:cNvSpPr txBox="1"/>
          <p:nvPr/>
        </p:nvSpPr>
        <p:spPr>
          <a:xfrm>
            <a:off x="8890695" y="5101117"/>
            <a:ext cx="159539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ea typeface="Calibri"/>
                <a:cs typeface="Calibri"/>
              </a:rPr>
              <a:t>Drone BS</a:t>
            </a:r>
            <a:endParaRPr lang="en-US" sz="1400"/>
          </a:p>
        </p:txBody>
      </p:sp>
      <p:grpSp>
        <p:nvGrpSpPr>
          <p:cNvPr id="11" name="Gruppieren 10">
            <a:extLst>
              <a:ext uri="{FF2B5EF4-FFF2-40B4-BE49-F238E27FC236}">
                <a16:creationId xmlns:a16="http://schemas.microsoft.com/office/drawing/2014/main" id="{DA3E69EB-B895-4153-82BD-FB8378A5C6A7}"/>
              </a:ext>
            </a:extLst>
          </p:cNvPr>
          <p:cNvGrpSpPr/>
          <p:nvPr/>
        </p:nvGrpSpPr>
        <p:grpSpPr>
          <a:xfrm>
            <a:off x="8470280" y="1250832"/>
            <a:ext cx="2420756" cy="2888978"/>
            <a:chOff x="8470280" y="1274700"/>
            <a:chExt cx="2420756" cy="2888978"/>
          </a:xfrm>
        </p:grpSpPr>
        <p:grpSp>
          <p:nvGrpSpPr>
            <p:cNvPr id="8" name="Gruppieren 7">
              <a:extLst>
                <a:ext uri="{FF2B5EF4-FFF2-40B4-BE49-F238E27FC236}">
                  <a16:creationId xmlns:a16="http://schemas.microsoft.com/office/drawing/2014/main" id="{D723CC12-04BB-43E4-8D72-95133FBAA504}"/>
                </a:ext>
              </a:extLst>
            </p:cNvPr>
            <p:cNvGrpSpPr/>
            <p:nvPr/>
          </p:nvGrpSpPr>
          <p:grpSpPr>
            <a:xfrm>
              <a:off x="8470280" y="1274700"/>
              <a:ext cx="2420756" cy="2888978"/>
              <a:chOff x="8470280" y="1274700"/>
              <a:chExt cx="2420756" cy="2888978"/>
            </a:xfrm>
          </p:grpSpPr>
          <p:pic>
            <p:nvPicPr>
              <p:cNvPr id="6" name="Picture 8">
                <a:extLst>
                  <a:ext uri="{FF2B5EF4-FFF2-40B4-BE49-F238E27FC236}">
                    <a16:creationId xmlns:a16="http://schemas.microsoft.com/office/drawing/2014/main" id="{5CF42BF4-FA91-4B28-8571-42C643D57FA7}"/>
                  </a:ext>
                </a:extLst>
              </p:cNvPr>
              <p:cNvPicPr>
                <a:picLocks noChangeAspect="1"/>
              </p:cNvPicPr>
              <p:nvPr/>
            </p:nvPicPr>
            <p:blipFill>
              <a:blip r:embed="rId3"/>
              <a:stretch>
                <a:fillRect/>
              </a:stretch>
            </p:blipFill>
            <p:spPr>
              <a:xfrm>
                <a:off x="8470280" y="1274700"/>
                <a:ext cx="2420756" cy="2888978"/>
              </a:xfrm>
              <a:prstGeom prst="rect">
                <a:avLst/>
              </a:prstGeom>
            </p:spPr>
          </p:pic>
          <p:sp>
            <p:nvSpPr>
              <p:cNvPr id="10" name="Rectangle: Rounded Corners 15">
                <a:extLst>
                  <a:ext uri="{FF2B5EF4-FFF2-40B4-BE49-F238E27FC236}">
                    <a16:creationId xmlns:a16="http://schemas.microsoft.com/office/drawing/2014/main" id="{98B66DDC-A4B9-4AC9-A3A3-2D817E0A6674}"/>
                  </a:ext>
                </a:extLst>
              </p:cNvPr>
              <p:cNvSpPr/>
              <p:nvPr/>
            </p:nvSpPr>
            <p:spPr>
              <a:xfrm>
                <a:off x="8522230" y="1372512"/>
                <a:ext cx="411976" cy="19148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 name="Oval 10">
              <a:extLst>
                <a:ext uri="{FF2B5EF4-FFF2-40B4-BE49-F238E27FC236}">
                  <a16:creationId xmlns:a16="http://schemas.microsoft.com/office/drawing/2014/main" id="{50E92167-E58C-454D-93E8-2262DFFBE6C3}"/>
                </a:ext>
              </a:extLst>
            </p:cNvPr>
            <p:cNvSpPr/>
            <p:nvPr/>
          </p:nvSpPr>
          <p:spPr>
            <a:xfrm>
              <a:off x="9676647" y="3053696"/>
              <a:ext cx="77616" cy="130913"/>
            </a:xfrm>
            <a:prstGeom prst="ellipse">
              <a:avLst/>
            </a:pr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Pfeil: nach rechts 19">
            <a:extLst>
              <a:ext uri="{FF2B5EF4-FFF2-40B4-BE49-F238E27FC236}">
                <a16:creationId xmlns:a16="http://schemas.microsoft.com/office/drawing/2014/main" id="{66BDF3B3-176D-48EB-A05B-16F5CEF62B00}"/>
              </a:ext>
            </a:extLst>
          </p:cNvPr>
          <p:cNvSpPr/>
          <p:nvPr/>
        </p:nvSpPr>
        <p:spPr>
          <a:xfrm>
            <a:off x="490538" y="5342899"/>
            <a:ext cx="778629" cy="35534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feld 20">
            <a:extLst>
              <a:ext uri="{FF2B5EF4-FFF2-40B4-BE49-F238E27FC236}">
                <a16:creationId xmlns:a16="http://schemas.microsoft.com/office/drawing/2014/main" id="{2C73E16A-9B06-4BEB-9482-FD050559C8CB}"/>
              </a:ext>
            </a:extLst>
          </p:cNvPr>
          <p:cNvSpPr txBox="1"/>
          <p:nvPr/>
        </p:nvSpPr>
        <p:spPr>
          <a:xfrm>
            <a:off x="1269167" y="5317058"/>
            <a:ext cx="1138453" cy="369332"/>
          </a:xfrm>
          <a:prstGeom prst="rect">
            <a:avLst/>
          </a:prstGeom>
          <a:noFill/>
        </p:spPr>
        <p:txBody>
          <a:bodyPr wrap="none" rtlCol="0">
            <a:spAutoFit/>
          </a:bodyPr>
          <a:lstStyle/>
          <a:p>
            <a:r>
              <a:rPr lang="en-US"/>
              <a:t>See booth</a:t>
            </a:r>
          </a:p>
        </p:txBody>
      </p:sp>
      <p:pic>
        <p:nvPicPr>
          <p:cNvPr id="22" name="Grafik 21">
            <a:extLst>
              <a:ext uri="{FF2B5EF4-FFF2-40B4-BE49-F238E27FC236}">
                <a16:creationId xmlns:a16="http://schemas.microsoft.com/office/drawing/2014/main" id="{A597D161-E792-4859-A18E-9222F01D051E}"/>
              </a:ext>
            </a:extLst>
          </p:cNvPr>
          <p:cNvPicPr>
            <a:picLocks noChangeAspect="1"/>
          </p:cNvPicPr>
          <p:nvPr/>
        </p:nvPicPr>
        <p:blipFill rotWithShape="1">
          <a:blip r:embed="rId4">
            <a:extLst>
              <a:ext uri="{28A0092B-C50C-407E-A947-70E740481C1C}">
                <a14:useLocalDpi xmlns:a14="http://schemas.microsoft.com/office/drawing/2010/main" val="0"/>
              </a:ext>
            </a:extLst>
          </a:blip>
          <a:srcRect l="6358" t="5072" r="6225" b="5907"/>
          <a:stretch/>
        </p:blipFill>
        <p:spPr>
          <a:xfrm>
            <a:off x="8784806" y="73567"/>
            <a:ext cx="825118" cy="764633"/>
          </a:xfrm>
          <a:prstGeom prst="rect">
            <a:avLst/>
          </a:prstGeom>
        </p:spPr>
      </p:pic>
      <p:pic>
        <p:nvPicPr>
          <p:cNvPr id="23" name="Grafik 22">
            <a:extLst>
              <a:ext uri="{FF2B5EF4-FFF2-40B4-BE49-F238E27FC236}">
                <a16:creationId xmlns:a16="http://schemas.microsoft.com/office/drawing/2014/main" id="{D70F3544-F393-43D6-96B4-99BF55B1818B}"/>
              </a:ext>
            </a:extLst>
          </p:cNvPr>
          <p:cNvPicPr>
            <a:picLocks noChangeAspect="1"/>
          </p:cNvPicPr>
          <p:nvPr/>
        </p:nvPicPr>
        <p:blipFill rotWithShape="1">
          <a:blip r:embed="rId4">
            <a:extLst>
              <a:ext uri="{28A0092B-C50C-407E-A947-70E740481C1C}">
                <a14:useLocalDpi xmlns:a14="http://schemas.microsoft.com/office/drawing/2010/main" val="0"/>
              </a:ext>
            </a:extLst>
          </a:blip>
          <a:srcRect l="6358" t="5072" r="6225" b="5907"/>
          <a:stretch/>
        </p:blipFill>
        <p:spPr>
          <a:xfrm>
            <a:off x="2407620" y="5271183"/>
            <a:ext cx="543013" cy="503207"/>
          </a:xfrm>
          <a:prstGeom prst="rect">
            <a:avLst/>
          </a:prstGeom>
        </p:spPr>
      </p:pic>
      <p:grpSp>
        <p:nvGrpSpPr>
          <p:cNvPr id="7" name="Gruppieren 6">
            <a:extLst>
              <a:ext uri="{FF2B5EF4-FFF2-40B4-BE49-F238E27FC236}">
                <a16:creationId xmlns:a16="http://schemas.microsoft.com/office/drawing/2014/main" id="{B36D8745-FD6F-46C1-B5CF-B1580BF33D6C}"/>
              </a:ext>
            </a:extLst>
          </p:cNvPr>
          <p:cNvGrpSpPr/>
          <p:nvPr/>
        </p:nvGrpSpPr>
        <p:grpSpPr>
          <a:xfrm>
            <a:off x="5776907" y="1250832"/>
            <a:ext cx="2429066" cy="2895600"/>
            <a:chOff x="5776907" y="1250832"/>
            <a:chExt cx="2429066" cy="2895600"/>
          </a:xfrm>
        </p:grpSpPr>
        <p:pic>
          <p:nvPicPr>
            <p:cNvPr id="33" name="Picture 32" descr="A screenshot of a map location&#10;&#10;AI-generated content may be incorrect.">
              <a:extLst>
                <a:ext uri="{FF2B5EF4-FFF2-40B4-BE49-F238E27FC236}">
                  <a16:creationId xmlns:a16="http://schemas.microsoft.com/office/drawing/2014/main" id="{87742679-00EA-73A9-1D8C-DD0057E75721}"/>
                </a:ext>
              </a:extLst>
            </p:cNvPr>
            <p:cNvPicPr>
              <a:picLocks noChangeAspect="1"/>
            </p:cNvPicPr>
            <p:nvPr/>
          </p:nvPicPr>
          <p:blipFill>
            <a:blip r:embed="rId5"/>
            <a:stretch>
              <a:fillRect/>
            </a:stretch>
          </p:blipFill>
          <p:spPr>
            <a:xfrm>
              <a:off x="5776907" y="1250832"/>
              <a:ext cx="2429066" cy="2895600"/>
            </a:xfrm>
            <a:prstGeom prst="rect">
              <a:avLst/>
            </a:prstGeom>
          </p:spPr>
        </p:pic>
        <p:sp>
          <p:nvSpPr>
            <p:cNvPr id="34" name="Rectangle: Rounded Corners 15">
              <a:extLst>
                <a:ext uri="{FF2B5EF4-FFF2-40B4-BE49-F238E27FC236}">
                  <a16:creationId xmlns:a16="http://schemas.microsoft.com/office/drawing/2014/main" id="{9A27BAA8-25AD-7E30-AF94-5692B73AE997}"/>
                </a:ext>
              </a:extLst>
            </p:cNvPr>
            <p:cNvSpPr/>
            <p:nvPr/>
          </p:nvSpPr>
          <p:spPr>
            <a:xfrm>
              <a:off x="5825856" y="1347202"/>
              <a:ext cx="411976" cy="191481"/>
            </a:xfrm>
            <a:prstGeom prst="roundRect">
              <a:avLst/>
            </a:prstGeom>
            <a:noFill/>
            <a:ln w="28575">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Arc 34">
              <a:extLst>
                <a:ext uri="{FF2B5EF4-FFF2-40B4-BE49-F238E27FC236}">
                  <a16:creationId xmlns:a16="http://schemas.microsoft.com/office/drawing/2014/main" id="{996878AE-0EE5-6282-1C5E-EF47F1D4CD63}"/>
                </a:ext>
              </a:extLst>
            </p:cNvPr>
            <p:cNvSpPr/>
            <p:nvPr/>
          </p:nvSpPr>
          <p:spPr>
            <a:xfrm rot="3780000">
              <a:off x="6483277" y="2764539"/>
              <a:ext cx="179142" cy="1257945"/>
            </a:xfrm>
            <a:prstGeom prst="arc">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a:p>
          </p:txBody>
        </p:sp>
        <p:sp>
          <p:nvSpPr>
            <p:cNvPr id="36" name="Oval 35">
              <a:extLst>
                <a:ext uri="{FF2B5EF4-FFF2-40B4-BE49-F238E27FC236}">
                  <a16:creationId xmlns:a16="http://schemas.microsoft.com/office/drawing/2014/main" id="{A41859CF-6806-E9DC-494E-E29DF6543F5F}"/>
                </a:ext>
              </a:extLst>
            </p:cNvPr>
            <p:cNvSpPr/>
            <p:nvPr/>
          </p:nvSpPr>
          <p:spPr>
            <a:xfrm>
              <a:off x="6571690" y="3448935"/>
              <a:ext cx="117481" cy="141399"/>
            </a:xfrm>
            <a:prstGeom prst="ellipse">
              <a:avLst/>
            </a:prstGeom>
            <a:solidFill>
              <a:srgbClr val="FFFF00"/>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sp>
        <p:nvSpPr>
          <p:cNvPr id="5" name="TextBox 4">
            <a:extLst>
              <a:ext uri="{FF2B5EF4-FFF2-40B4-BE49-F238E27FC236}">
                <a16:creationId xmlns:a16="http://schemas.microsoft.com/office/drawing/2014/main" id="{FB760828-BABF-AD4F-FAE9-2E2760994BAD}"/>
              </a:ext>
            </a:extLst>
          </p:cNvPr>
          <p:cNvSpPr txBox="1"/>
          <p:nvPr/>
        </p:nvSpPr>
        <p:spPr>
          <a:xfrm>
            <a:off x="6234566" y="914183"/>
            <a:ext cx="141716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ea typeface="Calibri"/>
                <a:cs typeface="Calibri"/>
              </a:rPr>
              <a:t>Without drone </a:t>
            </a:r>
          </a:p>
        </p:txBody>
      </p:sp>
      <p:sp>
        <p:nvSpPr>
          <p:cNvPr id="9" name="TextBox 8">
            <a:extLst>
              <a:ext uri="{FF2B5EF4-FFF2-40B4-BE49-F238E27FC236}">
                <a16:creationId xmlns:a16="http://schemas.microsoft.com/office/drawing/2014/main" id="{4230DDB9-B211-FCEE-D6B8-38D1AAD5D89C}"/>
              </a:ext>
            </a:extLst>
          </p:cNvPr>
          <p:cNvSpPr txBox="1"/>
          <p:nvPr/>
        </p:nvSpPr>
        <p:spPr>
          <a:xfrm>
            <a:off x="9126452" y="914183"/>
            <a:ext cx="141716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ea typeface="Calibri"/>
                <a:cs typeface="Calibri"/>
              </a:rPr>
              <a:t>With drone </a:t>
            </a:r>
          </a:p>
        </p:txBody>
      </p:sp>
    </p:spTree>
    <p:extLst>
      <p:ext uri="{BB962C8B-B14F-4D97-AF65-F5344CB8AC3E}">
        <p14:creationId xmlns:p14="http://schemas.microsoft.com/office/powerpoint/2010/main" val="25996219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F3EA10-2C0D-42B9-97DF-E52A052E36C9}"/>
              </a:ext>
            </a:extLst>
          </p:cNvPr>
          <p:cNvSpPr>
            <a:spLocks noGrp="1"/>
          </p:cNvSpPr>
          <p:nvPr>
            <p:ph type="title"/>
          </p:nvPr>
        </p:nvSpPr>
        <p:spPr/>
        <p:txBody>
          <a:bodyPr/>
          <a:lstStyle/>
          <a:p>
            <a:r>
              <a:rPr lang="en-US" sz="2800">
                <a:ea typeface="Microsoft YaHei"/>
                <a:cs typeface="Arial"/>
              </a:rPr>
              <a:t>3D Multi-Access Edge Computing (MEC) for Smart Agriculture</a:t>
            </a:r>
          </a:p>
        </p:txBody>
      </p:sp>
      <p:sp>
        <p:nvSpPr>
          <p:cNvPr id="4" name="Inhaltsplatzhalter 3">
            <a:extLst>
              <a:ext uri="{FF2B5EF4-FFF2-40B4-BE49-F238E27FC236}">
                <a16:creationId xmlns:a16="http://schemas.microsoft.com/office/drawing/2014/main" id="{A7AF831F-B423-4FF1-91C3-B1CCCA8C8EF8}"/>
              </a:ext>
            </a:extLst>
          </p:cNvPr>
          <p:cNvSpPr>
            <a:spLocks noGrp="1"/>
          </p:cNvSpPr>
          <p:nvPr>
            <p:ph sz="half" idx="1"/>
          </p:nvPr>
        </p:nvSpPr>
        <p:spPr/>
        <p:txBody>
          <a:bodyPr lIns="0" tIns="0" rIns="0" bIns="0" anchor="t">
            <a:noAutofit/>
          </a:bodyPr>
          <a:lstStyle/>
          <a:p>
            <a:pPr marL="251460" indent="-251460"/>
            <a:r>
              <a:rPr lang="en-US">
                <a:latin typeface="Calibri"/>
                <a:ea typeface="Calibri"/>
                <a:cs typeface="Calibri"/>
              </a:rPr>
              <a:t>MEC </a:t>
            </a:r>
            <a:r>
              <a:rPr lang="en-US">
                <a:latin typeface="Calibri"/>
                <a:ea typeface="Microsoft YaHei"/>
                <a:cs typeface="Arial"/>
              </a:rPr>
              <a:t>on NTN</a:t>
            </a:r>
            <a:endParaRPr lang="de-DE">
              <a:latin typeface="Calibri"/>
            </a:endParaRPr>
          </a:p>
          <a:p>
            <a:pPr marL="445770" lvl="1"/>
            <a:r>
              <a:rPr lang="en-US">
                <a:solidFill>
                  <a:srgbClr val="000000"/>
                </a:solidFill>
                <a:latin typeface="Calibri"/>
                <a:ea typeface="Calibri"/>
                <a:cs typeface="Calibri"/>
              </a:rPr>
              <a:t>Ubiquitous coverage </a:t>
            </a:r>
          </a:p>
          <a:p>
            <a:pPr marL="445770" lvl="1"/>
            <a:r>
              <a:rPr lang="en-US">
                <a:solidFill>
                  <a:srgbClr val="000000"/>
                </a:solidFill>
                <a:latin typeface="Calibri"/>
                <a:ea typeface="Calibri"/>
                <a:cs typeface="Calibri"/>
              </a:rPr>
              <a:t>Ultra-Reliable Low Latency Services </a:t>
            </a:r>
            <a:endParaRPr lang="en-US"/>
          </a:p>
          <a:p>
            <a:pPr marL="445770" lvl="1"/>
            <a:r>
              <a:rPr lang="en-US">
                <a:solidFill>
                  <a:srgbClr val="000000"/>
                </a:solidFill>
                <a:latin typeface="Calibri"/>
                <a:ea typeface="Calibri"/>
                <a:cs typeface="Calibri"/>
              </a:rPr>
              <a:t>Radio Network Information for lower latency, higher reliability </a:t>
            </a:r>
            <a:endParaRPr lang="en-US">
              <a:ea typeface="Calibri"/>
              <a:cs typeface="Calibri"/>
            </a:endParaRPr>
          </a:p>
          <a:p>
            <a:pPr marL="251460" indent="-251460"/>
            <a:endParaRPr lang="en-US">
              <a:ea typeface="Microsoft YaHei"/>
              <a:cs typeface="Arial"/>
            </a:endParaRPr>
          </a:p>
          <a:p>
            <a:pPr marL="251460" indent="-251460"/>
            <a:r>
              <a:rPr lang="en-US">
                <a:ea typeface="Microsoft YaHei"/>
                <a:cs typeface="Arial"/>
              </a:rPr>
              <a:t>Reliable Multicast</a:t>
            </a:r>
            <a:endParaRPr lang="en-US">
              <a:ea typeface="Calibri"/>
              <a:cs typeface="Calibri"/>
            </a:endParaRPr>
          </a:p>
          <a:p>
            <a:pPr marL="445770" lvl="1"/>
            <a:r>
              <a:rPr lang="en-US"/>
              <a:t>Robust communication </a:t>
            </a:r>
            <a:r>
              <a:rPr lang="en-US">
                <a:latin typeface="Calibri"/>
                <a:ea typeface="Calibri"/>
                <a:cs typeface="Calibri"/>
              </a:rPr>
              <a:t>by packet level coding</a:t>
            </a:r>
          </a:p>
          <a:p>
            <a:pPr marL="445770" lvl="1"/>
            <a:endParaRPr lang="en-US">
              <a:ea typeface="Calibri"/>
              <a:cs typeface="Calibri"/>
            </a:endParaRPr>
          </a:p>
          <a:p>
            <a:pPr marL="251460" indent="-251460"/>
            <a:endParaRPr lang="en-US"/>
          </a:p>
        </p:txBody>
      </p:sp>
      <p:sp>
        <p:nvSpPr>
          <p:cNvPr id="3" name="Inhaltsplatzhalter 2">
            <a:extLst>
              <a:ext uri="{FF2B5EF4-FFF2-40B4-BE49-F238E27FC236}">
                <a16:creationId xmlns:a16="http://schemas.microsoft.com/office/drawing/2014/main" id="{32D44217-C68F-400B-A72F-5933CD5A055D}"/>
              </a:ext>
            </a:extLst>
          </p:cNvPr>
          <p:cNvSpPr>
            <a:spLocks noGrp="1"/>
          </p:cNvSpPr>
          <p:nvPr>
            <p:ph sz="half" idx="2"/>
          </p:nvPr>
        </p:nvSpPr>
        <p:spPr/>
        <p:txBody>
          <a:bodyPr/>
          <a:lstStyle/>
          <a:p>
            <a:endParaRPr lang="en-US"/>
          </a:p>
        </p:txBody>
      </p:sp>
      <p:pic>
        <p:nvPicPr>
          <p:cNvPr id="5" name="Picture 2" descr="A close up of a toy&#10;&#10;Description automatically generated">
            <a:extLst>
              <a:ext uri="{FF2B5EF4-FFF2-40B4-BE49-F238E27FC236}">
                <a16:creationId xmlns:a16="http://schemas.microsoft.com/office/drawing/2014/main" id="{AE9EDB91-A319-70D9-1528-2E40430069E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8078" t="25241" r="18104" b="28374"/>
          <a:stretch/>
        </p:blipFill>
        <p:spPr bwMode="auto">
          <a:xfrm flipH="1">
            <a:off x="2970501" y="4369939"/>
            <a:ext cx="2007466" cy="1491886"/>
          </a:xfrm>
          <a:prstGeom prst="rect">
            <a:avLst/>
          </a:prstGeom>
          <a:solidFill>
            <a:srgbClr val="FFFFFF"/>
          </a:solidFill>
        </p:spPr>
      </p:pic>
      <p:pic>
        <p:nvPicPr>
          <p:cNvPr id="9" name="Grafik 8">
            <a:extLst>
              <a:ext uri="{FF2B5EF4-FFF2-40B4-BE49-F238E27FC236}">
                <a16:creationId xmlns:a16="http://schemas.microsoft.com/office/drawing/2014/main" id="{815BC6AB-0348-AEF9-9107-8F93B098836A}"/>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a:ext>
            </a:extLst>
          </a:blip>
          <a:srcRect/>
          <a:stretch/>
        </p:blipFill>
        <p:spPr>
          <a:xfrm>
            <a:off x="189152" y="4936610"/>
            <a:ext cx="248999" cy="1094782"/>
          </a:xfrm>
          <a:prstGeom prst="rect">
            <a:avLst/>
          </a:prstGeom>
        </p:spPr>
      </p:pic>
      <p:pic>
        <p:nvPicPr>
          <p:cNvPr id="10" name="Grafik 9">
            <a:extLst>
              <a:ext uri="{FF2B5EF4-FFF2-40B4-BE49-F238E27FC236}">
                <a16:creationId xmlns:a16="http://schemas.microsoft.com/office/drawing/2014/main" id="{96ABDCC8-94C0-0542-8BF9-12F2ACBDC021}"/>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a:ext>
            </a:extLst>
          </a:blip>
          <a:srcRect/>
          <a:stretch/>
        </p:blipFill>
        <p:spPr>
          <a:xfrm>
            <a:off x="522527" y="4936610"/>
            <a:ext cx="248999" cy="1094782"/>
          </a:xfrm>
          <a:prstGeom prst="rect">
            <a:avLst/>
          </a:prstGeom>
        </p:spPr>
      </p:pic>
      <p:pic>
        <p:nvPicPr>
          <p:cNvPr id="11" name="Grafik 10">
            <a:extLst>
              <a:ext uri="{FF2B5EF4-FFF2-40B4-BE49-F238E27FC236}">
                <a16:creationId xmlns:a16="http://schemas.microsoft.com/office/drawing/2014/main" id="{B6923DA4-3FC6-5723-D1DD-3C1F9DCFDBC7}"/>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a:ext>
            </a:extLst>
          </a:blip>
          <a:srcRect/>
          <a:stretch/>
        </p:blipFill>
        <p:spPr>
          <a:xfrm>
            <a:off x="855902" y="4936610"/>
            <a:ext cx="248999" cy="1094782"/>
          </a:xfrm>
          <a:prstGeom prst="rect">
            <a:avLst/>
          </a:prstGeom>
        </p:spPr>
      </p:pic>
      <p:pic>
        <p:nvPicPr>
          <p:cNvPr id="12" name="Grafik 11">
            <a:extLst>
              <a:ext uri="{FF2B5EF4-FFF2-40B4-BE49-F238E27FC236}">
                <a16:creationId xmlns:a16="http://schemas.microsoft.com/office/drawing/2014/main" id="{6EEADFA2-12D3-764D-0DDC-B5C994138C14}"/>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a:ext>
            </a:extLst>
          </a:blip>
          <a:srcRect/>
          <a:stretch/>
        </p:blipFill>
        <p:spPr>
          <a:xfrm>
            <a:off x="1189277" y="4923910"/>
            <a:ext cx="248999" cy="1094782"/>
          </a:xfrm>
          <a:prstGeom prst="rect">
            <a:avLst/>
          </a:prstGeom>
        </p:spPr>
      </p:pic>
      <p:pic>
        <p:nvPicPr>
          <p:cNvPr id="13" name="Grafik 12">
            <a:extLst>
              <a:ext uri="{FF2B5EF4-FFF2-40B4-BE49-F238E27FC236}">
                <a16:creationId xmlns:a16="http://schemas.microsoft.com/office/drawing/2014/main" id="{AF740C22-DCEE-0DD5-7D62-511F7B752B16}"/>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a:ext>
            </a:extLst>
          </a:blip>
          <a:srcRect/>
          <a:stretch/>
        </p:blipFill>
        <p:spPr>
          <a:xfrm>
            <a:off x="1522652" y="4936610"/>
            <a:ext cx="248999" cy="1094782"/>
          </a:xfrm>
          <a:prstGeom prst="rect">
            <a:avLst/>
          </a:prstGeom>
        </p:spPr>
      </p:pic>
      <p:pic>
        <p:nvPicPr>
          <p:cNvPr id="14" name="Grafik 13">
            <a:extLst>
              <a:ext uri="{FF2B5EF4-FFF2-40B4-BE49-F238E27FC236}">
                <a16:creationId xmlns:a16="http://schemas.microsoft.com/office/drawing/2014/main" id="{FA757B57-38D1-82F9-3359-A84CD0C2894B}"/>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a:ext>
            </a:extLst>
          </a:blip>
          <a:srcRect/>
          <a:stretch/>
        </p:blipFill>
        <p:spPr>
          <a:xfrm>
            <a:off x="1856027" y="4936610"/>
            <a:ext cx="248999" cy="1094782"/>
          </a:xfrm>
          <a:prstGeom prst="rect">
            <a:avLst/>
          </a:prstGeom>
        </p:spPr>
      </p:pic>
      <p:pic>
        <p:nvPicPr>
          <p:cNvPr id="15" name="Grafik 14">
            <a:extLst>
              <a:ext uri="{FF2B5EF4-FFF2-40B4-BE49-F238E27FC236}">
                <a16:creationId xmlns:a16="http://schemas.microsoft.com/office/drawing/2014/main" id="{BEBF5A51-05AD-62C6-193F-6231FE48A508}"/>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a:ext>
            </a:extLst>
          </a:blip>
          <a:srcRect/>
          <a:stretch/>
        </p:blipFill>
        <p:spPr>
          <a:xfrm>
            <a:off x="2189402" y="4936610"/>
            <a:ext cx="248999" cy="1094782"/>
          </a:xfrm>
          <a:prstGeom prst="rect">
            <a:avLst/>
          </a:prstGeom>
        </p:spPr>
      </p:pic>
      <p:pic>
        <p:nvPicPr>
          <p:cNvPr id="16" name="Grafik 15">
            <a:extLst>
              <a:ext uri="{FF2B5EF4-FFF2-40B4-BE49-F238E27FC236}">
                <a16:creationId xmlns:a16="http://schemas.microsoft.com/office/drawing/2014/main" id="{77EF512A-EAD7-EB6F-7627-6ED43E422664}"/>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a:ext>
            </a:extLst>
          </a:blip>
          <a:srcRect/>
          <a:stretch/>
        </p:blipFill>
        <p:spPr>
          <a:xfrm>
            <a:off x="2522777" y="4923910"/>
            <a:ext cx="248999" cy="1094782"/>
          </a:xfrm>
          <a:prstGeom prst="rect">
            <a:avLst/>
          </a:prstGeom>
        </p:spPr>
      </p:pic>
      <p:pic>
        <p:nvPicPr>
          <p:cNvPr id="17" name="Grafik 16">
            <a:extLst>
              <a:ext uri="{FF2B5EF4-FFF2-40B4-BE49-F238E27FC236}">
                <a16:creationId xmlns:a16="http://schemas.microsoft.com/office/drawing/2014/main" id="{A2DAE410-B42D-C4CD-560E-4DCE3C218604}"/>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3875881" y="4456459"/>
            <a:ext cx="69019" cy="48719"/>
          </a:xfrm>
          <a:prstGeom prst="rect">
            <a:avLst/>
          </a:prstGeom>
        </p:spPr>
      </p:pic>
      <p:sp>
        <p:nvSpPr>
          <p:cNvPr id="18" name="Line 15">
            <a:extLst>
              <a:ext uri="{FF2B5EF4-FFF2-40B4-BE49-F238E27FC236}">
                <a16:creationId xmlns:a16="http://schemas.microsoft.com/office/drawing/2014/main" id="{E812E226-D2A1-A14D-B3B2-0ACB35833BFB}"/>
              </a:ext>
            </a:extLst>
          </p:cNvPr>
          <p:cNvSpPr>
            <a:spLocks noChangeShapeType="1"/>
          </p:cNvSpPr>
          <p:nvPr/>
        </p:nvSpPr>
        <p:spPr bwMode="auto">
          <a:xfrm flipV="1">
            <a:off x="438151" y="4456458"/>
            <a:ext cx="3412677" cy="1257599"/>
          </a:xfrm>
          <a:prstGeom prst="line">
            <a:avLst/>
          </a:prstGeom>
          <a:noFill/>
          <a:ln w="6350">
            <a:solidFill>
              <a:schemeClr val="bg2"/>
            </a:solidFill>
            <a:round/>
            <a:headEnd type="none" w="med" len="med"/>
            <a:tailEnd type="none" w="med" len="med"/>
          </a:ln>
          <a:effectLst>
            <a:outerShdw blurRad="50800" dist="38100" dir="2700000" algn="tl" rotWithShape="0">
              <a:prstClr val="black">
                <a:alpha val="40000"/>
              </a:prst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Verdana"/>
              <a:ea typeface="+mn-ea"/>
              <a:cs typeface="+mn-cs"/>
            </a:endParaRPr>
          </a:p>
        </p:txBody>
      </p:sp>
      <p:sp>
        <p:nvSpPr>
          <p:cNvPr id="19" name="Line 15">
            <a:extLst>
              <a:ext uri="{FF2B5EF4-FFF2-40B4-BE49-F238E27FC236}">
                <a16:creationId xmlns:a16="http://schemas.microsoft.com/office/drawing/2014/main" id="{6EBFA10D-45E7-AE13-2589-09699FED1F5A}"/>
              </a:ext>
            </a:extLst>
          </p:cNvPr>
          <p:cNvSpPr>
            <a:spLocks noChangeShapeType="1"/>
          </p:cNvSpPr>
          <p:nvPr/>
        </p:nvSpPr>
        <p:spPr bwMode="auto">
          <a:xfrm flipV="1">
            <a:off x="1970376" y="4456458"/>
            <a:ext cx="1880452" cy="1257600"/>
          </a:xfrm>
          <a:prstGeom prst="line">
            <a:avLst/>
          </a:prstGeom>
          <a:noFill/>
          <a:ln w="6350">
            <a:solidFill>
              <a:schemeClr val="bg2"/>
            </a:solidFill>
            <a:round/>
            <a:headEnd type="none" w="med" len="med"/>
            <a:tailEnd type="none" w="med" len="med"/>
          </a:ln>
          <a:effectLst>
            <a:outerShdw blurRad="50800" dist="38100" dir="2700000" algn="tl" rotWithShape="0">
              <a:prstClr val="black">
                <a:alpha val="40000"/>
              </a:prst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Verdana"/>
              <a:ea typeface="+mn-ea"/>
              <a:cs typeface="+mn-cs"/>
            </a:endParaRPr>
          </a:p>
        </p:txBody>
      </p:sp>
      <p:pic>
        <p:nvPicPr>
          <p:cNvPr id="20" name="Graphic 5" descr="Television with solid fill">
            <a:extLst>
              <a:ext uri="{FF2B5EF4-FFF2-40B4-BE49-F238E27FC236}">
                <a16:creationId xmlns:a16="http://schemas.microsoft.com/office/drawing/2014/main" id="{B27B30C9-28F0-86B4-15FA-9A5808AC088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46195" y="2521054"/>
            <a:ext cx="1824720" cy="1700718"/>
          </a:xfrm>
          <a:prstGeom prst="rect">
            <a:avLst/>
          </a:prstGeom>
        </p:spPr>
      </p:pic>
      <p:pic>
        <p:nvPicPr>
          <p:cNvPr id="21" name="Graphic 9" descr="Map with pin outline">
            <a:extLst>
              <a:ext uri="{FF2B5EF4-FFF2-40B4-BE49-F238E27FC236}">
                <a16:creationId xmlns:a16="http://schemas.microsoft.com/office/drawing/2014/main" id="{E91FA08A-C47C-59D0-3007-6C5067A55BE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365693" y="3230456"/>
            <a:ext cx="469441" cy="469441"/>
          </a:xfrm>
          <a:prstGeom prst="rect">
            <a:avLst/>
          </a:prstGeom>
        </p:spPr>
      </p:pic>
      <p:grpSp>
        <p:nvGrpSpPr>
          <p:cNvPr id="22" name="Graphic 16" descr="Agriculture outline">
            <a:extLst>
              <a:ext uri="{FF2B5EF4-FFF2-40B4-BE49-F238E27FC236}">
                <a16:creationId xmlns:a16="http://schemas.microsoft.com/office/drawing/2014/main" id="{0EFE23BB-110C-5011-8DC8-5205854C5C7B}"/>
              </a:ext>
            </a:extLst>
          </p:cNvPr>
          <p:cNvGrpSpPr/>
          <p:nvPr/>
        </p:nvGrpSpPr>
        <p:grpSpPr>
          <a:xfrm>
            <a:off x="9537483" y="3276985"/>
            <a:ext cx="487437" cy="335676"/>
            <a:chOff x="10370184" y="3598601"/>
            <a:chExt cx="604225" cy="431047"/>
          </a:xfrm>
          <a:solidFill>
            <a:srgbClr val="000000"/>
          </a:solidFill>
        </p:grpSpPr>
        <p:sp>
          <p:nvSpPr>
            <p:cNvPr id="55" name="Freeform: Shape 18">
              <a:extLst>
                <a:ext uri="{FF2B5EF4-FFF2-40B4-BE49-F238E27FC236}">
                  <a16:creationId xmlns:a16="http://schemas.microsoft.com/office/drawing/2014/main" id="{0E4B9EA1-971B-F639-B1F4-4BD82514AD49}"/>
                </a:ext>
              </a:extLst>
            </p:cNvPr>
            <p:cNvSpPr/>
            <p:nvPr/>
          </p:nvSpPr>
          <p:spPr>
            <a:xfrm>
              <a:off x="10370184" y="3815277"/>
              <a:ext cx="281495" cy="69639"/>
            </a:xfrm>
            <a:custGeom>
              <a:avLst/>
              <a:gdLst>
                <a:gd name="connsiteX0" fmla="*/ 262133 w 281495"/>
                <a:gd name="connsiteY0" fmla="*/ 69640 h 69639"/>
                <a:gd name="connsiteX1" fmla="*/ 281496 w 281495"/>
                <a:gd name="connsiteY1" fmla="*/ 61209 h 69639"/>
                <a:gd name="connsiteX2" fmla="*/ 274547 w 281495"/>
                <a:gd name="connsiteY2" fmla="*/ 58883 h 69639"/>
                <a:gd name="connsiteX3" fmla="*/ 14754 w 281495"/>
                <a:gd name="connsiteY3" fmla="*/ 1489 h 69639"/>
                <a:gd name="connsiteX4" fmla="*/ 0 w 281495"/>
                <a:gd name="connsiteY4" fmla="*/ 0 h 69639"/>
                <a:gd name="connsiteX5" fmla="*/ 0 w 281495"/>
                <a:gd name="connsiteY5" fmla="*/ 14136 h 69639"/>
                <a:gd name="connsiteX6" fmla="*/ 13279 w 281495"/>
                <a:gd name="connsiteY6" fmla="*/ 15478 h 69639"/>
                <a:gd name="connsiteX7" fmla="*/ 262133 w 281495"/>
                <a:gd name="connsiteY7" fmla="*/ 69640 h 69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495" h="69639">
                  <a:moveTo>
                    <a:pt x="262133" y="69640"/>
                  </a:moveTo>
                  <a:cubicBezTo>
                    <a:pt x="268554" y="66759"/>
                    <a:pt x="275025" y="63970"/>
                    <a:pt x="281496" y="61209"/>
                  </a:cubicBezTo>
                  <a:lnTo>
                    <a:pt x="274547" y="58883"/>
                  </a:lnTo>
                  <a:cubicBezTo>
                    <a:pt x="190260" y="30484"/>
                    <a:pt x="103161" y="11242"/>
                    <a:pt x="14754" y="1489"/>
                  </a:cubicBezTo>
                  <a:lnTo>
                    <a:pt x="0" y="0"/>
                  </a:lnTo>
                  <a:lnTo>
                    <a:pt x="0" y="14136"/>
                  </a:lnTo>
                  <a:lnTo>
                    <a:pt x="13279" y="15478"/>
                  </a:lnTo>
                  <a:cubicBezTo>
                    <a:pt x="97886" y="24838"/>
                    <a:pt x="181288" y="42989"/>
                    <a:pt x="262133" y="69640"/>
                  </a:cubicBezTo>
                  <a:close/>
                </a:path>
              </a:pathLst>
            </a:custGeom>
            <a:solidFill>
              <a:srgbClr val="000000"/>
            </a:solidFill>
            <a:ln w="694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sp>
          <p:nvSpPr>
            <p:cNvPr id="56" name="Freeform: Shape 19">
              <a:extLst>
                <a:ext uri="{FF2B5EF4-FFF2-40B4-BE49-F238E27FC236}">
                  <a16:creationId xmlns:a16="http://schemas.microsoft.com/office/drawing/2014/main" id="{570C383D-508A-2A18-8EB3-E9B4DC784F58}"/>
                </a:ext>
              </a:extLst>
            </p:cNvPr>
            <p:cNvSpPr/>
            <p:nvPr/>
          </p:nvSpPr>
          <p:spPr>
            <a:xfrm>
              <a:off x="10370184" y="3598601"/>
              <a:ext cx="379344" cy="247483"/>
            </a:xfrm>
            <a:custGeom>
              <a:avLst/>
              <a:gdLst>
                <a:gd name="connsiteX0" fmla="*/ 132050 w 379344"/>
                <a:gd name="connsiteY0" fmla="*/ 178371 h 247483"/>
                <a:gd name="connsiteX1" fmla="*/ 146102 w 379344"/>
                <a:gd name="connsiteY1" fmla="*/ 181301 h 247483"/>
                <a:gd name="connsiteX2" fmla="*/ 359461 w 379344"/>
                <a:gd name="connsiteY2" fmla="*/ 247484 h 247483"/>
                <a:gd name="connsiteX3" fmla="*/ 379344 w 379344"/>
                <a:gd name="connsiteY3" fmla="*/ 240683 h 247483"/>
                <a:gd name="connsiteX4" fmla="*/ 148982 w 379344"/>
                <a:gd name="connsiteY4" fmla="*/ 167579 h 247483"/>
                <a:gd name="connsiteX5" fmla="*/ 134860 w 379344"/>
                <a:gd name="connsiteY5" fmla="*/ 164608 h 247483"/>
                <a:gd name="connsiteX6" fmla="*/ 133455 w 379344"/>
                <a:gd name="connsiteY6" fmla="*/ 164348 h 247483"/>
                <a:gd name="connsiteX7" fmla="*/ 133455 w 379344"/>
                <a:gd name="connsiteY7" fmla="*/ 117233 h 247483"/>
                <a:gd name="connsiteX8" fmla="*/ 169420 w 379344"/>
                <a:gd name="connsiteY8" fmla="*/ 104186 h 247483"/>
                <a:gd name="connsiteX9" fmla="*/ 182397 w 379344"/>
                <a:gd name="connsiteY9" fmla="*/ 60900 h 247483"/>
                <a:gd name="connsiteX10" fmla="*/ 181814 w 379344"/>
                <a:gd name="connsiteY10" fmla="*/ 55469 h 247483"/>
                <a:gd name="connsiteX11" fmla="*/ 176411 w 379344"/>
                <a:gd name="connsiteY11" fmla="*/ 54689 h 247483"/>
                <a:gd name="connsiteX12" fmla="*/ 151357 w 379344"/>
                <a:gd name="connsiteY12" fmla="*/ 56206 h 247483"/>
                <a:gd name="connsiteX13" fmla="*/ 153261 w 379344"/>
                <a:gd name="connsiteY13" fmla="*/ 45886 h 247483"/>
                <a:gd name="connsiteX14" fmla="*/ 131481 w 379344"/>
                <a:gd name="connsiteY14" fmla="*/ 4300 h 247483"/>
                <a:gd name="connsiteX15" fmla="*/ 126752 w 379344"/>
                <a:gd name="connsiteY15" fmla="*/ 0 h 247483"/>
                <a:gd name="connsiteX16" fmla="*/ 122024 w 379344"/>
                <a:gd name="connsiteY16" fmla="*/ 4300 h 247483"/>
                <a:gd name="connsiteX17" fmla="*/ 100244 w 379344"/>
                <a:gd name="connsiteY17" fmla="*/ 46391 h 247483"/>
                <a:gd name="connsiteX18" fmla="*/ 101909 w 379344"/>
                <a:gd name="connsiteY18" fmla="*/ 56122 h 247483"/>
                <a:gd name="connsiteX19" fmla="*/ 76546 w 379344"/>
                <a:gd name="connsiteY19" fmla="*/ 54605 h 247483"/>
                <a:gd name="connsiteX20" fmla="*/ 71150 w 379344"/>
                <a:gd name="connsiteY20" fmla="*/ 55391 h 247483"/>
                <a:gd name="connsiteX21" fmla="*/ 70574 w 379344"/>
                <a:gd name="connsiteY21" fmla="*/ 60808 h 247483"/>
                <a:gd name="connsiteX22" fmla="*/ 83537 w 379344"/>
                <a:gd name="connsiteY22" fmla="*/ 104094 h 247483"/>
                <a:gd name="connsiteX23" fmla="*/ 119404 w 379344"/>
                <a:gd name="connsiteY23" fmla="*/ 117092 h 247483"/>
                <a:gd name="connsiteX24" fmla="*/ 119404 w 379344"/>
                <a:gd name="connsiteY24" fmla="*/ 161727 h 247483"/>
                <a:gd name="connsiteX25" fmla="*/ 14628 w 379344"/>
                <a:gd name="connsiteY25" fmla="*/ 146741 h 247483"/>
                <a:gd name="connsiteX26" fmla="*/ 0 w 379344"/>
                <a:gd name="connsiteY26" fmla="*/ 145448 h 247483"/>
                <a:gd name="connsiteX27" fmla="*/ 0 w 379344"/>
                <a:gd name="connsiteY27" fmla="*/ 159556 h 247483"/>
                <a:gd name="connsiteX28" fmla="*/ 13349 w 379344"/>
                <a:gd name="connsiteY28" fmla="*/ 160729 h 247483"/>
                <a:gd name="connsiteX29" fmla="*/ 132050 w 379344"/>
                <a:gd name="connsiteY29" fmla="*/ 178371 h 247483"/>
                <a:gd name="connsiteX30" fmla="*/ 168584 w 379344"/>
                <a:gd name="connsiteY30" fmla="*/ 68242 h 247483"/>
                <a:gd name="connsiteX31" fmla="*/ 159704 w 379344"/>
                <a:gd name="connsiteY31" fmla="*/ 94061 h 247483"/>
                <a:gd name="connsiteX32" fmla="*/ 136265 w 379344"/>
                <a:gd name="connsiteY32" fmla="*/ 102942 h 247483"/>
                <a:gd name="connsiteX33" fmla="*/ 136589 w 379344"/>
                <a:gd name="connsiteY33" fmla="*/ 84907 h 247483"/>
                <a:gd name="connsiteX34" fmla="*/ 142441 w 379344"/>
                <a:gd name="connsiteY34" fmla="*/ 76167 h 247483"/>
                <a:gd name="connsiteX35" fmla="*/ 167818 w 379344"/>
                <a:gd name="connsiteY35" fmla="*/ 68263 h 247483"/>
                <a:gd name="connsiteX36" fmla="*/ 126781 w 379344"/>
                <a:gd name="connsiteY36" fmla="*/ 19658 h 247483"/>
                <a:gd name="connsiteX37" fmla="*/ 139265 w 379344"/>
                <a:gd name="connsiteY37" fmla="*/ 45330 h 247483"/>
                <a:gd name="connsiteX38" fmla="*/ 128727 w 379344"/>
                <a:gd name="connsiteY38" fmla="*/ 68094 h 247483"/>
                <a:gd name="connsiteX39" fmla="*/ 124188 w 379344"/>
                <a:gd name="connsiteY39" fmla="*/ 67490 h 247483"/>
                <a:gd name="connsiteX40" fmla="*/ 114282 w 379344"/>
                <a:gd name="connsiteY40" fmla="*/ 45857 h 247483"/>
                <a:gd name="connsiteX41" fmla="*/ 126781 w 379344"/>
                <a:gd name="connsiteY41" fmla="*/ 19658 h 247483"/>
                <a:gd name="connsiteX42" fmla="*/ 117254 w 379344"/>
                <a:gd name="connsiteY42" fmla="*/ 102837 h 247483"/>
                <a:gd name="connsiteX43" fmla="*/ 93310 w 379344"/>
                <a:gd name="connsiteY43" fmla="*/ 93963 h 247483"/>
                <a:gd name="connsiteX44" fmla="*/ 84436 w 379344"/>
                <a:gd name="connsiteY44" fmla="*/ 68150 h 247483"/>
                <a:gd name="connsiteX45" fmla="*/ 110481 w 379344"/>
                <a:gd name="connsiteY45" fmla="*/ 75879 h 247483"/>
                <a:gd name="connsiteX46" fmla="*/ 116635 w 379344"/>
                <a:gd name="connsiteY46" fmla="*/ 85237 h 247483"/>
                <a:gd name="connsiteX47" fmla="*/ 117254 w 379344"/>
                <a:gd name="connsiteY47" fmla="*/ 102837 h 24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79344" h="247483">
                  <a:moveTo>
                    <a:pt x="132050" y="178371"/>
                  </a:moveTo>
                  <a:lnTo>
                    <a:pt x="146102" y="181301"/>
                  </a:lnTo>
                  <a:cubicBezTo>
                    <a:pt x="219097" y="196787"/>
                    <a:pt x="290516" y="218941"/>
                    <a:pt x="359461" y="247484"/>
                  </a:cubicBezTo>
                  <a:cubicBezTo>
                    <a:pt x="366070" y="245165"/>
                    <a:pt x="372698" y="242898"/>
                    <a:pt x="379344" y="240683"/>
                  </a:cubicBezTo>
                  <a:cubicBezTo>
                    <a:pt x="305135" y="208833"/>
                    <a:pt x="227977" y="184348"/>
                    <a:pt x="148982" y="167579"/>
                  </a:cubicBezTo>
                  <a:lnTo>
                    <a:pt x="134860" y="164608"/>
                  </a:lnTo>
                  <a:lnTo>
                    <a:pt x="133455" y="164348"/>
                  </a:lnTo>
                  <a:lnTo>
                    <a:pt x="133455" y="117233"/>
                  </a:lnTo>
                  <a:cubicBezTo>
                    <a:pt x="146579" y="117103"/>
                    <a:pt x="159266" y="112501"/>
                    <a:pt x="169420" y="104186"/>
                  </a:cubicBezTo>
                  <a:cubicBezTo>
                    <a:pt x="185186" y="89038"/>
                    <a:pt x="182516" y="62031"/>
                    <a:pt x="182397" y="60900"/>
                  </a:cubicBezTo>
                  <a:lnTo>
                    <a:pt x="181814" y="55469"/>
                  </a:lnTo>
                  <a:lnTo>
                    <a:pt x="176411" y="54689"/>
                  </a:lnTo>
                  <a:cubicBezTo>
                    <a:pt x="168035" y="53710"/>
                    <a:pt x="159553" y="54224"/>
                    <a:pt x="151357" y="56206"/>
                  </a:cubicBezTo>
                  <a:cubicBezTo>
                    <a:pt x="152347" y="52841"/>
                    <a:pt x="152985" y="49382"/>
                    <a:pt x="153261" y="45886"/>
                  </a:cubicBezTo>
                  <a:cubicBezTo>
                    <a:pt x="153261" y="24365"/>
                    <a:pt x="132359" y="5136"/>
                    <a:pt x="131481" y="4300"/>
                  </a:cubicBezTo>
                  <a:lnTo>
                    <a:pt x="126752" y="0"/>
                  </a:lnTo>
                  <a:lnTo>
                    <a:pt x="122024" y="4300"/>
                  </a:lnTo>
                  <a:cubicBezTo>
                    <a:pt x="121132" y="5108"/>
                    <a:pt x="100244" y="24365"/>
                    <a:pt x="100244" y="46391"/>
                  </a:cubicBezTo>
                  <a:cubicBezTo>
                    <a:pt x="100491" y="49680"/>
                    <a:pt x="101049" y="52938"/>
                    <a:pt x="101909" y="56122"/>
                  </a:cubicBezTo>
                  <a:cubicBezTo>
                    <a:pt x="93615" y="54099"/>
                    <a:pt x="85023" y="53585"/>
                    <a:pt x="76546" y="54605"/>
                  </a:cubicBezTo>
                  <a:lnTo>
                    <a:pt x="71150" y="55391"/>
                  </a:lnTo>
                  <a:lnTo>
                    <a:pt x="70574" y="60808"/>
                  </a:lnTo>
                  <a:cubicBezTo>
                    <a:pt x="70455" y="61954"/>
                    <a:pt x="67764" y="88947"/>
                    <a:pt x="83537" y="104094"/>
                  </a:cubicBezTo>
                  <a:cubicBezTo>
                    <a:pt x="93664" y="112383"/>
                    <a:pt x="106317" y="116968"/>
                    <a:pt x="119404" y="117092"/>
                  </a:cubicBezTo>
                  <a:lnTo>
                    <a:pt x="119404" y="161727"/>
                  </a:lnTo>
                  <a:cubicBezTo>
                    <a:pt x="84865" y="155291"/>
                    <a:pt x="49736" y="150198"/>
                    <a:pt x="14628" y="146741"/>
                  </a:cubicBezTo>
                  <a:lnTo>
                    <a:pt x="0" y="145448"/>
                  </a:lnTo>
                  <a:lnTo>
                    <a:pt x="0" y="159556"/>
                  </a:lnTo>
                  <a:lnTo>
                    <a:pt x="13349" y="160729"/>
                  </a:lnTo>
                  <a:cubicBezTo>
                    <a:pt x="53164" y="164657"/>
                    <a:pt x="93120" y="170594"/>
                    <a:pt x="132050" y="178371"/>
                  </a:cubicBezTo>
                  <a:close/>
                  <a:moveTo>
                    <a:pt x="168584" y="68242"/>
                  </a:moveTo>
                  <a:cubicBezTo>
                    <a:pt x="168913" y="77649"/>
                    <a:pt x="165749" y="86846"/>
                    <a:pt x="159704" y="94061"/>
                  </a:cubicBezTo>
                  <a:cubicBezTo>
                    <a:pt x="153000" y="99379"/>
                    <a:pt x="144810" y="102483"/>
                    <a:pt x="136265" y="102942"/>
                  </a:cubicBezTo>
                  <a:cubicBezTo>
                    <a:pt x="135519" y="96946"/>
                    <a:pt x="135628" y="90873"/>
                    <a:pt x="136589" y="84907"/>
                  </a:cubicBezTo>
                  <a:cubicBezTo>
                    <a:pt x="137868" y="81596"/>
                    <a:pt x="139867" y="78610"/>
                    <a:pt x="142441" y="76167"/>
                  </a:cubicBezTo>
                  <a:cubicBezTo>
                    <a:pt x="149657" y="70531"/>
                    <a:pt x="158679" y="67722"/>
                    <a:pt x="167818" y="68263"/>
                  </a:cubicBezTo>
                  <a:close/>
                  <a:moveTo>
                    <a:pt x="126781" y="19658"/>
                  </a:moveTo>
                  <a:cubicBezTo>
                    <a:pt x="133583" y="26659"/>
                    <a:pt x="137959" y="35657"/>
                    <a:pt x="139265" y="45330"/>
                  </a:cubicBezTo>
                  <a:cubicBezTo>
                    <a:pt x="138471" y="53903"/>
                    <a:pt x="134749" y="61942"/>
                    <a:pt x="128727" y="68094"/>
                  </a:cubicBezTo>
                  <a:cubicBezTo>
                    <a:pt x="127188" y="68366"/>
                    <a:pt x="125602" y="68154"/>
                    <a:pt x="124188" y="67490"/>
                  </a:cubicBezTo>
                  <a:cubicBezTo>
                    <a:pt x="118279" y="61784"/>
                    <a:pt x="114741" y="54059"/>
                    <a:pt x="114282" y="45857"/>
                  </a:cubicBezTo>
                  <a:cubicBezTo>
                    <a:pt x="115502" y="36002"/>
                    <a:pt x="119888" y="26808"/>
                    <a:pt x="126781" y="19658"/>
                  </a:cubicBezTo>
                  <a:close/>
                  <a:moveTo>
                    <a:pt x="117254" y="102837"/>
                  </a:moveTo>
                  <a:cubicBezTo>
                    <a:pt x="108541" y="102455"/>
                    <a:pt x="100167" y="99352"/>
                    <a:pt x="93310" y="93963"/>
                  </a:cubicBezTo>
                  <a:cubicBezTo>
                    <a:pt x="87275" y="86744"/>
                    <a:pt x="84116" y="77554"/>
                    <a:pt x="84436" y="68150"/>
                  </a:cubicBezTo>
                  <a:cubicBezTo>
                    <a:pt x="93769" y="67468"/>
                    <a:pt x="103030" y="70217"/>
                    <a:pt x="110481" y="75879"/>
                  </a:cubicBezTo>
                  <a:cubicBezTo>
                    <a:pt x="113095" y="78589"/>
                    <a:pt x="115182" y="81763"/>
                    <a:pt x="116635" y="85237"/>
                  </a:cubicBezTo>
                  <a:cubicBezTo>
                    <a:pt x="118187" y="90979"/>
                    <a:pt x="118398" y="97000"/>
                    <a:pt x="117254" y="102837"/>
                  </a:cubicBezTo>
                  <a:close/>
                </a:path>
              </a:pathLst>
            </a:custGeom>
            <a:solidFill>
              <a:srgbClr val="000000"/>
            </a:solidFill>
            <a:ln w="694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sp>
          <p:nvSpPr>
            <p:cNvPr id="57" name="Freeform: Shape 20">
              <a:extLst>
                <a:ext uri="{FF2B5EF4-FFF2-40B4-BE49-F238E27FC236}">
                  <a16:creationId xmlns:a16="http://schemas.microsoft.com/office/drawing/2014/main" id="{C054130E-DC5B-FF99-4ACE-19583ACB51EB}"/>
                </a:ext>
              </a:extLst>
            </p:cNvPr>
            <p:cNvSpPr/>
            <p:nvPr/>
          </p:nvSpPr>
          <p:spPr>
            <a:xfrm>
              <a:off x="10370219" y="3885619"/>
              <a:ext cx="190581" cy="43735"/>
            </a:xfrm>
            <a:custGeom>
              <a:avLst/>
              <a:gdLst>
                <a:gd name="connsiteX0" fmla="*/ 163287 w 190581"/>
                <a:gd name="connsiteY0" fmla="*/ 41361 h 43735"/>
                <a:gd name="connsiteX1" fmla="*/ 171718 w 190581"/>
                <a:gd name="connsiteY1" fmla="*/ 43391 h 43735"/>
                <a:gd name="connsiteX2" fmla="*/ 172905 w 190581"/>
                <a:gd name="connsiteY2" fmla="*/ 43736 h 43735"/>
                <a:gd name="connsiteX3" fmla="*/ 190582 w 190581"/>
                <a:gd name="connsiteY3" fmla="*/ 34230 h 43735"/>
                <a:gd name="connsiteX4" fmla="*/ 175322 w 190581"/>
                <a:gd name="connsiteY4" fmla="*/ 29818 h 43735"/>
                <a:gd name="connsiteX5" fmla="*/ 166575 w 190581"/>
                <a:gd name="connsiteY5" fmla="*/ 27710 h 43735"/>
                <a:gd name="connsiteX6" fmla="*/ 14684 w 190581"/>
                <a:gd name="connsiteY6" fmla="*/ 1335 h 43735"/>
                <a:gd name="connsiteX7" fmla="*/ 0 w 190581"/>
                <a:gd name="connsiteY7" fmla="*/ 0 h 43735"/>
                <a:gd name="connsiteX8" fmla="*/ 0 w 190581"/>
                <a:gd name="connsiteY8" fmla="*/ 14108 h 43735"/>
                <a:gd name="connsiteX9" fmla="*/ 13279 w 190581"/>
                <a:gd name="connsiteY9" fmla="*/ 15309 h 43735"/>
                <a:gd name="connsiteX10" fmla="*/ 163287 w 190581"/>
                <a:gd name="connsiteY10" fmla="*/ 41361 h 43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0581" h="43735">
                  <a:moveTo>
                    <a:pt x="163287" y="41361"/>
                  </a:moveTo>
                  <a:lnTo>
                    <a:pt x="171718" y="43391"/>
                  </a:lnTo>
                  <a:lnTo>
                    <a:pt x="172905" y="43736"/>
                  </a:lnTo>
                  <a:cubicBezTo>
                    <a:pt x="178774" y="40518"/>
                    <a:pt x="184666" y="37349"/>
                    <a:pt x="190582" y="34230"/>
                  </a:cubicBezTo>
                  <a:lnTo>
                    <a:pt x="175322" y="29818"/>
                  </a:lnTo>
                  <a:lnTo>
                    <a:pt x="166575" y="27710"/>
                  </a:lnTo>
                  <a:cubicBezTo>
                    <a:pt x="116538" y="15785"/>
                    <a:pt x="65811" y="6977"/>
                    <a:pt x="14684" y="1335"/>
                  </a:cubicBezTo>
                  <a:lnTo>
                    <a:pt x="0" y="0"/>
                  </a:lnTo>
                  <a:lnTo>
                    <a:pt x="0" y="14108"/>
                  </a:lnTo>
                  <a:lnTo>
                    <a:pt x="13279" y="15309"/>
                  </a:lnTo>
                  <a:cubicBezTo>
                    <a:pt x="63771" y="20891"/>
                    <a:pt x="113869" y="29592"/>
                    <a:pt x="163287" y="41361"/>
                  </a:cubicBezTo>
                  <a:close/>
                </a:path>
              </a:pathLst>
            </a:custGeom>
            <a:solidFill>
              <a:srgbClr val="000000"/>
            </a:solidFill>
            <a:ln w="694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sp>
          <p:nvSpPr>
            <p:cNvPr id="58" name="Freeform: Shape 22">
              <a:extLst>
                <a:ext uri="{FF2B5EF4-FFF2-40B4-BE49-F238E27FC236}">
                  <a16:creationId xmlns:a16="http://schemas.microsoft.com/office/drawing/2014/main" id="{5900C881-F8C8-FB7C-61E9-1EDC40FC9E68}"/>
                </a:ext>
              </a:extLst>
            </p:cNvPr>
            <p:cNvSpPr/>
            <p:nvPr/>
          </p:nvSpPr>
          <p:spPr>
            <a:xfrm>
              <a:off x="10370219" y="3954367"/>
              <a:ext cx="108970" cy="24618"/>
            </a:xfrm>
            <a:custGeom>
              <a:avLst/>
              <a:gdLst>
                <a:gd name="connsiteX0" fmla="*/ 72520 w 108970"/>
                <a:gd name="connsiteY0" fmla="*/ 22447 h 24618"/>
                <a:gd name="connsiteX1" fmla="*/ 90085 w 108970"/>
                <a:gd name="connsiteY1" fmla="*/ 24618 h 24618"/>
                <a:gd name="connsiteX2" fmla="*/ 108970 w 108970"/>
                <a:gd name="connsiteY2" fmla="*/ 12534 h 24618"/>
                <a:gd name="connsiteX3" fmla="*/ 74544 w 108970"/>
                <a:gd name="connsiteY3" fmla="*/ 8536 h 24618"/>
                <a:gd name="connsiteX4" fmla="*/ 65656 w 108970"/>
                <a:gd name="connsiteY4" fmla="*/ 7286 h 24618"/>
                <a:gd name="connsiteX5" fmla="*/ 14719 w 108970"/>
                <a:gd name="connsiteY5" fmla="*/ 1328 h 24618"/>
                <a:gd name="connsiteX6" fmla="*/ 0 w 108970"/>
                <a:gd name="connsiteY6" fmla="*/ 0 h 24618"/>
                <a:gd name="connsiteX7" fmla="*/ 0 w 108970"/>
                <a:gd name="connsiteY7" fmla="*/ 14108 h 24618"/>
                <a:gd name="connsiteX8" fmla="*/ 13405 w 108970"/>
                <a:gd name="connsiteY8" fmla="*/ 15316 h 24618"/>
                <a:gd name="connsiteX9" fmla="*/ 63696 w 108970"/>
                <a:gd name="connsiteY9" fmla="*/ 21197 h 24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970" h="24618">
                  <a:moveTo>
                    <a:pt x="72520" y="22447"/>
                  </a:moveTo>
                  <a:cubicBezTo>
                    <a:pt x="76975" y="23087"/>
                    <a:pt x="83600" y="23853"/>
                    <a:pt x="90085" y="24618"/>
                  </a:cubicBezTo>
                  <a:cubicBezTo>
                    <a:pt x="96343" y="20529"/>
                    <a:pt x="102638" y="16501"/>
                    <a:pt x="108970" y="12534"/>
                  </a:cubicBezTo>
                  <a:cubicBezTo>
                    <a:pt x="101811" y="11782"/>
                    <a:pt x="83389" y="9815"/>
                    <a:pt x="74544" y="8536"/>
                  </a:cubicBezTo>
                  <a:lnTo>
                    <a:pt x="65656" y="7286"/>
                  </a:lnTo>
                  <a:cubicBezTo>
                    <a:pt x="50410" y="5136"/>
                    <a:pt x="34237" y="3246"/>
                    <a:pt x="14719" y="1328"/>
                  </a:cubicBezTo>
                  <a:lnTo>
                    <a:pt x="0" y="0"/>
                  </a:lnTo>
                  <a:lnTo>
                    <a:pt x="0" y="14108"/>
                  </a:lnTo>
                  <a:lnTo>
                    <a:pt x="13405" y="15316"/>
                  </a:lnTo>
                  <a:cubicBezTo>
                    <a:pt x="32663" y="17213"/>
                    <a:pt x="48647" y="19082"/>
                    <a:pt x="63696" y="21197"/>
                  </a:cubicBezTo>
                  <a:close/>
                </a:path>
              </a:pathLst>
            </a:custGeom>
            <a:solidFill>
              <a:srgbClr val="000000"/>
            </a:solidFill>
            <a:ln w="694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sp>
          <p:nvSpPr>
            <p:cNvPr id="59" name="Freeform: Shape 41">
              <a:extLst>
                <a:ext uri="{FF2B5EF4-FFF2-40B4-BE49-F238E27FC236}">
                  <a16:creationId xmlns:a16="http://schemas.microsoft.com/office/drawing/2014/main" id="{AF009FDE-CA26-CAB0-F4E4-31C4D27B1628}"/>
                </a:ext>
              </a:extLst>
            </p:cNvPr>
            <p:cNvSpPr/>
            <p:nvPr/>
          </p:nvSpPr>
          <p:spPr>
            <a:xfrm>
              <a:off x="10561482" y="3882500"/>
              <a:ext cx="412920" cy="147148"/>
            </a:xfrm>
            <a:custGeom>
              <a:avLst/>
              <a:gdLst>
                <a:gd name="connsiteX0" fmla="*/ 0 w 412920"/>
                <a:gd name="connsiteY0" fmla="*/ 147148 h 147148"/>
                <a:gd name="connsiteX1" fmla="*/ 29733 w 412920"/>
                <a:gd name="connsiteY1" fmla="*/ 147148 h 147148"/>
                <a:gd name="connsiteX2" fmla="*/ 41775 w 412920"/>
                <a:gd name="connsiteY2" fmla="*/ 140692 h 147148"/>
                <a:gd name="connsiteX3" fmla="*/ 412920 w 412920"/>
                <a:gd name="connsiteY3" fmla="*/ 14227 h 147148"/>
                <a:gd name="connsiteX4" fmla="*/ 412920 w 412920"/>
                <a:gd name="connsiteY4" fmla="*/ 0 h 147148"/>
                <a:gd name="connsiteX5" fmla="*/ 35136 w 412920"/>
                <a:gd name="connsiteY5" fmla="*/ 128305 h 14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920" h="147148">
                  <a:moveTo>
                    <a:pt x="0" y="147148"/>
                  </a:moveTo>
                  <a:lnTo>
                    <a:pt x="29733" y="147148"/>
                  </a:lnTo>
                  <a:lnTo>
                    <a:pt x="41775" y="140692"/>
                  </a:lnTo>
                  <a:cubicBezTo>
                    <a:pt x="157705" y="78440"/>
                    <a:pt x="283100" y="35713"/>
                    <a:pt x="412920" y="14227"/>
                  </a:cubicBezTo>
                  <a:lnTo>
                    <a:pt x="412920" y="0"/>
                  </a:lnTo>
                  <a:cubicBezTo>
                    <a:pt x="280770" y="21609"/>
                    <a:pt x="153113" y="64964"/>
                    <a:pt x="35136" y="128305"/>
                  </a:cubicBezTo>
                  <a:close/>
                </a:path>
              </a:pathLst>
            </a:custGeom>
            <a:solidFill>
              <a:srgbClr val="000000"/>
            </a:solidFill>
            <a:ln w="694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sp>
          <p:nvSpPr>
            <p:cNvPr id="60" name="Freeform: Shape 42">
              <a:extLst>
                <a:ext uri="{FF2B5EF4-FFF2-40B4-BE49-F238E27FC236}">
                  <a16:creationId xmlns:a16="http://schemas.microsoft.com/office/drawing/2014/main" id="{6415F8FC-7872-5EAF-3164-23817DB53985}"/>
                </a:ext>
              </a:extLst>
            </p:cNvPr>
            <p:cNvSpPr/>
            <p:nvPr/>
          </p:nvSpPr>
          <p:spPr>
            <a:xfrm>
              <a:off x="10725071" y="3955435"/>
              <a:ext cx="249310" cy="74213"/>
            </a:xfrm>
            <a:custGeom>
              <a:avLst/>
              <a:gdLst>
                <a:gd name="connsiteX0" fmla="*/ 0 w 249310"/>
                <a:gd name="connsiteY0" fmla="*/ 74214 h 74213"/>
                <a:gd name="connsiteX1" fmla="*/ 40630 w 249310"/>
                <a:gd name="connsiteY1" fmla="*/ 74214 h 74213"/>
                <a:gd name="connsiteX2" fmla="*/ 95677 w 249310"/>
                <a:gd name="connsiteY2" fmla="*/ 53937 h 74213"/>
                <a:gd name="connsiteX3" fmla="*/ 249311 w 249310"/>
                <a:gd name="connsiteY3" fmla="*/ 14319 h 74213"/>
                <a:gd name="connsiteX4" fmla="*/ 249311 w 249310"/>
                <a:gd name="connsiteY4" fmla="*/ 0 h 74213"/>
                <a:gd name="connsiteX5" fmla="*/ 91040 w 249310"/>
                <a:gd name="connsiteY5" fmla="*/ 40672 h 7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310" h="74213">
                  <a:moveTo>
                    <a:pt x="0" y="74214"/>
                  </a:moveTo>
                  <a:lnTo>
                    <a:pt x="40630" y="74214"/>
                  </a:lnTo>
                  <a:lnTo>
                    <a:pt x="95677" y="53937"/>
                  </a:lnTo>
                  <a:cubicBezTo>
                    <a:pt x="145970" y="37396"/>
                    <a:pt x="197291" y="24162"/>
                    <a:pt x="249311" y="14319"/>
                  </a:cubicBezTo>
                  <a:lnTo>
                    <a:pt x="249311" y="0"/>
                  </a:lnTo>
                  <a:cubicBezTo>
                    <a:pt x="195710" y="10031"/>
                    <a:pt x="142836" y="23619"/>
                    <a:pt x="91040" y="40672"/>
                  </a:cubicBezTo>
                  <a:close/>
                </a:path>
              </a:pathLst>
            </a:custGeom>
            <a:solidFill>
              <a:srgbClr val="000000"/>
            </a:solidFill>
            <a:ln w="694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sp>
          <p:nvSpPr>
            <p:cNvPr id="61" name="Freeform: Shape 43">
              <a:extLst>
                <a:ext uri="{FF2B5EF4-FFF2-40B4-BE49-F238E27FC236}">
                  <a16:creationId xmlns:a16="http://schemas.microsoft.com/office/drawing/2014/main" id="{87CFECD1-9212-43A2-8782-BB0EBF91A393}"/>
                </a:ext>
              </a:extLst>
            </p:cNvPr>
            <p:cNvSpPr/>
            <p:nvPr/>
          </p:nvSpPr>
          <p:spPr>
            <a:xfrm>
              <a:off x="10423502" y="3673356"/>
              <a:ext cx="550907" cy="356292"/>
            </a:xfrm>
            <a:custGeom>
              <a:avLst/>
              <a:gdLst>
                <a:gd name="connsiteX0" fmla="*/ 472176 w 550907"/>
                <a:gd name="connsiteY0" fmla="*/ 148329 h 356292"/>
                <a:gd name="connsiteX1" fmla="*/ 459530 w 550907"/>
                <a:gd name="connsiteY1" fmla="*/ 150985 h 356292"/>
                <a:gd name="connsiteX2" fmla="*/ 459530 w 550907"/>
                <a:gd name="connsiteY2" fmla="*/ 117233 h 356292"/>
                <a:gd name="connsiteX3" fmla="*/ 495495 w 550907"/>
                <a:gd name="connsiteY3" fmla="*/ 104186 h 356292"/>
                <a:gd name="connsiteX4" fmla="*/ 508471 w 550907"/>
                <a:gd name="connsiteY4" fmla="*/ 60900 h 356292"/>
                <a:gd name="connsiteX5" fmla="*/ 507888 w 550907"/>
                <a:gd name="connsiteY5" fmla="*/ 55469 h 356292"/>
                <a:gd name="connsiteX6" fmla="*/ 502485 w 550907"/>
                <a:gd name="connsiteY6" fmla="*/ 54689 h 356292"/>
                <a:gd name="connsiteX7" fmla="*/ 477431 w 550907"/>
                <a:gd name="connsiteY7" fmla="*/ 56206 h 356292"/>
                <a:gd name="connsiteX8" fmla="*/ 479335 w 550907"/>
                <a:gd name="connsiteY8" fmla="*/ 45886 h 356292"/>
                <a:gd name="connsiteX9" fmla="*/ 457555 w 550907"/>
                <a:gd name="connsiteY9" fmla="*/ 4300 h 356292"/>
                <a:gd name="connsiteX10" fmla="*/ 452827 w 550907"/>
                <a:gd name="connsiteY10" fmla="*/ 0 h 356292"/>
                <a:gd name="connsiteX11" fmla="*/ 448099 w 550907"/>
                <a:gd name="connsiteY11" fmla="*/ 4300 h 356292"/>
                <a:gd name="connsiteX12" fmla="*/ 426319 w 550907"/>
                <a:gd name="connsiteY12" fmla="*/ 46391 h 356292"/>
                <a:gd name="connsiteX13" fmla="*/ 427984 w 550907"/>
                <a:gd name="connsiteY13" fmla="*/ 56122 h 356292"/>
                <a:gd name="connsiteX14" fmla="*/ 402621 w 550907"/>
                <a:gd name="connsiteY14" fmla="*/ 54605 h 356292"/>
                <a:gd name="connsiteX15" fmla="*/ 397225 w 550907"/>
                <a:gd name="connsiteY15" fmla="*/ 55391 h 356292"/>
                <a:gd name="connsiteX16" fmla="*/ 396649 w 550907"/>
                <a:gd name="connsiteY16" fmla="*/ 60808 h 356292"/>
                <a:gd name="connsiteX17" fmla="*/ 409611 w 550907"/>
                <a:gd name="connsiteY17" fmla="*/ 104094 h 356292"/>
                <a:gd name="connsiteX18" fmla="*/ 445443 w 550907"/>
                <a:gd name="connsiteY18" fmla="*/ 117092 h 356292"/>
                <a:gd name="connsiteX19" fmla="*/ 445443 w 550907"/>
                <a:gd name="connsiteY19" fmla="*/ 154244 h 356292"/>
                <a:gd name="connsiteX20" fmla="*/ 5698 w 550907"/>
                <a:gd name="connsiteY20" fmla="*/ 352175 h 356292"/>
                <a:gd name="connsiteX21" fmla="*/ 0 w 550907"/>
                <a:gd name="connsiteY21" fmla="*/ 356293 h 356292"/>
                <a:gd name="connsiteX22" fmla="*/ 24492 w 550907"/>
                <a:gd name="connsiteY22" fmla="*/ 356293 h 356292"/>
                <a:gd name="connsiteX23" fmla="*/ 461033 w 550907"/>
                <a:gd name="connsiteY23" fmla="*/ 165043 h 356292"/>
                <a:gd name="connsiteX24" fmla="*/ 475085 w 550907"/>
                <a:gd name="connsiteY24" fmla="*/ 162092 h 356292"/>
                <a:gd name="connsiteX25" fmla="*/ 550907 w 550907"/>
                <a:gd name="connsiteY25" fmla="*/ 148743 h 356292"/>
                <a:gd name="connsiteX26" fmla="*/ 550907 w 550907"/>
                <a:gd name="connsiteY26" fmla="*/ 134551 h 356292"/>
                <a:gd name="connsiteX27" fmla="*/ 472176 w 550907"/>
                <a:gd name="connsiteY27" fmla="*/ 148329 h 356292"/>
                <a:gd name="connsiteX28" fmla="*/ 494659 w 550907"/>
                <a:gd name="connsiteY28" fmla="*/ 68235 h 356292"/>
                <a:gd name="connsiteX29" fmla="*/ 485778 w 550907"/>
                <a:gd name="connsiteY29" fmla="*/ 94054 h 356292"/>
                <a:gd name="connsiteX30" fmla="*/ 462347 w 550907"/>
                <a:gd name="connsiteY30" fmla="*/ 102907 h 356292"/>
                <a:gd name="connsiteX31" fmla="*/ 462670 w 550907"/>
                <a:gd name="connsiteY31" fmla="*/ 84872 h 356292"/>
                <a:gd name="connsiteX32" fmla="*/ 468523 w 550907"/>
                <a:gd name="connsiteY32" fmla="*/ 76132 h 356292"/>
                <a:gd name="connsiteX33" fmla="*/ 493907 w 550907"/>
                <a:gd name="connsiteY33" fmla="*/ 68235 h 356292"/>
                <a:gd name="connsiteX34" fmla="*/ 452855 w 550907"/>
                <a:gd name="connsiteY34" fmla="*/ 19658 h 356292"/>
                <a:gd name="connsiteX35" fmla="*/ 465340 w 550907"/>
                <a:gd name="connsiteY35" fmla="*/ 45352 h 356292"/>
                <a:gd name="connsiteX36" fmla="*/ 454801 w 550907"/>
                <a:gd name="connsiteY36" fmla="*/ 68115 h 356292"/>
                <a:gd name="connsiteX37" fmla="*/ 450263 w 550907"/>
                <a:gd name="connsiteY37" fmla="*/ 67511 h 356292"/>
                <a:gd name="connsiteX38" fmla="*/ 440356 w 550907"/>
                <a:gd name="connsiteY38" fmla="*/ 45879 h 356292"/>
                <a:gd name="connsiteX39" fmla="*/ 452855 w 550907"/>
                <a:gd name="connsiteY39" fmla="*/ 19658 h 356292"/>
                <a:gd name="connsiteX40" fmla="*/ 443328 w 550907"/>
                <a:gd name="connsiteY40" fmla="*/ 102837 h 356292"/>
                <a:gd name="connsiteX41" fmla="*/ 419384 w 550907"/>
                <a:gd name="connsiteY41" fmla="*/ 93963 h 356292"/>
                <a:gd name="connsiteX42" fmla="*/ 410511 w 550907"/>
                <a:gd name="connsiteY42" fmla="*/ 68150 h 356292"/>
                <a:gd name="connsiteX43" fmla="*/ 436555 w 550907"/>
                <a:gd name="connsiteY43" fmla="*/ 75879 h 356292"/>
                <a:gd name="connsiteX44" fmla="*/ 442710 w 550907"/>
                <a:gd name="connsiteY44" fmla="*/ 85237 h 356292"/>
                <a:gd name="connsiteX45" fmla="*/ 443328 w 550907"/>
                <a:gd name="connsiteY45" fmla="*/ 102837 h 35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50907" h="356292">
                  <a:moveTo>
                    <a:pt x="472176" y="148329"/>
                  </a:moveTo>
                  <a:lnTo>
                    <a:pt x="459530" y="150985"/>
                  </a:lnTo>
                  <a:lnTo>
                    <a:pt x="459530" y="117233"/>
                  </a:lnTo>
                  <a:cubicBezTo>
                    <a:pt x="472652" y="117099"/>
                    <a:pt x="485338" y="112497"/>
                    <a:pt x="495495" y="104186"/>
                  </a:cubicBezTo>
                  <a:cubicBezTo>
                    <a:pt x="511261" y="89038"/>
                    <a:pt x="508591" y="62031"/>
                    <a:pt x="508471" y="60900"/>
                  </a:cubicBezTo>
                  <a:lnTo>
                    <a:pt x="507888" y="55469"/>
                  </a:lnTo>
                  <a:lnTo>
                    <a:pt x="502485" y="54689"/>
                  </a:lnTo>
                  <a:cubicBezTo>
                    <a:pt x="494110" y="53710"/>
                    <a:pt x="485628" y="54224"/>
                    <a:pt x="477431" y="56206"/>
                  </a:cubicBezTo>
                  <a:cubicBezTo>
                    <a:pt x="478421" y="52841"/>
                    <a:pt x="479059" y="49382"/>
                    <a:pt x="479335" y="45886"/>
                  </a:cubicBezTo>
                  <a:cubicBezTo>
                    <a:pt x="479335" y="24365"/>
                    <a:pt x="458434" y="5136"/>
                    <a:pt x="457555" y="4300"/>
                  </a:cubicBezTo>
                  <a:lnTo>
                    <a:pt x="452827" y="0"/>
                  </a:lnTo>
                  <a:lnTo>
                    <a:pt x="448099" y="4300"/>
                  </a:lnTo>
                  <a:cubicBezTo>
                    <a:pt x="447206" y="5108"/>
                    <a:pt x="426319" y="24365"/>
                    <a:pt x="426319" y="46391"/>
                  </a:cubicBezTo>
                  <a:cubicBezTo>
                    <a:pt x="426566" y="49680"/>
                    <a:pt x="427123" y="52938"/>
                    <a:pt x="427984" y="56122"/>
                  </a:cubicBezTo>
                  <a:cubicBezTo>
                    <a:pt x="419689" y="54099"/>
                    <a:pt x="411098" y="53585"/>
                    <a:pt x="402621" y="54605"/>
                  </a:cubicBezTo>
                  <a:lnTo>
                    <a:pt x="397225" y="55391"/>
                  </a:lnTo>
                  <a:lnTo>
                    <a:pt x="396649" y="60808"/>
                  </a:lnTo>
                  <a:cubicBezTo>
                    <a:pt x="396529" y="61954"/>
                    <a:pt x="393838" y="88947"/>
                    <a:pt x="409611" y="104094"/>
                  </a:cubicBezTo>
                  <a:cubicBezTo>
                    <a:pt x="419726" y="112382"/>
                    <a:pt x="432367" y="116967"/>
                    <a:pt x="445443" y="117092"/>
                  </a:cubicBezTo>
                  <a:lnTo>
                    <a:pt x="445443" y="154244"/>
                  </a:lnTo>
                  <a:cubicBezTo>
                    <a:pt x="287267" y="190650"/>
                    <a:pt x="137831" y="257912"/>
                    <a:pt x="5698" y="352175"/>
                  </a:cubicBezTo>
                  <a:lnTo>
                    <a:pt x="0" y="356293"/>
                  </a:lnTo>
                  <a:lnTo>
                    <a:pt x="24492" y="356293"/>
                  </a:lnTo>
                  <a:cubicBezTo>
                    <a:pt x="156011" y="264453"/>
                    <a:pt x="304358" y="199463"/>
                    <a:pt x="461033" y="165043"/>
                  </a:cubicBezTo>
                  <a:lnTo>
                    <a:pt x="475085" y="162092"/>
                  </a:lnTo>
                  <a:cubicBezTo>
                    <a:pt x="501080" y="156682"/>
                    <a:pt x="526486" y="152256"/>
                    <a:pt x="550907" y="148743"/>
                  </a:cubicBezTo>
                  <a:lnTo>
                    <a:pt x="550907" y="134551"/>
                  </a:lnTo>
                  <a:cubicBezTo>
                    <a:pt x="525572" y="138127"/>
                    <a:pt x="499197" y="142708"/>
                    <a:pt x="472176" y="148329"/>
                  </a:cubicBezTo>
                  <a:close/>
                  <a:moveTo>
                    <a:pt x="494659" y="68235"/>
                  </a:moveTo>
                  <a:cubicBezTo>
                    <a:pt x="494987" y="77642"/>
                    <a:pt x="491824" y="86839"/>
                    <a:pt x="485778" y="94054"/>
                  </a:cubicBezTo>
                  <a:cubicBezTo>
                    <a:pt x="479073" y="99361"/>
                    <a:pt x="470885" y="102454"/>
                    <a:pt x="462347" y="102907"/>
                  </a:cubicBezTo>
                  <a:cubicBezTo>
                    <a:pt x="461601" y="96910"/>
                    <a:pt x="461710" y="90838"/>
                    <a:pt x="462670" y="84872"/>
                  </a:cubicBezTo>
                  <a:cubicBezTo>
                    <a:pt x="463947" y="81560"/>
                    <a:pt x="465947" y="78574"/>
                    <a:pt x="468523" y="76132"/>
                  </a:cubicBezTo>
                  <a:cubicBezTo>
                    <a:pt x="475741" y="70498"/>
                    <a:pt x="484766" y="67689"/>
                    <a:pt x="493907" y="68235"/>
                  </a:cubicBezTo>
                  <a:close/>
                  <a:moveTo>
                    <a:pt x="452855" y="19658"/>
                  </a:moveTo>
                  <a:cubicBezTo>
                    <a:pt x="459662" y="26664"/>
                    <a:pt x="464038" y="35671"/>
                    <a:pt x="465340" y="45352"/>
                  </a:cubicBezTo>
                  <a:cubicBezTo>
                    <a:pt x="464543" y="53924"/>
                    <a:pt x="460822" y="61961"/>
                    <a:pt x="454801" y="68115"/>
                  </a:cubicBezTo>
                  <a:cubicBezTo>
                    <a:pt x="453263" y="68388"/>
                    <a:pt x="451677" y="68177"/>
                    <a:pt x="450263" y="67511"/>
                  </a:cubicBezTo>
                  <a:cubicBezTo>
                    <a:pt x="444354" y="61805"/>
                    <a:pt x="440816" y="54080"/>
                    <a:pt x="440356" y="45879"/>
                  </a:cubicBezTo>
                  <a:cubicBezTo>
                    <a:pt x="441572" y="36015"/>
                    <a:pt x="445959" y="26814"/>
                    <a:pt x="452855" y="19658"/>
                  </a:cubicBezTo>
                  <a:close/>
                  <a:moveTo>
                    <a:pt x="443328" y="102837"/>
                  </a:moveTo>
                  <a:cubicBezTo>
                    <a:pt x="434615" y="102455"/>
                    <a:pt x="426241" y="99352"/>
                    <a:pt x="419384" y="93963"/>
                  </a:cubicBezTo>
                  <a:cubicBezTo>
                    <a:pt x="413350" y="86744"/>
                    <a:pt x="410190" y="77554"/>
                    <a:pt x="410511" y="68150"/>
                  </a:cubicBezTo>
                  <a:cubicBezTo>
                    <a:pt x="419846" y="67439"/>
                    <a:pt x="429118" y="70191"/>
                    <a:pt x="436555" y="75879"/>
                  </a:cubicBezTo>
                  <a:cubicBezTo>
                    <a:pt x="439170" y="78589"/>
                    <a:pt x="441257" y="81763"/>
                    <a:pt x="442710" y="85237"/>
                  </a:cubicBezTo>
                  <a:cubicBezTo>
                    <a:pt x="444261" y="90979"/>
                    <a:pt x="444473" y="97000"/>
                    <a:pt x="443328" y="102837"/>
                  </a:cubicBezTo>
                  <a:close/>
                </a:path>
              </a:pathLst>
            </a:custGeom>
            <a:solidFill>
              <a:srgbClr val="000000"/>
            </a:solidFill>
            <a:ln w="694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grpSp>
      <p:pic>
        <p:nvPicPr>
          <p:cNvPr id="23" name="Graphic 60" descr="Statistics outline">
            <a:extLst>
              <a:ext uri="{FF2B5EF4-FFF2-40B4-BE49-F238E27FC236}">
                <a16:creationId xmlns:a16="http://schemas.microsoft.com/office/drawing/2014/main" id="{E2443DFF-B876-1DB6-1FBB-B3F49DDB3D3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552638" y="2848893"/>
            <a:ext cx="457200" cy="457200"/>
          </a:xfrm>
          <a:prstGeom prst="rect">
            <a:avLst/>
          </a:prstGeom>
        </p:spPr>
      </p:pic>
      <p:grpSp>
        <p:nvGrpSpPr>
          <p:cNvPr id="24" name="Group 1040">
            <a:extLst>
              <a:ext uri="{FF2B5EF4-FFF2-40B4-BE49-F238E27FC236}">
                <a16:creationId xmlns:a16="http://schemas.microsoft.com/office/drawing/2014/main" id="{77BAC37B-B930-9F07-C388-32E25F7303C0}"/>
              </a:ext>
            </a:extLst>
          </p:cNvPr>
          <p:cNvGrpSpPr/>
          <p:nvPr/>
        </p:nvGrpSpPr>
        <p:grpSpPr>
          <a:xfrm>
            <a:off x="10409695" y="2924960"/>
            <a:ext cx="342901" cy="304799"/>
            <a:chOff x="11242379" y="3246582"/>
            <a:chExt cx="647700" cy="647700"/>
          </a:xfrm>
        </p:grpSpPr>
        <p:sp>
          <p:nvSpPr>
            <p:cNvPr id="51" name="Freeform: Shape 1031">
              <a:extLst>
                <a:ext uri="{FF2B5EF4-FFF2-40B4-BE49-F238E27FC236}">
                  <a16:creationId xmlns:a16="http://schemas.microsoft.com/office/drawing/2014/main" id="{93908925-BD88-A67C-C3A6-464EC4E36252}"/>
                </a:ext>
              </a:extLst>
            </p:cNvPr>
            <p:cNvSpPr/>
            <p:nvPr/>
          </p:nvSpPr>
          <p:spPr>
            <a:xfrm>
              <a:off x="11413829" y="3589482"/>
              <a:ext cx="133350" cy="304800"/>
            </a:xfrm>
            <a:custGeom>
              <a:avLst/>
              <a:gdLst>
                <a:gd name="connsiteX0" fmla="*/ 0 w 133350"/>
                <a:gd name="connsiteY0" fmla="*/ 0 h 304800"/>
                <a:gd name="connsiteX1" fmla="*/ 133350 w 133350"/>
                <a:gd name="connsiteY1" fmla="*/ 0 h 304800"/>
                <a:gd name="connsiteX2" fmla="*/ 133350 w 133350"/>
                <a:gd name="connsiteY2" fmla="*/ 304800 h 304800"/>
                <a:gd name="connsiteX3" fmla="*/ 0 w 13335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133350" h="304800">
                  <a:moveTo>
                    <a:pt x="0" y="0"/>
                  </a:moveTo>
                  <a:lnTo>
                    <a:pt x="133350" y="0"/>
                  </a:lnTo>
                  <a:lnTo>
                    <a:pt x="133350" y="304800"/>
                  </a:lnTo>
                  <a:lnTo>
                    <a:pt x="0" y="304800"/>
                  </a:lnTo>
                  <a:close/>
                </a:path>
              </a:pathLst>
            </a:custGeom>
            <a:solidFill>
              <a:schemeClr val="accent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sp>
          <p:nvSpPr>
            <p:cNvPr id="52" name="Freeform: Shape 1032">
              <a:extLst>
                <a:ext uri="{FF2B5EF4-FFF2-40B4-BE49-F238E27FC236}">
                  <a16:creationId xmlns:a16="http://schemas.microsoft.com/office/drawing/2014/main" id="{D0665136-2478-9676-6F01-D7B67EB559B7}"/>
                </a:ext>
              </a:extLst>
            </p:cNvPr>
            <p:cNvSpPr/>
            <p:nvPr/>
          </p:nvSpPr>
          <p:spPr>
            <a:xfrm>
              <a:off x="11585279" y="3418032"/>
              <a:ext cx="133350" cy="476250"/>
            </a:xfrm>
            <a:custGeom>
              <a:avLst/>
              <a:gdLst>
                <a:gd name="connsiteX0" fmla="*/ 0 w 133350"/>
                <a:gd name="connsiteY0" fmla="*/ 0 h 476250"/>
                <a:gd name="connsiteX1" fmla="*/ 133350 w 133350"/>
                <a:gd name="connsiteY1" fmla="*/ 0 h 476250"/>
                <a:gd name="connsiteX2" fmla="*/ 133350 w 133350"/>
                <a:gd name="connsiteY2" fmla="*/ 476250 h 476250"/>
                <a:gd name="connsiteX3" fmla="*/ 0 w 133350"/>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3350" h="476250">
                  <a:moveTo>
                    <a:pt x="0" y="0"/>
                  </a:moveTo>
                  <a:lnTo>
                    <a:pt x="133350" y="0"/>
                  </a:lnTo>
                  <a:lnTo>
                    <a:pt x="133350" y="476250"/>
                  </a:lnTo>
                  <a:lnTo>
                    <a:pt x="0" y="476250"/>
                  </a:lnTo>
                  <a:close/>
                </a:path>
              </a:pathLst>
            </a:custGeom>
            <a:solidFill>
              <a:schemeClr val="accent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sp>
          <p:nvSpPr>
            <p:cNvPr id="53" name="Freeform: Shape 1033">
              <a:extLst>
                <a:ext uri="{FF2B5EF4-FFF2-40B4-BE49-F238E27FC236}">
                  <a16:creationId xmlns:a16="http://schemas.microsoft.com/office/drawing/2014/main" id="{DC4D0285-2385-6CCE-63EC-A35C46A0224D}"/>
                </a:ext>
              </a:extLst>
            </p:cNvPr>
            <p:cNvSpPr/>
            <p:nvPr/>
          </p:nvSpPr>
          <p:spPr>
            <a:xfrm>
              <a:off x="11756729" y="3246582"/>
              <a:ext cx="133350" cy="647700"/>
            </a:xfrm>
            <a:custGeom>
              <a:avLst/>
              <a:gdLst>
                <a:gd name="connsiteX0" fmla="*/ 0 w 133350"/>
                <a:gd name="connsiteY0" fmla="*/ 0 h 647700"/>
                <a:gd name="connsiteX1" fmla="*/ 133350 w 133350"/>
                <a:gd name="connsiteY1" fmla="*/ 0 h 647700"/>
                <a:gd name="connsiteX2" fmla="*/ 133350 w 133350"/>
                <a:gd name="connsiteY2" fmla="*/ 647700 h 647700"/>
                <a:gd name="connsiteX3" fmla="*/ 0 w 133350"/>
                <a:gd name="connsiteY3" fmla="*/ 647700 h 647700"/>
              </a:gdLst>
              <a:ahLst/>
              <a:cxnLst>
                <a:cxn ang="0">
                  <a:pos x="connsiteX0" y="connsiteY0"/>
                </a:cxn>
                <a:cxn ang="0">
                  <a:pos x="connsiteX1" y="connsiteY1"/>
                </a:cxn>
                <a:cxn ang="0">
                  <a:pos x="connsiteX2" y="connsiteY2"/>
                </a:cxn>
                <a:cxn ang="0">
                  <a:pos x="connsiteX3" y="connsiteY3"/>
                </a:cxn>
              </a:cxnLst>
              <a:rect l="l" t="t" r="r" b="b"/>
              <a:pathLst>
                <a:path w="133350" h="647700">
                  <a:moveTo>
                    <a:pt x="0" y="0"/>
                  </a:moveTo>
                  <a:lnTo>
                    <a:pt x="133350" y="0"/>
                  </a:lnTo>
                  <a:lnTo>
                    <a:pt x="133350" y="647700"/>
                  </a:lnTo>
                  <a:lnTo>
                    <a:pt x="0" y="647700"/>
                  </a:lnTo>
                  <a:close/>
                </a:path>
              </a:pathLst>
            </a:custGeom>
            <a:noFill/>
            <a:ln w="9525" cap="flat">
              <a:solidFill>
                <a:schemeClr val="tx1"/>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sp>
          <p:nvSpPr>
            <p:cNvPr id="54" name="Freeform: Shape 1034">
              <a:extLst>
                <a:ext uri="{FF2B5EF4-FFF2-40B4-BE49-F238E27FC236}">
                  <a16:creationId xmlns:a16="http://schemas.microsoft.com/office/drawing/2014/main" id="{C2E39BA0-637C-1B5D-1C7D-1EE108F721B4}"/>
                </a:ext>
              </a:extLst>
            </p:cNvPr>
            <p:cNvSpPr/>
            <p:nvPr/>
          </p:nvSpPr>
          <p:spPr>
            <a:xfrm>
              <a:off x="11242379" y="3760932"/>
              <a:ext cx="133350" cy="133350"/>
            </a:xfrm>
            <a:custGeom>
              <a:avLst/>
              <a:gdLst>
                <a:gd name="connsiteX0" fmla="*/ 0 w 133350"/>
                <a:gd name="connsiteY0" fmla="*/ 0 h 133350"/>
                <a:gd name="connsiteX1" fmla="*/ 133350 w 133350"/>
                <a:gd name="connsiteY1" fmla="*/ 0 h 133350"/>
                <a:gd name="connsiteX2" fmla="*/ 133350 w 133350"/>
                <a:gd name="connsiteY2" fmla="*/ 133350 h 133350"/>
                <a:gd name="connsiteX3" fmla="*/ 0 w 133350"/>
                <a:gd name="connsiteY3" fmla="*/ 133350 h 133350"/>
              </a:gdLst>
              <a:ahLst/>
              <a:cxnLst>
                <a:cxn ang="0">
                  <a:pos x="connsiteX0" y="connsiteY0"/>
                </a:cxn>
                <a:cxn ang="0">
                  <a:pos x="connsiteX1" y="connsiteY1"/>
                </a:cxn>
                <a:cxn ang="0">
                  <a:pos x="connsiteX2" y="connsiteY2"/>
                </a:cxn>
                <a:cxn ang="0">
                  <a:pos x="connsiteX3" y="connsiteY3"/>
                </a:cxn>
              </a:cxnLst>
              <a:rect l="l" t="t" r="r" b="b"/>
              <a:pathLst>
                <a:path w="133350" h="133350">
                  <a:moveTo>
                    <a:pt x="0" y="0"/>
                  </a:moveTo>
                  <a:lnTo>
                    <a:pt x="133350" y="0"/>
                  </a:lnTo>
                  <a:lnTo>
                    <a:pt x="133350" y="133350"/>
                  </a:lnTo>
                  <a:lnTo>
                    <a:pt x="0" y="133350"/>
                  </a:lnTo>
                  <a:close/>
                </a:path>
              </a:pathLst>
            </a:custGeom>
            <a:solidFill>
              <a:schemeClr val="accent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grpSp>
      <p:pic>
        <p:nvPicPr>
          <p:cNvPr id="25" name="Grafik 24">
            <a:extLst>
              <a:ext uri="{FF2B5EF4-FFF2-40B4-BE49-F238E27FC236}">
                <a16:creationId xmlns:a16="http://schemas.microsoft.com/office/drawing/2014/main" id="{D29AD1F6-5F9C-ABB2-CDF1-25E4629284D7}"/>
              </a:ext>
            </a:extLst>
          </p:cNvPr>
          <p:cNvPicPr>
            <a:picLocks noChangeAspect="1"/>
          </p:cNvPicPr>
          <p:nvPr/>
        </p:nvPicPr>
        <p:blipFill>
          <a:blip r:embed="rId12">
            <a:clrChange>
              <a:clrFrom>
                <a:srgbClr val="FFFFFF"/>
              </a:clrFrom>
              <a:clrTo>
                <a:srgbClr val="FFFFFF">
                  <a:alpha val="0"/>
                </a:srgbClr>
              </a:clrTo>
            </a:clrChange>
          </a:blip>
          <a:srcRect l="6429"/>
          <a:stretch/>
        </p:blipFill>
        <p:spPr>
          <a:xfrm rot="19412120">
            <a:off x="4640732" y="3861332"/>
            <a:ext cx="504129" cy="836367"/>
          </a:xfrm>
          <a:prstGeom prst="rect">
            <a:avLst/>
          </a:prstGeom>
        </p:spPr>
      </p:pic>
      <p:pic>
        <p:nvPicPr>
          <p:cNvPr id="26" name="Grafik 25">
            <a:extLst>
              <a:ext uri="{FF2B5EF4-FFF2-40B4-BE49-F238E27FC236}">
                <a16:creationId xmlns:a16="http://schemas.microsoft.com/office/drawing/2014/main" id="{748CBCD1-B999-C830-A7FC-4FD9253FF279}"/>
              </a:ext>
            </a:extLst>
          </p:cNvPr>
          <p:cNvPicPr>
            <a:picLocks noChangeAspect="1"/>
          </p:cNvPicPr>
          <p:nvPr/>
        </p:nvPicPr>
        <p:blipFill>
          <a:blip r:embed="rId12">
            <a:clrChange>
              <a:clrFrom>
                <a:srgbClr val="FFFFFF"/>
              </a:clrFrom>
              <a:clrTo>
                <a:srgbClr val="FFFFFF">
                  <a:alpha val="0"/>
                </a:srgbClr>
              </a:clrTo>
            </a:clrChange>
          </a:blip>
          <a:srcRect l="6429"/>
          <a:stretch/>
        </p:blipFill>
        <p:spPr>
          <a:xfrm rot="8570189">
            <a:off x="6016610" y="2796365"/>
            <a:ext cx="504129" cy="836367"/>
          </a:xfrm>
          <a:prstGeom prst="rect">
            <a:avLst/>
          </a:prstGeom>
        </p:spPr>
      </p:pic>
      <p:pic>
        <p:nvPicPr>
          <p:cNvPr id="27" name="Grafik 26">
            <a:extLst>
              <a:ext uri="{FF2B5EF4-FFF2-40B4-BE49-F238E27FC236}">
                <a16:creationId xmlns:a16="http://schemas.microsoft.com/office/drawing/2014/main" id="{651E4FCA-DA50-E816-8EDD-E76788B3F727}"/>
              </a:ext>
            </a:extLst>
          </p:cNvPr>
          <p:cNvPicPr>
            <a:picLocks noChangeAspect="1"/>
          </p:cNvPicPr>
          <p:nvPr/>
        </p:nvPicPr>
        <p:blipFill>
          <a:blip r:embed="rId12">
            <a:clrChange>
              <a:clrFrom>
                <a:srgbClr val="FFFFFF"/>
              </a:clrFrom>
              <a:clrTo>
                <a:srgbClr val="FFFFFF">
                  <a:alpha val="0"/>
                </a:srgbClr>
              </a:clrTo>
            </a:clrChange>
            <a:duotone>
              <a:prstClr val="black"/>
              <a:schemeClr val="accent2">
                <a:tint val="45000"/>
                <a:satMod val="400000"/>
              </a:schemeClr>
            </a:duotone>
          </a:blip>
          <a:srcRect l="6429"/>
          <a:stretch/>
        </p:blipFill>
        <p:spPr>
          <a:xfrm rot="8570189">
            <a:off x="6016610" y="2796366"/>
            <a:ext cx="504129" cy="836367"/>
          </a:xfrm>
          <a:prstGeom prst="rect">
            <a:avLst/>
          </a:prstGeom>
        </p:spPr>
      </p:pic>
      <p:pic>
        <p:nvPicPr>
          <p:cNvPr id="28" name="Grafik 27">
            <a:extLst>
              <a:ext uri="{FF2B5EF4-FFF2-40B4-BE49-F238E27FC236}">
                <a16:creationId xmlns:a16="http://schemas.microsoft.com/office/drawing/2014/main" id="{AF5CC2FE-E708-4061-5AB8-576CBDE1A739}"/>
              </a:ext>
            </a:extLst>
          </p:cNvPr>
          <p:cNvPicPr>
            <a:picLocks noChangeAspect="1"/>
          </p:cNvPicPr>
          <p:nvPr/>
        </p:nvPicPr>
        <p:blipFill>
          <a:blip r:embed="rId12">
            <a:clrChange>
              <a:clrFrom>
                <a:srgbClr val="FFFFFF"/>
              </a:clrFrom>
              <a:clrTo>
                <a:srgbClr val="FFFFFF">
                  <a:alpha val="0"/>
                </a:srgbClr>
              </a:clrTo>
            </a:clrChange>
            <a:duotone>
              <a:prstClr val="black"/>
              <a:srgbClr val="FF0000">
                <a:tint val="45000"/>
                <a:satMod val="400000"/>
              </a:srgbClr>
            </a:duotone>
          </a:blip>
          <a:srcRect l="6429"/>
          <a:stretch/>
        </p:blipFill>
        <p:spPr>
          <a:xfrm rot="8570189">
            <a:off x="6016609" y="2811582"/>
            <a:ext cx="504129" cy="836367"/>
          </a:xfrm>
          <a:prstGeom prst="rect">
            <a:avLst/>
          </a:prstGeom>
        </p:spPr>
      </p:pic>
      <p:grpSp>
        <p:nvGrpSpPr>
          <p:cNvPr id="29" name="Group 1040">
            <a:extLst>
              <a:ext uri="{FF2B5EF4-FFF2-40B4-BE49-F238E27FC236}">
                <a16:creationId xmlns:a16="http://schemas.microsoft.com/office/drawing/2014/main" id="{2A917310-E697-8ADE-F327-D34BB68ABE54}"/>
              </a:ext>
            </a:extLst>
          </p:cNvPr>
          <p:cNvGrpSpPr/>
          <p:nvPr/>
        </p:nvGrpSpPr>
        <p:grpSpPr>
          <a:xfrm>
            <a:off x="10409695" y="2926782"/>
            <a:ext cx="342901" cy="304799"/>
            <a:chOff x="11242379" y="3248404"/>
            <a:chExt cx="647700" cy="647700"/>
          </a:xfrm>
        </p:grpSpPr>
        <p:sp>
          <p:nvSpPr>
            <p:cNvPr id="47" name="Freeform: Shape 1031">
              <a:extLst>
                <a:ext uri="{FF2B5EF4-FFF2-40B4-BE49-F238E27FC236}">
                  <a16:creationId xmlns:a16="http://schemas.microsoft.com/office/drawing/2014/main" id="{EAC1FA6C-F9C5-436E-F60B-0E8C11C6DEB0}"/>
                </a:ext>
              </a:extLst>
            </p:cNvPr>
            <p:cNvSpPr/>
            <p:nvPr/>
          </p:nvSpPr>
          <p:spPr>
            <a:xfrm>
              <a:off x="11413829" y="3591304"/>
              <a:ext cx="133350" cy="304800"/>
            </a:xfrm>
            <a:custGeom>
              <a:avLst/>
              <a:gdLst>
                <a:gd name="connsiteX0" fmla="*/ 0 w 133350"/>
                <a:gd name="connsiteY0" fmla="*/ 0 h 304800"/>
                <a:gd name="connsiteX1" fmla="*/ 133350 w 133350"/>
                <a:gd name="connsiteY1" fmla="*/ 0 h 304800"/>
                <a:gd name="connsiteX2" fmla="*/ 133350 w 133350"/>
                <a:gd name="connsiteY2" fmla="*/ 304800 h 304800"/>
                <a:gd name="connsiteX3" fmla="*/ 0 w 13335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133350" h="304800">
                  <a:moveTo>
                    <a:pt x="0" y="0"/>
                  </a:moveTo>
                  <a:lnTo>
                    <a:pt x="133350" y="0"/>
                  </a:lnTo>
                  <a:lnTo>
                    <a:pt x="133350" y="304800"/>
                  </a:lnTo>
                  <a:lnTo>
                    <a:pt x="0" y="304800"/>
                  </a:lnTo>
                  <a:close/>
                </a:path>
              </a:pathLst>
            </a:custGeom>
            <a:solidFill>
              <a:srgbClr val="91913D"/>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sp>
          <p:nvSpPr>
            <p:cNvPr id="48" name="Freeform: Shape 1032">
              <a:extLst>
                <a:ext uri="{FF2B5EF4-FFF2-40B4-BE49-F238E27FC236}">
                  <a16:creationId xmlns:a16="http://schemas.microsoft.com/office/drawing/2014/main" id="{A4FF1ACC-EEF0-E23A-9937-BB6566C3BE5A}"/>
                </a:ext>
              </a:extLst>
            </p:cNvPr>
            <p:cNvSpPr/>
            <p:nvPr/>
          </p:nvSpPr>
          <p:spPr>
            <a:xfrm>
              <a:off x="11585279" y="3419854"/>
              <a:ext cx="133350" cy="476250"/>
            </a:xfrm>
            <a:custGeom>
              <a:avLst/>
              <a:gdLst>
                <a:gd name="connsiteX0" fmla="*/ 0 w 133350"/>
                <a:gd name="connsiteY0" fmla="*/ 0 h 476250"/>
                <a:gd name="connsiteX1" fmla="*/ 133350 w 133350"/>
                <a:gd name="connsiteY1" fmla="*/ 0 h 476250"/>
                <a:gd name="connsiteX2" fmla="*/ 133350 w 133350"/>
                <a:gd name="connsiteY2" fmla="*/ 476250 h 476250"/>
                <a:gd name="connsiteX3" fmla="*/ 0 w 133350"/>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3350" h="476250">
                  <a:moveTo>
                    <a:pt x="0" y="0"/>
                  </a:moveTo>
                  <a:lnTo>
                    <a:pt x="133350" y="0"/>
                  </a:lnTo>
                  <a:lnTo>
                    <a:pt x="133350" y="476250"/>
                  </a:lnTo>
                  <a:lnTo>
                    <a:pt x="0" y="476250"/>
                  </a:lnTo>
                  <a:close/>
                </a:path>
              </a:pathLst>
            </a:custGeom>
            <a:solidFill>
              <a:schemeClr val="bg1"/>
            </a:solidFill>
            <a:ln w="9525" cap="flat">
              <a:solidFill>
                <a:schemeClr val="tx1"/>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sp>
          <p:nvSpPr>
            <p:cNvPr id="49" name="Freeform: Shape 1033">
              <a:extLst>
                <a:ext uri="{FF2B5EF4-FFF2-40B4-BE49-F238E27FC236}">
                  <a16:creationId xmlns:a16="http://schemas.microsoft.com/office/drawing/2014/main" id="{4E67DEFE-903F-071E-392F-950221694DA5}"/>
                </a:ext>
              </a:extLst>
            </p:cNvPr>
            <p:cNvSpPr/>
            <p:nvPr/>
          </p:nvSpPr>
          <p:spPr>
            <a:xfrm>
              <a:off x="11756729" y="3248404"/>
              <a:ext cx="133350" cy="647700"/>
            </a:xfrm>
            <a:custGeom>
              <a:avLst/>
              <a:gdLst>
                <a:gd name="connsiteX0" fmla="*/ 0 w 133350"/>
                <a:gd name="connsiteY0" fmla="*/ 0 h 647700"/>
                <a:gd name="connsiteX1" fmla="*/ 133350 w 133350"/>
                <a:gd name="connsiteY1" fmla="*/ 0 h 647700"/>
                <a:gd name="connsiteX2" fmla="*/ 133350 w 133350"/>
                <a:gd name="connsiteY2" fmla="*/ 647700 h 647700"/>
                <a:gd name="connsiteX3" fmla="*/ 0 w 133350"/>
                <a:gd name="connsiteY3" fmla="*/ 647700 h 647700"/>
              </a:gdLst>
              <a:ahLst/>
              <a:cxnLst>
                <a:cxn ang="0">
                  <a:pos x="connsiteX0" y="connsiteY0"/>
                </a:cxn>
                <a:cxn ang="0">
                  <a:pos x="connsiteX1" y="connsiteY1"/>
                </a:cxn>
                <a:cxn ang="0">
                  <a:pos x="connsiteX2" y="connsiteY2"/>
                </a:cxn>
                <a:cxn ang="0">
                  <a:pos x="connsiteX3" y="connsiteY3"/>
                </a:cxn>
              </a:cxnLst>
              <a:rect l="l" t="t" r="r" b="b"/>
              <a:pathLst>
                <a:path w="133350" h="647700">
                  <a:moveTo>
                    <a:pt x="0" y="0"/>
                  </a:moveTo>
                  <a:lnTo>
                    <a:pt x="133350" y="0"/>
                  </a:lnTo>
                  <a:lnTo>
                    <a:pt x="133350" y="647700"/>
                  </a:lnTo>
                  <a:lnTo>
                    <a:pt x="0" y="647700"/>
                  </a:lnTo>
                  <a:close/>
                </a:path>
              </a:pathLst>
            </a:custGeom>
            <a:noFill/>
            <a:ln w="9525" cap="flat">
              <a:solidFill>
                <a:schemeClr val="tx1"/>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sp>
          <p:nvSpPr>
            <p:cNvPr id="50" name="Freeform: Shape 1034">
              <a:extLst>
                <a:ext uri="{FF2B5EF4-FFF2-40B4-BE49-F238E27FC236}">
                  <a16:creationId xmlns:a16="http://schemas.microsoft.com/office/drawing/2014/main" id="{F67A70B7-97D8-3639-A4DE-53855ECA6FCB}"/>
                </a:ext>
              </a:extLst>
            </p:cNvPr>
            <p:cNvSpPr/>
            <p:nvPr/>
          </p:nvSpPr>
          <p:spPr>
            <a:xfrm>
              <a:off x="11242379" y="3762754"/>
              <a:ext cx="133350" cy="133350"/>
            </a:xfrm>
            <a:custGeom>
              <a:avLst/>
              <a:gdLst>
                <a:gd name="connsiteX0" fmla="*/ 0 w 133350"/>
                <a:gd name="connsiteY0" fmla="*/ 0 h 133350"/>
                <a:gd name="connsiteX1" fmla="*/ 133350 w 133350"/>
                <a:gd name="connsiteY1" fmla="*/ 0 h 133350"/>
                <a:gd name="connsiteX2" fmla="*/ 133350 w 133350"/>
                <a:gd name="connsiteY2" fmla="*/ 133350 h 133350"/>
                <a:gd name="connsiteX3" fmla="*/ 0 w 133350"/>
                <a:gd name="connsiteY3" fmla="*/ 133350 h 133350"/>
              </a:gdLst>
              <a:ahLst/>
              <a:cxnLst>
                <a:cxn ang="0">
                  <a:pos x="connsiteX0" y="connsiteY0"/>
                </a:cxn>
                <a:cxn ang="0">
                  <a:pos x="connsiteX1" y="connsiteY1"/>
                </a:cxn>
                <a:cxn ang="0">
                  <a:pos x="connsiteX2" y="connsiteY2"/>
                </a:cxn>
                <a:cxn ang="0">
                  <a:pos x="connsiteX3" y="connsiteY3"/>
                </a:cxn>
              </a:cxnLst>
              <a:rect l="l" t="t" r="r" b="b"/>
              <a:pathLst>
                <a:path w="133350" h="133350">
                  <a:moveTo>
                    <a:pt x="0" y="0"/>
                  </a:moveTo>
                  <a:lnTo>
                    <a:pt x="133350" y="0"/>
                  </a:lnTo>
                  <a:lnTo>
                    <a:pt x="133350" y="133350"/>
                  </a:lnTo>
                  <a:lnTo>
                    <a:pt x="0" y="133350"/>
                  </a:lnTo>
                  <a:close/>
                </a:path>
              </a:pathLst>
            </a:custGeom>
            <a:solidFill>
              <a:srgbClr val="91913D"/>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grpSp>
      <p:grpSp>
        <p:nvGrpSpPr>
          <p:cNvPr id="30" name="Group 1040">
            <a:extLst>
              <a:ext uri="{FF2B5EF4-FFF2-40B4-BE49-F238E27FC236}">
                <a16:creationId xmlns:a16="http://schemas.microsoft.com/office/drawing/2014/main" id="{C7F2F3A0-0C77-5B4B-C4CB-9422BF7065C4}"/>
              </a:ext>
            </a:extLst>
          </p:cNvPr>
          <p:cNvGrpSpPr/>
          <p:nvPr/>
        </p:nvGrpSpPr>
        <p:grpSpPr>
          <a:xfrm>
            <a:off x="10409695" y="2926872"/>
            <a:ext cx="342901" cy="304799"/>
            <a:chOff x="11242379" y="3248494"/>
            <a:chExt cx="647700" cy="647700"/>
          </a:xfrm>
        </p:grpSpPr>
        <p:sp>
          <p:nvSpPr>
            <p:cNvPr id="43" name="Freeform: Shape 1031">
              <a:extLst>
                <a:ext uri="{FF2B5EF4-FFF2-40B4-BE49-F238E27FC236}">
                  <a16:creationId xmlns:a16="http://schemas.microsoft.com/office/drawing/2014/main" id="{79EB0AF5-8845-29E1-0BCB-2C262F9AEA81}"/>
                </a:ext>
              </a:extLst>
            </p:cNvPr>
            <p:cNvSpPr/>
            <p:nvPr/>
          </p:nvSpPr>
          <p:spPr>
            <a:xfrm>
              <a:off x="11413829" y="3591394"/>
              <a:ext cx="133350" cy="304800"/>
            </a:xfrm>
            <a:custGeom>
              <a:avLst/>
              <a:gdLst>
                <a:gd name="connsiteX0" fmla="*/ 0 w 133350"/>
                <a:gd name="connsiteY0" fmla="*/ 0 h 304800"/>
                <a:gd name="connsiteX1" fmla="*/ 133350 w 133350"/>
                <a:gd name="connsiteY1" fmla="*/ 0 h 304800"/>
                <a:gd name="connsiteX2" fmla="*/ 133350 w 133350"/>
                <a:gd name="connsiteY2" fmla="*/ 304800 h 304800"/>
                <a:gd name="connsiteX3" fmla="*/ 0 w 13335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133350" h="304800">
                  <a:moveTo>
                    <a:pt x="0" y="0"/>
                  </a:moveTo>
                  <a:lnTo>
                    <a:pt x="133350" y="0"/>
                  </a:lnTo>
                  <a:lnTo>
                    <a:pt x="133350" y="304800"/>
                  </a:lnTo>
                  <a:lnTo>
                    <a:pt x="0" y="304800"/>
                  </a:lnTo>
                  <a:close/>
                </a:path>
              </a:pathLst>
            </a:custGeom>
            <a:solidFill>
              <a:schemeClr val="bg1"/>
            </a:solidFill>
            <a:ln w="9525" cap="flat">
              <a:solidFill>
                <a:schemeClr val="tx1"/>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sp>
          <p:nvSpPr>
            <p:cNvPr id="44" name="Freeform: Shape 1032">
              <a:extLst>
                <a:ext uri="{FF2B5EF4-FFF2-40B4-BE49-F238E27FC236}">
                  <a16:creationId xmlns:a16="http://schemas.microsoft.com/office/drawing/2014/main" id="{13B8E0EE-9097-0A5A-2AE2-3C709E2DCA41}"/>
                </a:ext>
              </a:extLst>
            </p:cNvPr>
            <p:cNvSpPr/>
            <p:nvPr/>
          </p:nvSpPr>
          <p:spPr>
            <a:xfrm>
              <a:off x="11585279" y="3419944"/>
              <a:ext cx="133350" cy="476250"/>
            </a:xfrm>
            <a:custGeom>
              <a:avLst/>
              <a:gdLst>
                <a:gd name="connsiteX0" fmla="*/ 0 w 133350"/>
                <a:gd name="connsiteY0" fmla="*/ 0 h 476250"/>
                <a:gd name="connsiteX1" fmla="*/ 133350 w 133350"/>
                <a:gd name="connsiteY1" fmla="*/ 0 h 476250"/>
                <a:gd name="connsiteX2" fmla="*/ 133350 w 133350"/>
                <a:gd name="connsiteY2" fmla="*/ 476250 h 476250"/>
                <a:gd name="connsiteX3" fmla="*/ 0 w 133350"/>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3350" h="476250">
                  <a:moveTo>
                    <a:pt x="0" y="0"/>
                  </a:moveTo>
                  <a:lnTo>
                    <a:pt x="133350" y="0"/>
                  </a:lnTo>
                  <a:lnTo>
                    <a:pt x="133350" y="476250"/>
                  </a:lnTo>
                  <a:lnTo>
                    <a:pt x="0" y="476250"/>
                  </a:lnTo>
                  <a:close/>
                </a:path>
              </a:pathLst>
            </a:custGeom>
            <a:solidFill>
              <a:schemeClr val="bg1"/>
            </a:solidFill>
            <a:ln w="9525" cap="flat">
              <a:solidFill>
                <a:schemeClr val="tx1"/>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sp>
          <p:nvSpPr>
            <p:cNvPr id="45" name="Freeform: Shape 1033">
              <a:extLst>
                <a:ext uri="{FF2B5EF4-FFF2-40B4-BE49-F238E27FC236}">
                  <a16:creationId xmlns:a16="http://schemas.microsoft.com/office/drawing/2014/main" id="{7C697F32-CAA0-86E2-0296-1D00BB4A7AF1}"/>
                </a:ext>
              </a:extLst>
            </p:cNvPr>
            <p:cNvSpPr/>
            <p:nvPr/>
          </p:nvSpPr>
          <p:spPr>
            <a:xfrm>
              <a:off x="11756729" y="3248494"/>
              <a:ext cx="133350" cy="647700"/>
            </a:xfrm>
            <a:custGeom>
              <a:avLst/>
              <a:gdLst>
                <a:gd name="connsiteX0" fmla="*/ 0 w 133350"/>
                <a:gd name="connsiteY0" fmla="*/ 0 h 647700"/>
                <a:gd name="connsiteX1" fmla="*/ 133350 w 133350"/>
                <a:gd name="connsiteY1" fmla="*/ 0 h 647700"/>
                <a:gd name="connsiteX2" fmla="*/ 133350 w 133350"/>
                <a:gd name="connsiteY2" fmla="*/ 647700 h 647700"/>
                <a:gd name="connsiteX3" fmla="*/ 0 w 133350"/>
                <a:gd name="connsiteY3" fmla="*/ 647700 h 647700"/>
              </a:gdLst>
              <a:ahLst/>
              <a:cxnLst>
                <a:cxn ang="0">
                  <a:pos x="connsiteX0" y="connsiteY0"/>
                </a:cxn>
                <a:cxn ang="0">
                  <a:pos x="connsiteX1" y="connsiteY1"/>
                </a:cxn>
                <a:cxn ang="0">
                  <a:pos x="connsiteX2" y="connsiteY2"/>
                </a:cxn>
                <a:cxn ang="0">
                  <a:pos x="connsiteX3" y="connsiteY3"/>
                </a:cxn>
              </a:cxnLst>
              <a:rect l="l" t="t" r="r" b="b"/>
              <a:pathLst>
                <a:path w="133350" h="647700">
                  <a:moveTo>
                    <a:pt x="0" y="0"/>
                  </a:moveTo>
                  <a:lnTo>
                    <a:pt x="133350" y="0"/>
                  </a:lnTo>
                  <a:lnTo>
                    <a:pt x="133350" y="647700"/>
                  </a:lnTo>
                  <a:lnTo>
                    <a:pt x="0" y="647700"/>
                  </a:lnTo>
                  <a:close/>
                </a:path>
              </a:pathLst>
            </a:custGeom>
            <a:noFill/>
            <a:ln w="9525" cap="flat">
              <a:solidFill>
                <a:schemeClr val="tx1"/>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sp>
          <p:nvSpPr>
            <p:cNvPr id="46" name="Freeform: Shape 1034">
              <a:extLst>
                <a:ext uri="{FF2B5EF4-FFF2-40B4-BE49-F238E27FC236}">
                  <a16:creationId xmlns:a16="http://schemas.microsoft.com/office/drawing/2014/main" id="{41FD5514-4FA3-6CCC-60F8-A569120F83DE}"/>
                </a:ext>
              </a:extLst>
            </p:cNvPr>
            <p:cNvSpPr/>
            <p:nvPr/>
          </p:nvSpPr>
          <p:spPr>
            <a:xfrm>
              <a:off x="11242379" y="3762844"/>
              <a:ext cx="133350" cy="133350"/>
            </a:xfrm>
            <a:custGeom>
              <a:avLst/>
              <a:gdLst>
                <a:gd name="connsiteX0" fmla="*/ 0 w 133350"/>
                <a:gd name="connsiteY0" fmla="*/ 0 h 133350"/>
                <a:gd name="connsiteX1" fmla="*/ 133350 w 133350"/>
                <a:gd name="connsiteY1" fmla="*/ 0 h 133350"/>
                <a:gd name="connsiteX2" fmla="*/ 133350 w 133350"/>
                <a:gd name="connsiteY2" fmla="*/ 133350 h 133350"/>
                <a:gd name="connsiteX3" fmla="*/ 0 w 133350"/>
                <a:gd name="connsiteY3" fmla="*/ 133350 h 133350"/>
              </a:gdLst>
              <a:ahLst/>
              <a:cxnLst>
                <a:cxn ang="0">
                  <a:pos x="connsiteX0" y="connsiteY0"/>
                </a:cxn>
                <a:cxn ang="0">
                  <a:pos x="connsiteX1" y="connsiteY1"/>
                </a:cxn>
                <a:cxn ang="0">
                  <a:pos x="connsiteX2" y="connsiteY2"/>
                </a:cxn>
                <a:cxn ang="0">
                  <a:pos x="connsiteX3" y="connsiteY3"/>
                </a:cxn>
              </a:cxnLst>
              <a:rect l="l" t="t" r="r" b="b"/>
              <a:pathLst>
                <a:path w="133350" h="133350">
                  <a:moveTo>
                    <a:pt x="0" y="0"/>
                  </a:moveTo>
                  <a:lnTo>
                    <a:pt x="133350" y="0"/>
                  </a:lnTo>
                  <a:lnTo>
                    <a:pt x="133350" y="133350"/>
                  </a:lnTo>
                  <a:lnTo>
                    <a:pt x="0" y="133350"/>
                  </a:lnTo>
                  <a:close/>
                </a:path>
              </a:pathLst>
            </a:custGeom>
            <a:solidFill>
              <a:srgbClr val="913D3D"/>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grpSp>
      <p:grpSp>
        <p:nvGrpSpPr>
          <p:cNvPr id="31" name="Group 1040">
            <a:extLst>
              <a:ext uri="{FF2B5EF4-FFF2-40B4-BE49-F238E27FC236}">
                <a16:creationId xmlns:a16="http://schemas.microsoft.com/office/drawing/2014/main" id="{ED292FF1-8D66-FF26-789B-D270FC8A3138}"/>
              </a:ext>
            </a:extLst>
          </p:cNvPr>
          <p:cNvGrpSpPr/>
          <p:nvPr/>
        </p:nvGrpSpPr>
        <p:grpSpPr>
          <a:xfrm>
            <a:off x="10409695" y="2927341"/>
            <a:ext cx="342901" cy="304799"/>
            <a:chOff x="11242379" y="3248963"/>
            <a:chExt cx="647700" cy="647700"/>
          </a:xfrm>
        </p:grpSpPr>
        <p:sp>
          <p:nvSpPr>
            <p:cNvPr id="39" name="Freeform: Shape 1031">
              <a:extLst>
                <a:ext uri="{FF2B5EF4-FFF2-40B4-BE49-F238E27FC236}">
                  <a16:creationId xmlns:a16="http://schemas.microsoft.com/office/drawing/2014/main" id="{7AD3AD04-2D32-AAB8-0FC4-BDAD7B3C8336}"/>
                </a:ext>
              </a:extLst>
            </p:cNvPr>
            <p:cNvSpPr/>
            <p:nvPr/>
          </p:nvSpPr>
          <p:spPr>
            <a:xfrm>
              <a:off x="11413829" y="3591863"/>
              <a:ext cx="133350" cy="304800"/>
            </a:xfrm>
            <a:custGeom>
              <a:avLst/>
              <a:gdLst>
                <a:gd name="connsiteX0" fmla="*/ 0 w 133350"/>
                <a:gd name="connsiteY0" fmla="*/ 0 h 304800"/>
                <a:gd name="connsiteX1" fmla="*/ 133350 w 133350"/>
                <a:gd name="connsiteY1" fmla="*/ 0 h 304800"/>
                <a:gd name="connsiteX2" fmla="*/ 133350 w 133350"/>
                <a:gd name="connsiteY2" fmla="*/ 304800 h 304800"/>
                <a:gd name="connsiteX3" fmla="*/ 0 w 133350"/>
                <a:gd name="connsiteY3" fmla="*/ 304800 h 304800"/>
              </a:gdLst>
              <a:ahLst/>
              <a:cxnLst>
                <a:cxn ang="0">
                  <a:pos x="connsiteX0" y="connsiteY0"/>
                </a:cxn>
                <a:cxn ang="0">
                  <a:pos x="connsiteX1" y="connsiteY1"/>
                </a:cxn>
                <a:cxn ang="0">
                  <a:pos x="connsiteX2" y="connsiteY2"/>
                </a:cxn>
                <a:cxn ang="0">
                  <a:pos x="connsiteX3" y="connsiteY3"/>
                </a:cxn>
              </a:cxnLst>
              <a:rect l="l" t="t" r="r" b="b"/>
              <a:pathLst>
                <a:path w="133350" h="304800">
                  <a:moveTo>
                    <a:pt x="0" y="0"/>
                  </a:moveTo>
                  <a:lnTo>
                    <a:pt x="133350" y="0"/>
                  </a:lnTo>
                  <a:lnTo>
                    <a:pt x="133350" y="304800"/>
                  </a:lnTo>
                  <a:lnTo>
                    <a:pt x="0" y="304800"/>
                  </a:lnTo>
                  <a:close/>
                </a:path>
              </a:pathLst>
            </a:custGeom>
            <a:solidFill>
              <a:schemeClr val="accent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sp>
          <p:nvSpPr>
            <p:cNvPr id="40" name="Freeform: Shape 1032">
              <a:extLst>
                <a:ext uri="{FF2B5EF4-FFF2-40B4-BE49-F238E27FC236}">
                  <a16:creationId xmlns:a16="http://schemas.microsoft.com/office/drawing/2014/main" id="{DA608673-0641-598C-696F-ADB43B5C2C0C}"/>
                </a:ext>
              </a:extLst>
            </p:cNvPr>
            <p:cNvSpPr/>
            <p:nvPr/>
          </p:nvSpPr>
          <p:spPr>
            <a:xfrm>
              <a:off x="11585279" y="3420413"/>
              <a:ext cx="133350" cy="476250"/>
            </a:xfrm>
            <a:custGeom>
              <a:avLst/>
              <a:gdLst>
                <a:gd name="connsiteX0" fmla="*/ 0 w 133350"/>
                <a:gd name="connsiteY0" fmla="*/ 0 h 476250"/>
                <a:gd name="connsiteX1" fmla="*/ 133350 w 133350"/>
                <a:gd name="connsiteY1" fmla="*/ 0 h 476250"/>
                <a:gd name="connsiteX2" fmla="*/ 133350 w 133350"/>
                <a:gd name="connsiteY2" fmla="*/ 476250 h 476250"/>
                <a:gd name="connsiteX3" fmla="*/ 0 w 133350"/>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3350" h="476250">
                  <a:moveTo>
                    <a:pt x="0" y="0"/>
                  </a:moveTo>
                  <a:lnTo>
                    <a:pt x="133350" y="0"/>
                  </a:lnTo>
                  <a:lnTo>
                    <a:pt x="133350" y="476250"/>
                  </a:lnTo>
                  <a:lnTo>
                    <a:pt x="0" y="476250"/>
                  </a:lnTo>
                  <a:close/>
                </a:path>
              </a:pathLst>
            </a:custGeom>
            <a:solidFill>
              <a:schemeClr val="accent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sp>
          <p:nvSpPr>
            <p:cNvPr id="41" name="Freeform: Shape 1033">
              <a:extLst>
                <a:ext uri="{FF2B5EF4-FFF2-40B4-BE49-F238E27FC236}">
                  <a16:creationId xmlns:a16="http://schemas.microsoft.com/office/drawing/2014/main" id="{1D07BE8A-B789-FD5C-C7AB-95660DD56BB9}"/>
                </a:ext>
              </a:extLst>
            </p:cNvPr>
            <p:cNvSpPr/>
            <p:nvPr/>
          </p:nvSpPr>
          <p:spPr>
            <a:xfrm>
              <a:off x="11756729" y="3248963"/>
              <a:ext cx="133350" cy="647700"/>
            </a:xfrm>
            <a:custGeom>
              <a:avLst/>
              <a:gdLst>
                <a:gd name="connsiteX0" fmla="*/ 0 w 133350"/>
                <a:gd name="connsiteY0" fmla="*/ 0 h 647700"/>
                <a:gd name="connsiteX1" fmla="*/ 133350 w 133350"/>
                <a:gd name="connsiteY1" fmla="*/ 0 h 647700"/>
                <a:gd name="connsiteX2" fmla="*/ 133350 w 133350"/>
                <a:gd name="connsiteY2" fmla="*/ 647700 h 647700"/>
                <a:gd name="connsiteX3" fmla="*/ 0 w 133350"/>
                <a:gd name="connsiteY3" fmla="*/ 647700 h 647700"/>
              </a:gdLst>
              <a:ahLst/>
              <a:cxnLst>
                <a:cxn ang="0">
                  <a:pos x="connsiteX0" y="connsiteY0"/>
                </a:cxn>
                <a:cxn ang="0">
                  <a:pos x="connsiteX1" y="connsiteY1"/>
                </a:cxn>
                <a:cxn ang="0">
                  <a:pos x="connsiteX2" y="connsiteY2"/>
                </a:cxn>
                <a:cxn ang="0">
                  <a:pos x="connsiteX3" y="connsiteY3"/>
                </a:cxn>
              </a:cxnLst>
              <a:rect l="l" t="t" r="r" b="b"/>
              <a:pathLst>
                <a:path w="133350" h="647700">
                  <a:moveTo>
                    <a:pt x="0" y="0"/>
                  </a:moveTo>
                  <a:lnTo>
                    <a:pt x="133350" y="0"/>
                  </a:lnTo>
                  <a:lnTo>
                    <a:pt x="133350" y="647700"/>
                  </a:lnTo>
                  <a:lnTo>
                    <a:pt x="0" y="647700"/>
                  </a:lnTo>
                  <a:close/>
                </a:path>
              </a:pathLst>
            </a:custGeom>
            <a:solidFill>
              <a:schemeClr val="accent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sp>
          <p:nvSpPr>
            <p:cNvPr id="42" name="Freeform: Shape 1034">
              <a:extLst>
                <a:ext uri="{FF2B5EF4-FFF2-40B4-BE49-F238E27FC236}">
                  <a16:creationId xmlns:a16="http://schemas.microsoft.com/office/drawing/2014/main" id="{3E9CB9BC-A5DF-4ADD-A941-558FDAADDC0E}"/>
                </a:ext>
              </a:extLst>
            </p:cNvPr>
            <p:cNvSpPr/>
            <p:nvPr/>
          </p:nvSpPr>
          <p:spPr>
            <a:xfrm>
              <a:off x="11242379" y="3763313"/>
              <a:ext cx="133350" cy="133350"/>
            </a:xfrm>
            <a:custGeom>
              <a:avLst/>
              <a:gdLst>
                <a:gd name="connsiteX0" fmla="*/ 0 w 133350"/>
                <a:gd name="connsiteY0" fmla="*/ 0 h 133350"/>
                <a:gd name="connsiteX1" fmla="*/ 133350 w 133350"/>
                <a:gd name="connsiteY1" fmla="*/ 0 h 133350"/>
                <a:gd name="connsiteX2" fmla="*/ 133350 w 133350"/>
                <a:gd name="connsiteY2" fmla="*/ 133350 h 133350"/>
                <a:gd name="connsiteX3" fmla="*/ 0 w 133350"/>
                <a:gd name="connsiteY3" fmla="*/ 133350 h 133350"/>
              </a:gdLst>
              <a:ahLst/>
              <a:cxnLst>
                <a:cxn ang="0">
                  <a:pos x="connsiteX0" y="connsiteY0"/>
                </a:cxn>
                <a:cxn ang="0">
                  <a:pos x="connsiteX1" y="connsiteY1"/>
                </a:cxn>
                <a:cxn ang="0">
                  <a:pos x="connsiteX2" y="connsiteY2"/>
                </a:cxn>
                <a:cxn ang="0">
                  <a:pos x="connsiteX3" y="connsiteY3"/>
                </a:cxn>
              </a:cxnLst>
              <a:rect l="l" t="t" r="r" b="b"/>
              <a:pathLst>
                <a:path w="133350" h="133350">
                  <a:moveTo>
                    <a:pt x="0" y="0"/>
                  </a:moveTo>
                  <a:lnTo>
                    <a:pt x="133350" y="0"/>
                  </a:lnTo>
                  <a:lnTo>
                    <a:pt x="133350" y="133350"/>
                  </a:lnTo>
                  <a:lnTo>
                    <a:pt x="0" y="133350"/>
                  </a:lnTo>
                  <a:close/>
                </a:path>
              </a:pathLst>
            </a:custGeom>
            <a:solidFill>
              <a:schemeClr val="accent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b="1">
                <a:solidFill>
                  <a:srgbClr val="000000"/>
                </a:solidFill>
                <a:latin typeface="Verdana" pitchFamily="34" charset="0"/>
              </a:endParaRPr>
            </a:p>
          </p:txBody>
        </p:sp>
      </p:grpSp>
      <p:sp>
        <p:nvSpPr>
          <p:cNvPr id="32" name="Textfeld 1079">
            <a:extLst>
              <a:ext uri="{FF2B5EF4-FFF2-40B4-BE49-F238E27FC236}">
                <a16:creationId xmlns:a16="http://schemas.microsoft.com/office/drawing/2014/main" id="{6A3CF348-2AB0-0218-16D7-B84A84C70EC5}"/>
              </a:ext>
            </a:extLst>
          </p:cNvPr>
          <p:cNvSpPr txBox="1"/>
          <p:nvPr/>
        </p:nvSpPr>
        <p:spPr>
          <a:xfrm>
            <a:off x="7685681" y="4912260"/>
            <a:ext cx="1201590" cy="735005"/>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0000"/>
              </a:lnSpc>
              <a:spcAft>
                <a:spcPts val="900"/>
              </a:spcAft>
            </a:pPr>
            <a:r>
              <a:rPr lang="de-DE" sz="1600" b="0" spc="40" err="1">
                <a:solidFill>
                  <a:srgbClr val="000000"/>
                </a:solidFill>
                <a:latin typeface="Arial" charset="0"/>
              </a:rPr>
              <a:t>Provisioning</a:t>
            </a:r>
            <a:r>
              <a:rPr lang="de-DE" sz="1600" b="0" spc="40">
                <a:solidFill>
                  <a:srgbClr val="000000"/>
                </a:solidFill>
                <a:latin typeface="Arial" charset="0"/>
              </a:rPr>
              <a:t> Server</a:t>
            </a:r>
          </a:p>
        </p:txBody>
      </p:sp>
      <p:pic>
        <p:nvPicPr>
          <p:cNvPr id="33" name="Graphic 5" descr="Television with solid fill">
            <a:extLst>
              <a:ext uri="{FF2B5EF4-FFF2-40B4-BE49-F238E27FC236}">
                <a16:creationId xmlns:a16="http://schemas.microsoft.com/office/drawing/2014/main" id="{64A58B4F-6040-14E9-A892-5835F090782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56260" y="4456458"/>
            <a:ext cx="1824720" cy="1700718"/>
          </a:xfrm>
          <a:prstGeom prst="rect">
            <a:avLst/>
          </a:prstGeom>
        </p:spPr>
      </p:pic>
      <p:sp>
        <p:nvSpPr>
          <p:cNvPr id="34" name="Line 15">
            <a:extLst>
              <a:ext uri="{FF2B5EF4-FFF2-40B4-BE49-F238E27FC236}">
                <a16:creationId xmlns:a16="http://schemas.microsoft.com/office/drawing/2014/main" id="{CFD652A7-2E71-18DE-31D9-E9E3BE34EA22}"/>
              </a:ext>
            </a:extLst>
          </p:cNvPr>
          <p:cNvSpPr>
            <a:spLocks noChangeShapeType="1"/>
          </p:cNvSpPr>
          <p:nvPr/>
        </p:nvSpPr>
        <p:spPr bwMode="auto">
          <a:xfrm>
            <a:off x="6881933" y="3085547"/>
            <a:ext cx="871039" cy="1359416"/>
          </a:xfrm>
          <a:prstGeom prst="line">
            <a:avLst/>
          </a:prstGeom>
          <a:noFill/>
          <a:ln w="38100">
            <a:solidFill>
              <a:schemeClr val="accent1"/>
            </a:solidFill>
            <a:round/>
            <a:headEnd type="none" w="med" len="med"/>
            <a:tailEnd type="none" w="med" len="med"/>
          </a:ln>
          <a:effectLst>
            <a:outerShdw blurRad="50800" dist="38100" dir="2700000" algn="tl" rotWithShape="0">
              <a:prstClr val="black">
                <a:alpha val="40000"/>
              </a:prstClr>
            </a:outerShdw>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Verdana"/>
              <a:ea typeface="+mn-ea"/>
              <a:cs typeface="+mn-cs"/>
            </a:endParaRPr>
          </a:p>
        </p:txBody>
      </p:sp>
      <p:cxnSp>
        <p:nvCxnSpPr>
          <p:cNvPr id="35" name="Verbinder: gewinkelt 34">
            <a:extLst>
              <a:ext uri="{FF2B5EF4-FFF2-40B4-BE49-F238E27FC236}">
                <a16:creationId xmlns:a16="http://schemas.microsoft.com/office/drawing/2014/main" id="{1354B18B-A6CC-8C4B-9B20-FE667393D6ED}"/>
              </a:ext>
            </a:extLst>
          </p:cNvPr>
          <p:cNvCxnSpPr>
            <a:cxnSpLocks/>
          </p:cNvCxnSpPr>
          <p:nvPr/>
        </p:nvCxnSpPr>
        <p:spPr bwMode="auto">
          <a:xfrm rot="5400000" flipH="1" flipV="1">
            <a:off x="9194798" y="4273171"/>
            <a:ext cx="1026622" cy="923824"/>
          </a:xfrm>
          <a:prstGeom prst="bentConnector3">
            <a:avLst>
              <a:gd name="adj1" fmla="val 2252"/>
            </a:avLst>
          </a:prstGeom>
          <a:solidFill>
            <a:schemeClr val="accent1"/>
          </a:solidFill>
          <a:ln w="44450" cap="flat" cmpd="sng" algn="ctr">
            <a:solidFill>
              <a:schemeClr val="accent1"/>
            </a:solidFill>
            <a:prstDash val="solid"/>
            <a:round/>
            <a:headEnd type="none" w="med" len="med"/>
            <a:tailEnd type="triangle"/>
          </a:ln>
          <a:effectLst/>
        </p:spPr>
      </p:cxnSp>
      <p:pic>
        <p:nvPicPr>
          <p:cNvPr id="38" name="Grafik 37" descr="Satellit Silhouette">
            <a:extLst>
              <a:ext uri="{FF2B5EF4-FFF2-40B4-BE49-F238E27FC236}">
                <a16:creationId xmlns:a16="http://schemas.microsoft.com/office/drawing/2014/main" id="{0700C5DE-F966-C058-8E3C-1305E4CD5E4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77201">
            <a:off x="6434928" y="2205523"/>
            <a:ext cx="952488" cy="952488"/>
          </a:xfrm>
          <a:prstGeom prst="rect">
            <a:avLst/>
          </a:prstGeom>
        </p:spPr>
      </p:pic>
    </p:spTree>
    <p:extLst>
      <p:ext uri="{BB962C8B-B14F-4D97-AF65-F5344CB8AC3E}">
        <p14:creationId xmlns:p14="http://schemas.microsoft.com/office/powerpoint/2010/main" val="3161152169"/>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650933-3C18-F116-BB93-7B6815CB73EA}"/>
              </a:ext>
            </a:extLst>
          </p:cNvPr>
          <p:cNvSpPr/>
          <p:nvPr/>
        </p:nvSpPr>
        <p:spPr>
          <a:xfrm>
            <a:off x="5240384" y="1869954"/>
            <a:ext cx="5822904" cy="3866072"/>
          </a:xfrm>
          <a:prstGeom prst="rect">
            <a:avLst/>
          </a:prstGeom>
          <a:solidFill>
            <a:schemeClr val="bg1">
              <a:alpha val="59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33"/>
          </a:p>
        </p:txBody>
      </p:sp>
      <p:sp>
        <p:nvSpPr>
          <p:cNvPr id="5" name="Titel 4">
            <a:extLst>
              <a:ext uri="{FF2B5EF4-FFF2-40B4-BE49-F238E27FC236}">
                <a16:creationId xmlns:a16="http://schemas.microsoft.com/office/drawing/2014/main" id="{CEFC4841-3499-436E-AC2A-C2216E0A59F1}"/>
              </a:ext>
            </a:extLst>
          </p:cNvPr>
          <p:cNvSpPr>
            <a:spLocks noGrp="1"/>
          </p:cNvSpPr>
          <p:nvPr>
            <p:ph type="title"/>
          </p:nvPr>
        </p:nvSpPr>
        <p:spPr/>
        <p:txBody>
          <a:bodyPr/>
          <a:lstStyle/>
          <a:p>
            <a:r>
              <a:rPr lang="en-US" noProof="0"/>
              <a:t>BF-Antennas, Tracking Methods</a:t>
            </a:r>
          </a:p>
        </p:txBody>
      </p:sp>
      <p:sp>
        <p:nvSpPr>
          <p:cNvPr id="6" name="Inhaltsplatzhalter 5">
            <a:extLst>
              <a:ext uri="{FF2B5EF4-FFF2-40B4-BE49-F238E27FC236}">
                <a16:creationId xmlns:a16="http://schemas.microsoft.com/office/drawing/2014/main" id="{F8415785-4E23-4E9C-877E-524655334521}"/>
              </a:ext>
            </a:extLst>
          </p:cNvPr>
          <p:cNvSpPr>
            <a:spLocks noGrp="1"/>
          </p:cNvSpPr>
          <p:nvPr>
            <p:ph idx="1"/>
          </p:nvPr>
        </p:nvSpPr>
        <p:spPr/>
        <p:txBody>
          <a:bodyPr>
            <a:normAutofit/>
          </a:bodyPr>
          <a:lstStyle/>
          <a:p>
            <a:pPr marL="0" indent="0">
              <a:buNone/>
            </a:pPr>
            <a:r>
              <a:rPr lang="en-US" sz="2178" b="1"/>
              <a:t>Challenging requirements </a:t>
            </a:r>
            <a:r>
              <a:rPr lang="en-US" sz="2178"/>
              <a:t>for beamforming antennas, UAV tracking algorithms, on-board units:</a:t>
            </a:r>
          </a:p>
          <a:p>
            <a:pPr marL="406220" lvl="1"/>
            <a:r>
              <a:rPr lang="en-US" sz="1815"/>
              <a:t>Light-weight</a:t>
            </a:r>
          </a:p>
          <a:p>
            <a:pPr marL="406220" lvl="1"/>
            <a:r>
              <a:rPr lang="en-US" sz="1815"/>
              <a:t>Energy-efficient</a:t>
            </a:r>
          </a:p>
          <a:p>
            <a:pPr marL="406220" lvl="1"/>
            <a:r>
              <a:rPr lang="en-US" sz="1815"/>
              <a:t>Resistant to adverse environment</a:t>
            </a:r>
          </a:p>
          <a:p>
            <a:pPr marL="406220" lvl="1"/>
            <a:endParaRPr lang="en-US" sz="1815"/>
          </a:p>
          <a:p>
            <a:pPr marL="0" indent="0">
              <a:spcBef>
                <a:spcPts val="2178"/>
              </a:spcBef>
              <a:buNone/>
            </a:pPr>
            <a:r>
              <a:rPr lang="en-US" sz="2178" b="1"/>
              <a:t>Demonstrations</a:t>
            </a:r>
          </a:p>
          <a:p>
            <a:pPr marL="406220" lvl="1"/>
            <a:r>
              <a:rPr lang="en-US" sz="1815"/>
              <a:t>Testing of UAV tracking and beam steering </a:t>
            </a:r>
            <a:br>
              <a:rPr lang="en-US" sz="1815"/>
            </a:br>
            <a:r>
              <a:rPr lang="en-US" sz="1815"/>
              <a:t>by scaling down the flight path from the </a:t>
            </a:r>
            <a:br>
              <a:rPr lang="en-US" sz="1815"/>
            </a:br>
            <a:r>
              <a:rPr lang="en-US" sz="1815"/>
              <a:t>POV of the ground station</a:t>
            </a:r>
          </a:p>
          <a:p>
            <a:pPr marL="406220" lvl="1"/>
            <a:r>
              <a:rPr lang="en-US" sz="1815"/>
              <a:t>Altitude, diameter of circular path reduced</a:t>
            </a:r>
          </a:p>
          <a:p>
            <a:pPr marL="406220" lvl="1"/>
            <a:r>
              <a:rPr lang="en-US" sz="1815"/>
              <a:t>Angles and angular velocities stay the same</a:t>
            </a:r>
          </a:p>
        </p:txBody>
      </p:sp>
      <p:sp>
        <p:nvSpPr>
          <p:cNvPr id="114" name="Ellipse 113">
            <a:extLst>
              <a:ext uri="{FF2B5EF4-FFF2-40B4-BE49-F238E27FC236}">
                <a16:creationId xmlns:a16="http://schemas.microsoft.com/office/drawing/2014/main" id="{035A0171-7D1F-4413-BA7E-F4F4D32ADFDF}"/>
              </a:ext>
            </a:extLst>
          </p:cNvPr>
          <p:cNvSpPr/>
          <p:nvPr/>
        </p:nvSpPr>
        <p:spPr>
          <a:xfrm>
            <a:off x="5509821" y="5279110"/>
            <a:ext cx="5412100" cy="31103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cxnSp>
        <p:nvCxnSpPr>
          <p:cNvPr id="91" name="Gerader Verbinder 90">
            <a:extLst>
              <a:ext uri="{FF2B5EF4-FFF2-40B4-BE49-F238E27FC236}">
                <a16:creationId xmlns:a16="http://schemas.microsoft.com/office/drawing/2014/main" id="{223CE591-297F-4D8E-AD80-5A61E5A55A75}"/>
              </a:ext>
            </a:extLst>
          </p:cNvPr>
          <p:cNvCxnSpPr>
            <a:cxnSpLocks/>
            <a:stCxn id="93" idx="6"/>
            <a:endCxn id="85" idx="2"/>
          </p:cNvCxnSpPr>
          <p:nvPr/>
        </p:nvCxnSpPr>
        <p:spPr>
          <a:xfrm flipH="1">
            <a:off x="8218471" y="2886647"/>
            <a:ext cx="2706050" cy="248119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5" name="Gerader Verbinder 94">
            <a:extLst>
              <a:ext uri="{FF2B5EF4-FFF2-40B4-BE49-F238E27FC236}">
                <a16:creationId xmlns:a16="http://schemas.microsoft.com/office/drawing/2014/main" id="{4EF2BF9D-FFD7-4FB5-A107-EF153C677BD2}"/>
              </a:ext>
            </a:extLst>
          </p:cNvPr>
          <p:cNvCxnSpPr>
            <a:cxnSpLocks/>
            <a:stCxn id="93" idx="2"/>
            <a:endCxn id="82" idx="5"/>
          </p:cNvCxnSpPr>
          <p:nvPr/>
        </p:nvCxnSpPr>
        <p:spPr>
          <a:xfrm>
            <a:off x="5512422" y="2886647"/>
            <a:ext cx="2667226" cy="2468371"/>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29" name="Gruppieren 28">
            <a:extLst>
              <a:ext uri="{FF2B5EF4-FFF2-40B4-BE49-F238E27FC236}">
                <a16:creationId xmlns:a16="http://schemas.microsoft.com/office/drawing/2014/main" id="{F863E47D-6DD8-4F9E-9044-264BD4D1969F}"/>
              </a:ext>
            </a:extLst>
          </p:cNvPr>
          <p:cNvGrpSpPr/>
          <p:nvPr/>
        </p:nvGrpSpPr>
        <p:grpSpPr>
          <a:xfrm>
            <a:off x="8140106" y="5163651"/>
            <a:ext cx="234526" cy="329032"/>
            <a:chOff x="5770631" y="4148130"/>
            <a:chExt cx="764597" cy="1286693"/>
          </a:xfrm>
          <a:solidFill>
            <a:schemeClr val="tx1"/>
          </a:solidFill>
        </p:grpSpPr>
        <p:sp>
          <p:nvSpPr>
            <p:cNvPr id="81" name="Parallelogramm 80">
              <a:extLst>
                <a:ext uri="{FF2B5EF4-FFF2-40B4-BE49-F238E27FC236}">
                  <a16:creationId xmlns:a16="http://schemas.microsoft.com/office/drawing/2014/main" id="{292CA3AD-1E26-4400-A296-75714D2226DD}"/>
                </a:ext>
              </a:extLst>
            </p:cNvPr>
            <p:cNvSpPr/>
            <p:nvPr/>
          </p:nvSpPr>
          <p:spPr>
            <a:xfrm rot="776618">
              <a:off x="5790247" y="4781540"/>
              <a:ext cx="476563" cy="149376"/>
            </a:xfrm>
            <a:prstGeom prst="parallelogram">
              <a:avLst>
                <a:gd name="adj" fmla="val 175290"/>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2" name="Parallelogramm 81">
              <a:extLst>
                <a:ext uri="{FF2B5EF4-FFF2-40B4-BE49-F238E27FC236}">
                  <a16:creationId xmlns:a16="http://schemas.microsoft.com/office/drawing/2014/main" id="{32269428-172F-4AD5-855B-8BDD80917DF1}"/>
                </a:ext>
              </a:extLst>
            </p:cNvPr>
            <p:cNvSpPr/>
            <p:nvPr/>
          </p:nvSpPr>
          <p:spPr>
            <a:xfrm rot="5400000">
              <a:off x="5620028" y="5023147"/>
              <a:ext cx="559033" cy="257828"/>
            </a:xfrm>
            <a:prstGeom prst="parallelogram">
              <a:avLst>
                <a:gd name="adj" fmla="val 19902"/>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3" name="Parallelogramm 82">
              <a:extLst>
                <a:ext uri="{FF2B5EF4-FFF2-40B4-BE49-F238E27FC236}">
                  <a16:creationId xmlns:a16="http://schemas.microsoft.com/office/drawing/2014/main" id="{CDBAAE83-D5FB-4F5A-AFDB-A1498C8E8291}"/>
                </a:ext>
              </a:extLst>
            </p:cNvPr>
            <p:cNvSpPr/>
            <p:nvPr/>
          </p:nvSpPr>
          <p:spPr>
            <a:xfrm rot="5400000" flipV="1">
              <a:off x="5886546" y="5014461"/>
              <a:ext cx="562279" cy="278446"/>
            </a:xfrm>
            <a:prstGeom prst="parallelogram">
              <a:avLst>
                <a:gd name="adj" fmla="val 36343"/>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grpSp>
          <p:nvGrpSpPr>
            <p:cNvPr id="84" name="Gruppieren 83">
              <a:extLst>
                <a:ext uri="{FF2B5EF4-FFF2-40B4-BE49-F238E27FC236}">
                  <a16:creationId xmlns:a16="http://schemas.microsoft.com/office/drawing/2014/main" id="{B8F5435C-84E4-4AC4-97C6-36971C232BE7}"/>
                </a:ext>
              </a:extLst>
            </p:cNvPr>
            <p:cNvGrpSpPr/>
            <p:nvPr/>
          </p:nvGrpSpPr>
          <p:grpSpPr>
            <a:xfrm rot="21117798">
              <a:off x="5914827" y="4148130"/>
              <a:ext cx="620401" cy="1094272"/>
              <a:chOff x="5927527" y="4135430"/>
              <a:chExt cx="620401" cy="1094272"/>
            </a:xfrm>
            <a:grpFill/>
          </p:grpSpPr>
          <p:sp>
            <p:nvSpPr>
              <p:cNvPr id="85" name="Ellipse 84">
                <a:extLst>
                  <a:ext uri="{FF2B5EF4-FFF2-40B4-BE49-F238E27FC236}">
                    <a16:creationId xmlns:a16="http://schemas.microsoft.com/office/drawing/2014/main" id="{3F089255-937F-4646-A6A7-0D8A718523F5}"/>
                  </a:ext>
                </a:extLst>
              </p:cNvPr>
              <p:cNvSpPr/>
              <p:nvPr/>
            </p:nvSpPr>
            <p:spPr>
              <a:xfrm rot="18900000">
                <a:off x="5927527" y="4240994"/>
                <a:ext cx="516014" cy="988708"/>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6" name="Ellipse 85">
                <a:extLst>
                  <a:ext uri="{FF2B5EF4-FFF2-40B4-BE49-F238E27FC236}">
                    <a16:creationId xmlns:a16="http://schemas.microsoft.com/office/drawing/2014/main" id="{1FAA35BE-2862-4C17-9A33-F5953C5208F7}"/>
                  </a:ext>
                </a:extLst>
              </p:cNvPr>
              <p:cNvSpPr/>
              <p:nvPr/>
            </p:nvSpPr>
            <p:spPr>
              <a:xfrm rot="18900000">
                <a:off x="5998578" y="4211567"/>
                <a:ext cx="432774" cy="988708"/>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7" name="Bogen 86">
                <a:extLst>
                  <a:ext uri="{FF2B5EF4-FFF2-40B4-BE49-F238E27FC236}">
                    <a16:creationId xmlns:a16="http://schemas.microsoft.com/office/drawing/2014/main" id="{49DA9B5A-57B7-430D-8FBD-B3C77673600E}"/>
                  </a:ext>
                </a:extLst>
              </p:cNvPr>
              <p:cNvSpPr/>
              <p:nvPr/>
            </p:nvSpPr>
            <p:spPr>
              <a:xfrm rot="18900000">
                <a:off x="6066270" y="4159953"/>
                <a:ext cx="393075" cy="988708"/>
              </a:xfrm>
              <a:prstGeom prst="arc">
                <a:avLst>
                  <a:gd name="adj1" fmla="val 14707716"/>
                  <a:gd name="adj2" fmla="val 15679616"/>
                </a:avLst>
              </a:prstGeom>
              <a:grp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p>
            </p:txBody>
          </p:sp>
          <p:sp>
            <p:nvSpPr>
              <p:cNvPr id="88" name="Bogen 87">
                <a:extLst>
                  <a:ext uri="{FF2B5EF4-FFF2-40B4-BE49-F238E27FC236}">
                    <a16:creationId xmlns:a16="http://schemas.microsoft.com/office/drawing/2014/main" id="{CD5D35DC-65C6-46BF-BA1D-62F942267100}"/>
                  </a:ext>
                </a:extLst>
              </p:cNvPr>
              <p:cNvSpPr/>
              <p:nvPr/>
            </p:nvSpPr>
            <p:spPr>
              <a:xfrm rot="18900000">
                <a:off x="6077875" y="4135430"/>
                <a:ext cx="425445" cy="988708"/>
              </a:xfrm>
              <a:prstGeom prst="arc">
                <a:avLst>
                  <a:gd name="adj1" fmla="val 13906610"/>
                  <a:gd name="adj2" fmla="val 15736726"/>
                </a:avLst>
              </a:prstGeom>
              <a:grpFill/>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9"/>
              </a:p>
            </p:txBody>
          </p:sp>
          <p:sp>
            <p:nvSpPr>
              <p:cNvPr id="89" name="Gleichschenkliges Dreieck 14">
                <a:extLst>
                  <a:ext uri="{FF2B5EF4-FFF2-40B4-BE49-F238E27FC236}">
                    <a16:creationId xmlns:a16="http://schemas.microsoft.com/office/drawing/2014/main" id="{1AFCE28C-ACF5-4CAA-8B35-3FCF7BBF1F58}"/>
                  </a:ext>
                </a:extLst>
              </p:cNvPr>
              <p:cNvSpPr/>
              <p:nvPr/>
            </p:nvSpPr>
            <p:spPr>
              <a:xfrm rot="2700000">
                <a:off x="6242485" y="4367032"/>
                <a:ext cx="139314" cy="471573"/>
              </a:xfrm>
              <a:custGeom>
                <a:avLst/>
                <a:gdLst>
                  <a:gd name="connsiteX0" fmla="*/ 0 w 126207"/>
                  <a:gd name="connsiteY0" fmla="*/ 311862 h 311862"/>
                  <a:gd name="connsiteX1" fmla="*/ 63104 w 126207"/>
                  <a:gd name="connsiteY1" fmla="*/ 0 h 311862"/>
                  <a:gd name="connsiteX2" fmla="*/ 126207 w 126207"/>
                  <a:gd name="connsiteY2" fmla="*/ 311862 h 311862"/>
                  <a:gd name="connsiteX3" fmla="*/ 0 w 126207"/>
                  <a:gd name="connsiteY3" fmla="*/ 311862 h 311862"/>
                  <a:gd name="connsiteX0" fmla="*/ 0 w 126207"/>
                  <a:gd name="connsiteY0" fmla="*/ 311862 h 321590"/>
                  <a:gd name="connsiteX1" fmla="*/ 63104 w 126207"/>
                  <a:gd name="connsiteY1" fmla="*/ 0 h 321590"/>
                  <a:gd name="connsiteX2" fmla="*/ 126207 w 126207"/>
                  <a:gd name="connsiteY2" fmla="*/ 311862 h 321590"/>
                  <a:gd name="connsiteX3" fmla="*/ 0 w 126207"/>
                  <a:gd name="connsiteY3" fmla="*/ 311862 h 321590"/>
                  <a:gd name="connsiteX0" fmla="*/ 0 w 126207"/>
                  <a:gd name="connsiteY0" fmla="*/ 311862 h 328916"/>
                  <a:gd name="connsiteX1" fmla="*/ 63104 w 126207"/>
                  <a:gd name="connsiteY1" fmla="*/ 0 h 328916"/>
                  <a:gd name="connsiteX2" fmla="*/ 126207 w 126207"/>
                  <a:gd name="connsiteY2" fmla="*/ 311862 h 328916"/>
                  <a:gd name="connsiteX3" fmla="*/ 0 w 126207"/>
                  <a:gd name="connsiteY3" fmla="*/ 311862 h 328916"/>
                </a:gdLst>
                <a:ahLst/>
                <a:cxnLst>
                  <a:cxn ang="0">
                    <a:pos x="connsiteX0" y="connsiteY0"/>
                  </a:cxn>
                  <a:cxn ang="0">
                    <a:pos x="connsiteX1" y="connsiteY1"/>
                  </a:cxn>
                  <a:cxn ang="0">
                    <a:pos x="connsiteX2" y="connsiteY2"/>
                  </a:cxn>
                  <a:cxn ang="0">
                    <a:pos x="connsiteX3" y="connsiteY3"/>
                  </a:cxn>
                </a:cxnLst>
                <a:rect l="l" t="t" r="r" b="b"/>
                <a:pathLst>
                  <a:path w="126207" h="328916">
                    <a:moveTo>
                      <a:pt x="0" y="311862"/>
                    </a:moveTo>
                    <a:lnTo>
                      <a:pt x="63104" y="0"/>
                    </a:lnTo>
                    <a:lnTo>
                      <a:pt x="126207" y="311862"/>
                    </a:lnTo>
                    <a:cubicBezTo>
                      <a:pt x="89189" y="333751"/>
                      <a:pt x="31966" y="335436"/>
                      <a:pt x="0" y="311862"/>
                    </a:cubicBezTo>
                    <a:close/>
                  </a:path>
                </a:pathLst>
              </a:cu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grpSp>
      </p:grpSp>
      <p:pic>
        <p:nvPicPr>
          <p:cNvPr id="37" name="Grafik 8">
            <a:extLst>
              <a:ext uri="{FF2B5EF4-FFF2-40B4-BE49-F238E27FC236}">
                <a16:creationId xmlns:a16="http://schemas.microsoft.com/office/drawing/2014/main" id="{C67EDF90-9F49-4D51-B33A-B955988D0062}"/>
              </a:ext>
            </a:extLst>
          </p:cNvPr>
          <p:cNvPicPr/>
          <p:nvPr/>
        </p:nvPicPr>
        <p:blipFill>
          <a:blip r:embed="rId2" cstate="screen">
            <a:biLevel thresh="75000"/>
            <a:extLst>
              <a:ext uri="{BEBA8EAE-BF5A-486C-A8C5-ECC9F3942E4B}">
                <a14:imgProps xmlns:a14="http://schemas.microsoft.com/office/drawing/2010/main">
                  <a14:imgLayer r:embed="rId3">
                    <a14:imgEffect>
                      <a14:artisticPhotocopy/>
                    </a14:imgEffect>
                  </a14:imgLayer>
                </a14:imgProps>
              </a:ext>
              <a:ext uri="{28A0092B-C50C-407E-A947-70E740481C1C}">
                <a14:useLocalDpi xmlns:a14="http://schemas.microsoft.com/office/drawing/2010/main"/>
              </a:ext>
            </a:extLst>
          </a:blip>
          <a:stretch/>
        </p:blipFill>
        <p:spPr>
          <a:xfrm>
            <a:off x="8394884" y="4188436"/>
            <a:ext cx="537366" cy="183679"/>
          </a:xfrm>
          <a:prstGeom prst="rect">
            <a:avLst/>
          </a:prstGeom>
          <a:ln>
            <a:noFill/>
          </a:ln>
        </p:spPr>
      </p:pic>
      <p:sp>
        <p:nvSpPr>
          <p:cNvPr id="93" name="Ellipse 92">
            <a:extLst>
              <a:ext uri="{FF2B5EF4-FFF2-40B4-BE49-F238E27FC236}">
                <a16:creationId xmlns:a16="http://schemas.microsoft.com/office/drawing/2014/main" id="{0B60C52E-85C4-4E15-8DB8-519A391DAE3A}"/>
              </a:ext>
            </a:extLst>
          </p:cNvPr>
          <p:cNvSpPr/>
          <p:nvPr/>
        </p:nvSpPr>
        <p:spPr>
          <a:xfrm>
            <a:off x="5512421" y="2731133"/>
            <a:ext cx="5412100" cy="311031"/>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98" name="Ellipse 97">
            <a:extLst>
              <a:ext uri="{FF2B5EF4-FFF2-40B4-BE49-F238E27FC236}">
                <a16:creationId xmlns:a16="http://schemas.microsoft.com/office/drawing/2014/main" id="{F0704FE5-09D7-4B11-94C4-9BB6E6F19F73}"/>
              </a:ext>
            </a:extLst>
          </p:cNvPr>
          <p:cNvSpPr/>
          <p:nvPr/>
        </p:nvSpPr>
        <p:spPr>
          <a:xfrm flipV="1">
            <a:off x="7137420" y="4320161"/>
            <a:ext cx="2162103" cy="124254"/>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cxnSp>
        <p:nvCxnSpPr>
          <p:cNvPr id="108" name="Gerader Verbinder 107">
            <a:extLst>
              <a:ext uri="{FF2B5EF4-FFF2-40B4-BE49-F238E27FC236}">
                <a16:creationId xmlns:a16="http://schemas.microsoft.com/office/drawing/2014/main" id="{0B4F8AA2-8872-4B4B-BB12-DB19903E8A00}"/>
              </a:ext>
            </a:extLst>
          </p:cNvPr>
          <p:cNvCxnSpPr/>
          <p:nvPr/>
        </p:nvCxnSpPr>
        <p:spPr>
          <a:xfrm>
            <a:off x="5512421" y="2870283"/>
            <a:ext cx="0" cy="2557211"/>
          </a:xfrm>
          <a:prstGeom prst="line">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9" name="Textfeld 108">
            <a:extLst>
              <a:ext uri="{FF2B5EF4-FFF2-40B4-BE49-F238E27FC236}">
                <a16:creationId xmlns:a16="http://schemas.microsoft.com/office/drawing/2014/main" id="{940C20B4-0524-47B6-B27F-E748CE1261A1}"/>
              </a:ext>
            </a:extLst>
          </p:cNvPr>
          <p:cNvSpPr txBox="1"/>
          <p:nvPr/>
        </p:nvSpPr>
        <p:spPr>
          <a:xfrm rot="16200000">
            <a:off x="4996312" y="3933607"/>
            <a:ext cx="787384" cy="307777"/>
          </a:xfrm>
          <a:prstGeom prst="rect">
            <a:avLst/>
          </a:prstGeom>
          <a:noFill/>
        </p:spPr>
        <p:txBody>
          <a:bodyPr wrap="square" rtlCol="0">
            <a:spAutoFit/>
          </a:bodyPr>
          <a:lstStyle/>
          <a:p>
            <a:pPr algn="ctr"/>
            <a:r>
              <a:rPr lang="en-US" sz="1400"/>
              <a:t>25 km</a:t>
            </a:r>
          </a:p>
        </p:txBody>
      </p:sp>
      <p:cxnSp>
        <p:nvCxnSpPr>
          <p:cNvPr id="110" name="Gerader Verbinder 109">
            <a:extLst>
              <a:ext uri="{FF2B5EF4-FFF2-40B4-BE49-F238E27FC236}">
                <a16:creationId xmlns:a16="http://schemas.microsoft.com/office/drawing/2014/main" id="{E284D5D2-8F77-4D0B-9C1C-40DC23EC70BA}"/>
              </a:ext>
            </a:extLst>
          </p:cNvPr>
          <p:cNvCxnSpPr>
            <a:cxnSpLocks/>
          </p:cNvCxnSpPr>
          <p:nvPr/>
        </p:nvCxnSpPr>
        <p:spPr>
          <a:xfrm>
            <a:off x="7105490" y="4372115"/>
            <a:ext cx="0" cy="1055379"/>
          </a:xfrm>
          <a:prstGeom prst="line">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1" name="Textfeld 110">
            <a:extLst>
              <a:ext uri="{FF2B5EF4-FFF2-40B4-BE49-F238E27FC236}">
                <a16:creationId xmlns:a16="http://schemas.microsoft.com/office/drawing/2014/main" id="{357942C6-9B5A-4B10-9B5A-17FC2627AB96}"/>
              </a:ext>
            </a:extLst>
          </p:cNvPr>
          <p:cNvSpPr txBox="1"/>
          <p:nvPr/>
        </p:nvSpPr>
        <p:spPr>
          <a:xfrm rot="16200000">
            <a:off x="6589381" y="4754344"/>
            <a:ext cx="787384" cy="307777"/>
          </a:xfrm>
          <a:prstGeom prst="rect">
            <a:avLst/>
          </a:prstGeom>
          <a:noFill/>
        </p:spPr>
        <p:txBody>
          <a:bodyPr wrap="square" rtlCol="0">
            <a:spAutoFit/>
          </a:bodyPr>
          <a:lstStyle/>
          <a:p>
            <a:pPr algn="ctr"/>
            <a:r>
              <a:rPr lang="en-US" sz="1400"/>
              <a:t>100 m</a:t>
            </a:r>
          </a:p>
        </p:txBody>
      </p:sp>
      <p:cxnSp>
        <p:nvCxnSpPr>
          <p:cNvPr id="116" name="Gerade Verbindung mit Pfeil 115">
            <a:extLst>
              <a:ext uri="{FF2B5EF4-FFF2-40B4-BE49-F238E27FC236}">
                <a16:creationId xmlns:a16="http://schemas.microsoft.com/office/drawing/2014/main" id="{F0B773E9-0A87-487B-A704-46471FE5F8D9}"/>
              </a:ext>
            </a:extLst>
          </p:cNvPr>
          <p:cNvCxnSpPr/>
          <p:nvPr/>
        </p:nvCxnSpPr>
        <p:spPr>
          <a:xfrm>
            <a:off x="5509821" y="2556737"/>
            <a:ext cx="5412100" cy="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8" name="Textfeld 117">
            <a:extLst>
              <a:ext uri="{FF2B5EF4-FFF2-40B4-BE49-F238E27FC236}">
                <a16:creationId xmlns:a16="http://schemas.microsoft.com/office/drawing/2014/main" id="{B67AB97C-E0D7-4A16-991F-46C0D65DD302}"/>
              </a:ext>
            </a:extLst>
          </p:cNvPr>
          <p:cNvSpPr txBox="1"/>
          <p:nvPr/>
        </p:nvSpPr>
        <p:spPr>
          <a:xfrm>
            <a:off x="7673395" y="2279121"/>
            <a:ext cx="1012504" cy="307777"/>
          </a:xfrm>
          <a:prstGeom prst="rect">
            <a:avLst/>
          </a:prstGeom>
          <a:noFill/>
        </p:spPr>
        <p:txBody>
          <a:bodyPr wrap="square" rtlCol="0">
            <a:spAutoFit/>
          </a:bodyPr>
          <a:lstStyle/>
          <a:p>
            <a:pPr algn="ctr"/>
            <a:r>
              <a:rPr lang="en-US" sz="1400"/>
              <a:t>40 km</a:t>
            </a:r>
          </a:p>
        </p:txBody>
      </p:sp>
      <p:grpSp>
        <p:nvGrpSpPr>
          <p:cNvPr id="8" name="Gruppieren 98">
            <a:extLst>
              <a:ext uri="{FF2B5EF4-FFF2-40B4-BE49-F238E27FC236}">
                <a16:creationId xmlns:a16="http://schemas.microsoft.com/office/drawing/2014/main" id="{51421B00-B2FF-4AD8-BA45-87E428DBF88F}"/>
              </a:ext>
            </a:extLst>
          </p:cNvPr>
          <p:cNvGrpSpPr/>
          <p:nvPr/>
        </p:nvGrpSpPr>
        <p:grpSpPr>
          <a:xfrm>
            <a:off x="9011479" y="2611067"/>
            <a:ext cx="807663" cy="233498"/>
            <a:chOff x="3186109" y="1938103"/>
            <a:chExt cx="1884776" cy="544902"/>
          </a:xfrm>
        </p:grpSpPr>
        <p:sp>
          <p:nvSpPr>
            <p:cNvPr id="9" name="Parallelogramm 99">
              <a:extLst>
                <a:ext uri="{FF2B5EF4-FFF2-40B4-BE49-F238E27FC236}">
                  <a16:creationId xmlns:a16="http://schemas.microsoft.com/office/drawing/2014/main" id="{9992EF10-2678-43D6-A3A4-CB09AE156EF5}"/>
                </a:ext>
              </a:extLst>
            </p:cNvPr>
            <p:cNvSpPr/>
            <p:nvPr/>
          </p:nvSpPr>
          <p:spPr>
            <a:xfrm>
              <a:off x="4729162" y="2129591"/>
              <a:ext cx="142875" cy="136022"/>
            </a:xfrm>
            <a:prstGeom prst="parallelogram">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33"/>
            </a:p>
          </p:txBody>
        </p:sp>
        <p:sp>
          <p:nvSpPr>
            <p:cNvPr id="10" name="Parallelogramm 100">
              <a:extLst>
                <a:ext uri="{FF2B5EF4-FFF2-40B4-BE49-F238E27FC236}">
                  <a16:creationId xmlns:a16="http://schemas.microsoft.com/office/drawing/2014/main" id="{5B13AFC4-BE34-4736-84F6-9FC03D831F5A}"/>
                </a:ext>
              </a:extLst>
            </p:cNvPr>
            <p:cNvSpPr/>
            <p:nvPr/>
          </p:nvSpPr>
          <p:spPr>
            <a:xfrm flipH="1">
              <a:off x="3285892" y="2074127"/>
              <a:ext cx="1300976" cy="408878"/>
            </a:xfrm>
            <a:prstGeom prst="parallelogram">
              <a:avLst>
                <a:gd name="adj" fmla="val 25443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33"/>
            </a:p>
          </p:txBody>
        </p:sp>
        <p:sp>
          <p:nvSpPr>
            <p:cNvPr id="11" name="Parallelogramm 101">
              <a:extLst>
                <a:ext uri="{FF2B5EF4-FFF2-40B4-BE49-F238E27FC236}">
                  <a16:creationId xmlns:a16="http://schemas.microsoft.com/office/drawing/2014/main" id="{41DE4FBE-4F41-4488-9098-229BAAAC79EB}"/>
                </a:ext>
              </a:extLst>
            </p:cNvPr>
            <p:cNvSpPr/>
            <p:nvPr/>
          </p:nvSpPr>
          <p:spPr>
            <a:xfrm flipH="1">
              <a:off x="3186109" y="1938103"/>
              <a:ext cx="366714" cy="136023"/>
            </a:xfrm>
            <a:prstGeom prst="parallelogram">
              <a:avLst>
                <a:gd name="adj" fmla="val 7848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33"/>
            </a:p>
          </p:txBody>
        </p:sp>
        <p:sp>
          <p:nvSpPr>
            <p:cNvPr id="12" name="Parallelogramm 102">
              <a:extLst>
                <a:ext uri="{FF2B5EF4-FFF2-40B4-BE49-F238E27FC236}">
                  <a16:creationId xmlns:a16="http://schemas.microsoft.com/office/drawing/2014/main" id="{476F84DD-1E1F-4D29-BEF7-A34DCBA236F8}"/>
                </a:ext>
              </a:extLst>
            </p:cNvPr>
            <p:cNvSpPr/>
            <p:nvPr/>
          </p:nvSpPr>
          <p:spPr>
            <a:xfrm>
              <a:off x="4317206" y="2390775"/>
              <a:ext cx="492918" cy="92230"/>
            </a:xfrm>
            <a:prstGeom prst="parallelogram">
              <a:avLst>
                <a:gd name="adj" fmla="val 20181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33"/>
            </a:p>
          </p:txBody>
        </p:sp>
        <p:cxnSp>
          <p:nvCxnSpPr>
            <p:cNvPr id="13" name="Gerader Verbinder 103">
              <a:extLst>
                <a:ext uri="{FF2B5EF4-FFF2-40B4-BE49-F238E27FC236}">
                  <a16:creationId xmlns:a16="http://schemas.microsoft.com/office/drawing/2014/main" id="{360A53C6-94CF-4200-8D42-2161EA47B43B}"/>
                </a:ext>
              </a:extLst>
            </p:cNvPr>
            <p:cNvCxnSpPr>
              <a:cxnSpLocks/>
              <a:stCxn id="10" idx="2"/>
            </p:cNvCxnSpPr>
            <p:nvPr/>
          </p:nvCxnSpPr>
          <p:spPr>
            <a:xfrm>
              <a:off x="3806046" y="2278566"/>
              <a:ext cx="102947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Parallelogramm 104">
              <a:extLst>
                <a:ext uri="{FF2B5EF4-FFF2-40B4-BE49-F238E27FC236}">
                  <a16:creationId xmlns:a16="http://schemas.microsoft.com/office/drawing/2014/main" id="{6A0A3BDB-6A03-46CB-B874-25EFF7FAA259}"/>
                </a:ext>
              </a:extLst>
            </p:cNvPr>
            <p:cNvSpPr/>
            <p:nvPr/>
          </p:nvSpPr>
          <p:spPr>
            <a:xfrm flipH="1">
              <a:off x="4533541" y="2047548"/>
              <a:ext cx="537344" cy="136022"/>
            </a:xfrm>
            <a:prstGeom prst="parallelogram">
              <a:avLst>
                <a:gd name="adj" fmla="val 25443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33"/>
            </a:p>
          </p:txBody>
        </p:sp>
        <p:sp>
          <p:nvSpPr>
            <p:cNvPr id="15" name="Ellipse 105">
              <a:extLst>
                <a:ext uri="{FF2B5EF4-FFF2-40B4-BE49-F238E27FC236}">
                  <a16:creationId xmlns:a16="http://schemas.microsoft.com/office/drawing/2014/main" id="{E32A3CAE-C4B8-468B-8871-231384DE9BE5}"/>
                </a:ext>
              </a:extLst>
            </p:cNvPr>
            <p:cNvSpPr/>
            <p:nvPr/>
          </p:nvSpPr>
          <p:spPr>
            <a:xfrm>
              <a:off x="3490927" y="2251576"/>
              <a:ext cx="592917" cy="55855"/>
            </a:xfrm>
            <a:prstGeom prst="ellipse">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33"/>
            </a:p>
          </p:txBody>
        </p:sp>
      </p:grpSp>
    </p:spTree>
    <p:extLst>
      <p:ext uri="{BB962C8B-B14F-4D97-AF65-F5344CB8AC3E}">
        <p14:creationId xmlns:p14="http://schemas.microsoft.com/office/powerpoint/2010/main" val="4268970151"/>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afik 9">
            <a:extLst>
              <a:ext uri="{FF2B5EF4-FFF2-40B4-BE49-F238E27FC236}">
                <a16:creationId xmlns:a16="http://schemas.microsoft.com/office/drawing/2014/main" id="{87EDDDCD-271C-4855-AD03-9DFA7A64EB38}"/>
              </a:ext>
            </a:extLst>
          </p:cNvPr>
          <p:cNvGrpSpPr/>
          <p:nvPr/>
        </p:nvGrpSpPr>
        <p:grpSpPr>
          <a:xfrm>
            <a:off x="4928198" y="1704705"/>
            <a:ext cx="885912" cy="964652"/>
            <a:chOff x="3788814" y="968032"/>
            <a:chExt cx="1285230" cy="1285279"/>
          </a:xfrm>
        </p:grpSpPr>
        <p:sp>
          <p:nvSpPr>
            <p:cNvPr id="13" name="Freihandform: Form 12">
              <a:extLst>
                <a:ext uri="{FF2B5EF4-FFF2-40B4-BE49-F238E27FC236}">
                  <a16:creationId xmlns:a16="http://schemas.microsoft.com/office/drawing/2014/main" id="{5993EE92-F2C2-453D-BE85-3BE80B558F72}"/>
                </a:ext>
              </a:extLst>
            </p:cNvPr>
            <p:cNvSpPr/>
            <p:nvPr/>
          </p:nvSpPr>
          <p:spPr>
            <a:xfrm>
              <a:off x="4344452" y="1735674"/>
              <a:ext cx="174536" cy="174536"/>
            </a:xfrm>
            <a:custGeom>
              <a:avLst/>
              <a:gdLst>
                <a:gd name="connsiteX0" fmla="*/ 159616 w 174535"/>
                <a:gd name="connsiteY0" fmla="*/ 16891 h 174535"/>
                <a:gd name="connsiteX1" fmla="*/ 16891 w 174535"/>
                <a:gd name="connsiteY1" fmla="*/ 159616 h 174535"/>
              </a:gdLst>
              <a:ahLst/>
              <a:cxnLst>
                <a:cxn ang="0">
                  <a:pos x="connsiteX0" y="connsiteY0"/>
                </a:cxn>
                <a:cxn ang="0">
                  <a:pos x="connsiteX1" y="connsiteY1"/>
                </a:cxn>
              </a:cxnLst>
              <a:rect l="l" t="t" r="r" b="b"/>
              <a:pathLst>
                <a:path w="174535" h="174535">
                  <a:moveTo>
                    <a:pt x="159616" y="16891"/>
                  </a:moveTo>
                  <a:lnTo>
                    <a:pt x="16891" y="159616"/>
                  </a:lnTo>
                </a:path>
              </a:pathLst>
            </a:custGeom>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14" name="Freihandform: Form 13">
              <a:extLst>
                <a:ext uri="{FF2B5EF4-FFF2-40B4-BE49-F238E27FC236}">
                  <a16:creationId xmlns:a16="http://schemas.microsoft.com/office/drawing/2014/main" id="{8C114293-1E02-4936-BC2A-AEB9C8337901}"/>
                </a:ext>
              </a:extLst>
            </p:cNvPr>
            <p:cNvSpPr/>
            <p:nvPr/>
          </p:nvSpPr>
          <p:spPr>
            <a:xfrm>
              <a:off x="4161753" y="1337623"/>
              <a:ext cx="568648" cy="382852"/>
            </a:xfrm>
            <a:custGeom>
              <a:avLst/>
              <a:gdLst>
                <a:gd name="connsiteX0" fmla="*/ 16891 w 568648"/>
                <a:gd name="connsiteY0" fmla="*/ 370632 h 382852"/>
                <a:gd name="connsiteX1" fmla="*/ 359825 w 568648"/>
                <a:gd name="connsiteY1" fmla="*/ 27698 h 382852"/>
                <a:gd name="connsiteX2" fmla="*/ 402896 w 568648"/>
                <a:gd name="connsiteY2" fmla="*/ 24151 h 382852"/>
                <a:gd name="connsiteX3" fmla="*/ 549280 w 568648"/>
                <a:gd name="connsiteY3" fmla="*/ 170536 h 382852"/>
                <a:gd name="connsiteX4" fmla="*/ 545733 w 568648"/>
                <a:gd name="connsiteY4" fmla="*/ 213663 h 382852"/>
                <a:gd name="connsiteX5" fmla="*/ 419842 w 568648"/>
                <a:gd name="connsiteY5" fmla="*/ 339554 h 38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8648" h="382852">
                  <a:moveTo>
                    <a:pt x="16891" y="370632"/>
                  </a:moveTo>
                  <a:lnTo>
                    <a:pt x="359825" y="27698"/>
                  </a:lnTo>
                  <a:cubicBezTo>
                    <a:pt x="372718" y="14805"/>
                    <a:pt x="391973" y="13228"/>
                    <a:pt x="402896" y="24151"/>
                  </a:cubicBezTo>
                  <a:lnTo>
                    <a:pt x="549280" y="170536"/>
                  </a:lnTo>
                  <a:cubicBezTo>
                    <a:pt x="560203" y="181458"/>
                    <a:pt x="558626" y="200770"/>
                    <a:pt x="545733" y="213663"/>
                  </a:cubicBezTo>
                  <a:lnTo>
                    <a:pt x="419842" y="339554"/>
                  </a:lnTo>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15" name="Freihandform: Form 14">
              <a:extLst>
                <a:ext uri="{FF2B5EF4-FFF2-40B4-BE49-F238E27FC236}">
                  <a16:creationId xmlns:a16="http://schemas.microsoft.com/office/drawing/2014/main" id="{B6ACC6E4-7D13-46A7-B9C2-9EAF3ECE7334}"/>
                </a:ext>
              </a:extLst>
            </p:cNvPr>
            <p:cNvSpPr/>
            <p:nvPr/>
          </p:nvSpPr>
          <p:spPr>
            <a:xfrm>
              <a:off x="4587451" y="1314881"/>
              <a:ext cx="168905" cy="168905"/>
            </a:xfrm>
            <a:custGeom>
              <a:avLst/>
              <a:gdLst>
                <a:gd name="connsiteX0" fmla="*/ 16891 w 168905"/>
                <a:gd name="connsiteY0" fmla="*/ 89682 h 168905"/>
                <a:gd name="connsiteX1" fmla="*/ 83721 w 168905"/>
                <a:gd name="connsiteY1" fmla="*/ 22852 h 168905"/>
                <a:gd name="connsiteX2" fmla="*/ 112384 w 168905"/>
                <a:gd name="connsiteY2" fmla="*/ 22802 h 168905"/>
                <a:gd name="connsiteX3" fmla="*/ 112435 w 168905"/>
                <a:gd name="connsiteY3" fmla="*/ 22852 h 168905"/>
                <a:gd name="connsiteX4" fmla="*/ 147454 w 168905"/>
                <a:gd name="connsiteY4" fmla="*/ 57815 h 168905"/>
                <a:gd name="connsiteX5" fmla="*/ 147505 w 168905"/>
                <a:gd name="connsiteY5" fmla="*/ 86480 h 168905"/>
                <a:gd name="connsiteX6" fmla="*/ 147454 w 168905"/>
                <a:gd name="connsiteY6" fmla="*/ 86529 h 168905"/>
                <a:gd name="connsiteX7" fmla="*/ 80624 w 168905"/>
                <a:gd name="connsiteY7" fmla="*/ 153360 h 168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905" h="168905">
                  <a:moveTo>
                    <a:pt x="16891" y="89682"/>
                  </a:moveTo>
                  <a:lnTo>
                    <a:pt x="83721" y="22852"/>
                  </a:lnTo>
                  <a:cubicBezTo>
                    <a:pt x="91620" y="14923"/>
                    <a:pt x="104457" y="14900"/>
                    <a:pt x="112384" y="22802"/>
                  </a:cubicBezTo>
                  <a:cubicBezTo>
                    <a:pt x="112401" y="22819"/>
                    <a:pt x="112418" y="22835"/>
                    <a:pt x="112435" y="22852"/>
                  </a:cubicBezTo>
                  <a:lnTo>
                    <a:pt x="147454" y="57815"/>
                  </a:lnTo>
                  <a:cubicBezTo>
                    <a:pt x="155382" y="65717"/>
                    <a:pt x="155404" y="78550"/>
                    <a:pt x="147505" y="86480"/>
                  </a:cubicBezTo>
                  <a:cubicBezTo>
                    <a:pt x="147488" y="86496"/>
                    <a:pt x="147471" y="86513"/>
                    <a:pt x="147454" y="86529"/>
                  </a:cubicBezTo>
                  <a:lnTo>
                    <a:pt x="80624" y="153360"/>
                  </a:lnTo>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16" name="Freihandform: Form 15">
              <a:extLst>
                <a:ext uri="{FF2B5EF4-FFF2-40B4-BE49-F238E27FC236}">
                  <a16:creationId xmlns:a16="http://schemas.microsoft.com/office/drawing/2014/main" id="{0C9E7D30-948D-4585-9434-860EC0B1706C}"/>
                </a:ext>
              </a:extLst>
            </p:cNvPr>
            <p:cNvSpPr/>
            <p:nvPr/>
          </p:nvSpPr>
          <p:spPr>
            <a:xfrm>
              <a:off x="3788814" y="968032"/>
              <a:ext cx="568648" cy="568648"/>
            </a:xfrm>
            <a:custGeom>
              <a:avLst/>
              <a:gdLst>
                <a:gd name="connsiteX0" fmla="*/ 230906 w 568648"/>
                <a:gd name="connsiteY0" fmla="*/ 23887 h 568648"/>
                <a:gd name="connsiteX1" fmla="*/ 549397 w 568648"/>
                <a:gd name="connsiteY1" fmla="*/ 342378 h 568648"/>
                <a:gd name="connsiteX2" fmla="*/ 342378 w 568648"/>
                <a:gd name="connsiteY2" fmla="*/ 549397 h 568648"/>
                <a:gd name="connsiteX3" fmla="*/ 23887 w 568648"/>
                <a:gd name="connsiteY3" fmla="*/ 230906 h 568648"/>
              </a:gdLst>
              <a:ahLst/>
              <a:cxnLst>
                <a:cxn ang="0">
                  <a:pos x="connsiteX0" y="connsiteY0"/>
                </a:cxn>
                <a:cxn ang="0">
                  <a:pos x="connsiteX1" y="connsiteY1"/>
                </a:cxn>
                <a:cxn ang="0">
                  <a:pos x="connsiteX2" y="connsiteY2"/>
                </a:cxn>
                <a:cxn ang="0">
                  <a:pos x="connsiteX3" y="connsiteY3"/>
                </a:cxn>
              </a:cxnLst>
              <a:rect l="l" t="t" r="r" b="b"/>
              <a:pathLst>
                <a:path w="568648" h="568648">
                  <a:moveTo>
                    <a:pt x="230906" y="23887"/>
                  </a:moveTo>
                  <a:lnTo>
                    <a:pt x="549397" y="342378"/>
                  </a:lnTo>
                  <a:lnTo>
                    <a:pt x="342378" y="549397"/>
                  </a:lnTo>
                  <a:lnTo>
                    <a:pt x="23887" y="230906"/>
                  </a:lnTo>
                  <a:close/>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17" name="Freihandform: Form 16">
              <a:extLst>
                <a:ext uri="{FF2B5EF4-FFF2-40B4-BE49-F238E27FC236}">
                  <a16:creationId xmlns:a16="http://schemas.microsoft.com/office/drawing/2014/main" id="{131F402D-43CF-4732-A776-745C347CF7B7}"/>
                </a:ext>
              </a:extLst>
            </p:cNvPr>
            <p:cNvSpPr/>
            <p:nvPr/>
          </p:nvSpPr>
          <p:spPr>
            <a:xfrm>
              <a:off x="3911322" y="1680705"/>
              <a:ext cx="478565" cy="478565"/>
            </a:xfrm>
            <a:custGeom>
              <a:avLst/>
              <a:gdLst>
                <a:gd name="connsiteX0" fmla="*/ 387019 w 478565"/>
                <a:gd name="connsiteY0" fmla="*/ 93536 h 478565"/>
                <a:gd name="connsiteX1" fmla="*/ 16891 w 478565"/>
                <a:gd name="connsiteY1" fmla="*/ 93536 h 478565"/>
                <a:gd name="connsiteX2" fmla="*/ 387019 w 478565"/>
                <a:gd name="connsiteY2" fmla="*/ 463664 h 478565"/>
                <a:gd name="connsiteX3" fmla="*/ 387142 w 478565"/>
                <a:gd name="connsiteY3" fmla="*/ 93659 h 478565"/>
                <a:gd name="connsiteX4" fmla="*/ 387019 w 478565"/>
                <a:gd name="connsiteY4" fmla="*/ 93536 h 478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65" h="478565">
                  <a:moveTo>
                    <a:pt x="387019" y="93536"/>
                  </a:moveTo>
                  <a:cubicBezTo>
                    <a:pt x="284804" y="-8658"/>
                    <a:pt x="119105" y="-8658"/>
                    <a:pt x="16891" y="93536"/>
                  </a:cubicBezTo>
                  <a:lnTo>
                    <a:pt x="387019" y="463664"/>
                  </a:lnTo>
                  <a:cubicBezTo>
                    <a:pt x="489229" y="361521"/>
                    <a:pt x="489279" y="195864"/>
                    <a:pt x="387142" y="93659"/>
                  </a:cubicBezTo>
                  <a:cubicBezTo>
                    <a:pt x="387097" y="93614"/>
                    <a:pt x="387058" y="93575"/>
                    <a:pt x="387019" y="93536"/>
                  </a:cubicBezTo>
                  <a:close/>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18" name="Freihandform: Form 17">
              <a:extLst>
                <a:ext uri="{FF2B5EF4-FFF2-40B4-BE49-F238E27FC236}">
                  <a16:creationId xmlns:a16="http://schemas.microsoft.com/office/drawing/2014/main" id="{2CCB23B1-80FF-493C-9770-70499CE2D13C}"/>
                </a:ext>
              </a:extLst>
            </p:cNvPr>
            <p:cNvSpPr/>
            <p:nvPr/>
          </p:nvSpPr>
          <p:spPr>
            <a:xfrm>
              <a:off x="3911231" y="1929915"/>
              <a:ext cx="225207" cy="230837"/>
            </a:xfrm>
            <a:custGeom>
              <a:avLst/>
              <a:gdLst>
                <a:gd name="connsiteX0" fmla="*/ 16925 w 225207"/>
                <a:gd name="connsiteY0" fmla="*/ 16891 h 230837"/>
                <a:gd name="connsiteX1" fmla="*/ 209668 w 225207"/>
                <a:gd name="connsiteY1" fmla="*/ 216953 h 230837"/>
                <a:gd name="connsiteX2" fmla="*/ 213306 w 225207"/>
                <a:gd name="connsiteY2" fmla="*/ 216987 h 230837"/>
              </a:gdLst>
              <a:ahLst/>
              <a:cxnLst>
                <a:cxn ang="0">
                  <a:pos x="connsiteX0" y="connsiteY0"/>
                </a:cxn>
                <a:cxn ang="0">
                  <a:pos x="connsiteX1" y="connsiteY1"/>
                </a:cxn>
                <a:cxn ang="0">
                  <a:pos x="connsiteX2" y="connsiteY2"/>
                </a:cxn>
              </a:cxnLst>
              <a:rect l="l" t="t" r="r" b="b"/>
              <a:pathLst>
                <a:path w="225207" h="230837">
                  <a:moveTo>
                    <a:pt x="16925" y="16891"/>
                  </a:moveTo>
                  <a:cubicBezTo>
                    <a:pt x="14904" y="125362"/>
                    <a:pt x="101198" y="214932"/>
                    <a:pt x="209668" y="216953"/>
                  </a:cubicBezTo>
                  <a:cubicBezTo>
                    <a:pt x="210881" y="216976"/>
                    <a:pt x="212093" y="216987"/>
                    <a:pt x="213306" y="216987"/>
                  </a:cubicBezTo>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19" name="Freihandform: Form 18">
              <a:extLst>
                <a:ext uri="{FF2B5EF4-FFF2-40B4-BE49-F238E27FC236}">
                  <a16:creationId xmlns:a16="http://schemas.microsoft.com/office/drawing/2014/main" id="{C1C5D55D-45E1-4AD8-9CE8-48B68F00BB62}"/>
                </a:ext>
              </a:extLst>
            </p:cNvPr>
            <p:cNvSpPr/>
            <p:nvPr/>
          </p:nvSpPr>
          <p:spPr>
            <a:xfrm>
              <a:off x="3833688" y="1929915"/>
              <a:ext cx="304030" cy="309660"/>
            </a:xfrm>
            <a:custGeom>
              <a:avLst/>
              <a:gdLst>
                <a:gd name="connsiteX0" fmla="*/ 16941 w 304029"/>
                <a:gd name="connsiteY0" fmla="*/ 16891 h 309659"/>
                <a:gd name="connsiteX1" fmla="*/ 284437 w 304029"/>
                <a:gd name="connsiteY1" fmla="*/ 294746 h 309659"/>
                <a:gd name="connsiteX2" fmla="*/ 289385 w 304029"/>
                <a:gd name="connsiteY2" fmla="*/ 294796 h 309659"/>
              </a:gdLst>
              <a:ahLst/>
              <a:cxnLst>
                <a:cxn ang="0">
                  <a:pos x="connsiteX0" y="connsiteY0"/>
                </a:cxn>
                <a:cxn ang="0">
                  <a:pos x="connsiteX1" y="connsiteY1"/>
                </a:cxn>
                <a:cxn ang="0">
                  <a:pos x="connsiteX2" y="connsiteY2"/>
                </a:cxn>
              </a:cxnLst>
              <a:rect l="l" t="t" r="r" b="b"/>
              <a:pathLst>
                <a:path w="304029" h="309659">
                  <a:moveTo>
                    <a:pt x="16941" y="16891"/>
                  </a:moveTo>
                  <a:cubicBezTo>
                    <a:pt x="14080" y="167487"/>
                    <a:pt x="133842" y="291885"/>
                    <a:pt x="284437" y="294746"/>
                  </a:cubicBezTo>
                  <a:cubicBezTo>
                    <a:pt x="286086" y="294779"/>
                    <a:pt x="287736" y="294796"/>
                    <a:pt x="289385" y="294796"/>
                  </a:cubicBezTo>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20" name="Freihandform: Form 19">
              <a:extLst>
                <a:ext uri="{FF2B5EF4-FFF2-40B4-BE49-F238E27FC236}">
                  <a16:creationId xmlns:a16="http://schemas.microsoft.com/office/drawing/2014/main" id="{AE4A48C3-4543-452E-A606-344C1132A75B}"/>
                </a:ext>
              </a:extLst>
            </p:cNvPr>
            <p:cNvSpPr/>
            <p:nvPr/>
          </p:nvSpPr>
          <p:spPr>
            <a:xfrm>
              <a:off x="3991533" y="1931886"/>
              <a:ext cx="146385" cy="146385"/>
            </a:xfrm>
            <a:custGeom>
              <a:avLst/>
              <a:gdLst>
                <a:gd name="connsiteX0" fmla="*/ 16910 w 146384"/>
                <a:gd name="connsiteY0" fmla="*/ 16891 h 146384"/>
                <a:gd name="connsiteX1" fmla="*/ 130282 w 146384"/>
                <a:gd name="connsiteY1" fmla="*/ 134432 h 146384"/>
                <a:gd name="connsiteX2" fmla="*/ 132159 w 146384"/>
                <a:gd name="connsiteY2" fmla="*/ 134449 h 146384"/>
              </a:gdLst>
              <a:ahLst/>
              <a:cxnLst>
                <a:cxn ang="0">
                  <a:pos x="connsiteX0" y="connsiteY0"/>
                </a:cxn>
                <a:cxn ang="0">
                  <a:pos x="connsiteX1" y="connsiteY1"/>
                </a:cxn>
                <a:cxn ang="0">
                  <a:pos x="connsiteX2" y="connsiteY2"/>
                </a:cxn>
              </a:cxnLst>
              <a:rect l="l" t="t" r="r" b="b"/>
              <a:pathLst>
                <a:path w="146384" h="146384">
                  <a:moveTo>
                    <a:pt x="16910" y="16891"/>
                  </a:moveTo>
                  <a:cubicBezTo>
                    <a:pt x="15759" y="80658"/>
                    <a:pt x="66518" y="133278"/>
                    <a:pt x="130282" y="134432"/>
                  </a:cubicBezTo>
                  <a:cubicBezTo>
                    <a:pt x="130908" y="134443"/>
                    <a:pt x="131534" y="134449"/>
                    <a:pt x="132159" y="134449"/>
                  </a:cubicBezTo>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21" name="Freihandform: Form 20">
              <a:extLst>
                <a:ext uri="{FF2B5EF4-FFF2-40B4-BE49-F238E27FC236}">
                  <a16:creationId xmlns:a16="http://schemas.microsoft.com/office/drawing/2014/main" id="{08F2AE45-8728-4F32-8E8D-5F1C3BDE9458}"/>
                </a:ext>
              </a:extLst>
            </p:cNvPr>
            <p:cNvSpPr/>
            <p:nvPr/>
          </p:nvSpPr>
          <p:spPr>
            <a:xfrm>
              <a:off x="3894991" y="1074209"/>
              <a:ext cx="360332" cy="360332"/>
            </a:xfrm>
            <a:custGeom>
              <a:avLst/>
              <a:gdLst>
                <a:gd name="connsiteX0" fmla="*/ 230906 w 360331"/>
                <a:gd name="connsiteY0" fmla="*/ 23887 h 360331"/>
                <a:gd name="connsiteX1" fmla="*/ 337083 w 360331"/>
                <a:gd name="connsiteY1" fmla="*/ 130064 h 360331"/>
                <a:gd name="connsiteX2" fmla="*/ 130064 w 360331"/>
                <a:gd name="connsiteY2" fmla="*/ 337083 h 360331"/>
                <a:gd name="connsiteX3" fmla="*/ 23887 w 360331"/>
                <a:gd name="connsiteY3" fmla="*/ 230906 h 360331"/>
              </a:gdLst>
              <a:ahLst/>
              <a:cxnLst>
                <a:cxn ang="0">
                  <a:pos x="connsiteX0" y="connsiteY0"/>
                </a:cxn>
                <a:cxn ang="0">
                  <a:pos x="connsiteX1" y="connsiteY1"/>
                </a:cxn>
                <a:cxn ang="0">
                  <a:pos x="connsiteX2" y="connsiteY2"/>
                </a:cxn>
                <a:cxn ang="0">
                  <a:pos x="connsiteX3" y="connsiteY3"/>
                </a:cxn>
              </a:cxnLst>
              <a:rect l="l" t="t" r="r" b="b"/>
              <a:pathLst>
                <a:path w="360331" h="360331">
                  <a:moveTo>
                    <a:pt x="230906" y="23887"/>
                  </a:moveTo>
                  <a:lnTo>
                    <a:pt x="337083" y="130064"/>
                  </a:lnTo>
                  <a:lnTo>
                    <a:pt x="130064" y="337083"/>
                  </a:lnTo>
                  <a:lnTo>
                    <a:pt x="23887" y="230906"/>
                  </a:lnTo>
                  <a:close/>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22" name="Freihandform: Form 21">
              <a:extLst>
                <a:ext uri="{FF2B5EF4-FFF2-40B4-BE49-F238E27FC236}">
                  <a16:creationId xmlns:a16="http://schemas.microsoft.com/office/drawing/2014/main" id="{1A4F6687-7B3D-4598-95F2-9F9E3E27E843}"/>
                </a:ext>
              </a:extLst>
            </p:cNvPr>
            <p:cNvSpPr/>
            <p:nvPr/>
          </p:nvSpPr>
          <p:spPr>
            <a:xfrm>
              <a:off x="4217773" y="1397019"/>
              <a:ext cx="140754" cy="140754"/>
            </a:xfrm>
            <a:custGeom>
              <a:avLst/>
              <a:gdLst>
                <a:gd name="connsiteX0" fmla="*/ 16891 w 140754"/>
                <a:gd name="connsiteY0" fmla="*/ 16891 h 140754"/>
                <a:gd name="connsiteX1" fmla="*/ 128706 w 140754"/>
                <a:gd name="connsiteY1" fmla="*/ 128706 h 140754"/>
              </a:gdLst>
              <a:ahLst/>
              <a:cxnLst>
                <a:cxn ang="0">
                  <a:pos x="connsiteX0" y="connsiteY0"/>
                </a:cxn>
                <a:cxn ang="0">
                  <a:pos x="connsiteX1" y="connsiteY1"/>
                </a:cxn>
              </a:cxnLst>
              <a:rect l="l" t="t" r="r" b="b"/>
              <a:pathLst>
                <a:path w="140754" h="140754">
                  <a:moveTo>
                    <a:pt x="16891" y="16891"/>
                  </a:moveTo>
                  <a:lnTo>
                    <a:pt x="128706" y="128706"/>
                  </a:lnTo>
                </a:path>
              </a:pathLst>
            </a:custGeom>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23" name="Freihandform: Form 22">
              <a:extLst>
                <a:ext uri="{FF2B5EF4-FFF2-40B4-BE49-F238E27FC236}">
                  <a16:creationId xmlns:a16="http://schemas.microsoft.com/office/drawing/2014/main" id="{2510A3FD-BC98-481C-8D87-887921C231AF}"/>
                </a:ext>
              </a:extLst>
            </p:cNvPr>
            <p:cNvSpPr/>
            <p:nvPr/>
          </p:nvSpPr>
          <p:spPr>
            <a:xfrm>
              <a:off x="4505396" y="1684663"/>
              <a:ext cx="568648" cy="568648"/>
            </a:xfrm>
            <a:custGeom>
              <a:avLst/>
              <a:gdLst>
                <a:gd name="connsiteX0" fmla="*/ 342378 w 568648"/>
                <a:gd name="connsiteY0" fmla="*/ 549397 h 568648"/>
                <a:gd name="connsiteX1" fmla="*/ 23887 w 568648"/>
                <a:gd name="connsiteY1" fmla="*/ 230906 h 568648"/>
                <a:gd name="connsiteX2" fmla="*/ 230906 w 568648"/>
                <a:gd name="connsiteY2" fmla="*/ 23887 h 568648"/>
                <a:gd name="connsiteX3" fmla="*/ 549397 w 568648"/>
                <a:gd name="connsiteY3" fmla="*/ 342378 h 568648"/>
              </a:gdLst>
              <a:ahLst/>
              <a:cxnLst>
                <a:cxn ang="0">
                  <a:pos x="connsiteX0" y="connsiteY0"/>
                </a:cxn>
                <a:cxn ang="0">
                  <a:pos x="connsiteX1" y="connsiteY1"/>
                </a:cxn>
                <a:cxn ang="0">
                  <a:pos x="connsiteX2" y="connsiteY2"/>
                </a:cxn>
                <a:cxn ang="0">
                  <a:pos x="connsiteX3" y="connsiteY3"/>
                </a:cxn>
              </a:cxnLst>
              <a:rect l="l" t="t" r="r" b="b"/>
              <a:pathLst>
                <a:path w="568648" h="568648">
                  <a:moveTo>
                    <a:pt x="342378" y="549397"/>
                  </a:moveTo>
                  <a:lnTo>
                    <a:pt x="23887" y="230906"/>
                  </a:lnTo>
                  <a:lnTo>
                    <a:pt x="230906" y="23887"/>
                  </a:lnTo>
                  <a:lnTo>
                    <a:pt x="549397" y="342378"/>
                  </a:lnTo>
                  <a:close/>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24" name="Freihandform: Form 23">
              <a:extLst>
                <a:ext uri="{FF2B5EF4-FFF2-40B4-BE49-F238E27FC236}">
                  <a16:creationId xmlns:a16="http://schemas.microsoft.com/office/drawing/2014/main" id="{51EEA3C3-020E-4FF2-88C6-3A60EF3B5681}"/>
                </a:ext>
              </a:extLst>
            </p:cNvPr>
            <p:cNvSpPr/>
            <p:nvPr/>
          </p:nvSpPr>
          <p:spPr>
            <a:xfrm>
              <a:off x="4611533" y="1790800"/>
              <a:ext cx="360332" cy="360332"/>
            </a:xfrm>
            <a:custGeom>
              <a:avLst/>
              <a:gdLst>
                <a:gd name="connsiteX0" fmla="*/ 130064 w 360331"/>
                <a:gd name="connsiteY0" fmla="*/ 337083 h 360331"/>
                <a:gd name="connsiteX1" fmla="*/ 23887 w 360331"/>
                <a:gd name="connsiteY1" fmla="*/ 230906 h 360331"/>
                <a:gd name="connsiteX2" fmla="*/ 230906 w 360331"/>
                <a:gd name="connsiteY2" fmla="*/ 23887 h 360331"/>
                <a:gd name="connsiteX3" fmla="*/ 337083 w 360331"/>
                <a:gd name="connsiteY3" fmla="*/ 130064 h 360331"/>
              </a:gdLst>
              <a:ahLst/>
              <a:cxnLst>
                <a:cxn ang="0">
                  <a:pos x="connsiteX0" y="connsiteY0"/>
                </a:cxn>
                <a:cxn ang="0">
                  <a:pos x="connsiteX1" y="connsiteY1"/>
                </a:cxn>
                <a:cxn ang="0">
                  <a:pos x="connsiteX2" y="connsiteY2"/>
                </a:cxn>
                <a:cxn ang="0">
                  <a:pos x="connsiteX3" y="connsiteY3"/>
                </a:cxn>
              </a:cxnLst>
              <a:rect l="l" t="t" r="r" b="b"/>
              <a:pathLst>
                <a:path w="360331" h="360331">
                  <a:moveTo>
                    <a:pt x="130064" y="337083"/>
                  </a:moveTo>
                  <a:lnTo>
                    <a:pt x="23887" y="230906"/>
                  </a:lnTo>
                  <a:lnTo>
                    <a:pt x="230906" y="23887"/>
                  </a:lnTo>
                  <a:lnTo>
                    <a:pt x="337083" y="130064"/>
                  </a:lnTo>
                  <a:close/>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25" name="Freihandform: Form 24">
              <a:extLst>
                <a:ext uri="{FF2B5EF4-FFF2-40B4-BE49-F238E27FC236}">
                  <a16:creationId xmlns:a16="http://schemas.microsoft.com/office/drawing/2014/main" id="{AEC4421C-774E-4152-9ABF-3F7AA6010E25}"/>
                </a:ext>
              </a:extLst>
            </p:cNvPr>
            <p:cNvSpPr/>
            <p:nvPr/>
          </p:nvSpPr>
          <p:spPr>
            <a:xfrm>
              <a:off x="4496467" y="1675713"/>
              <a:ext cx="152015" cy="152015"/>
            </a:xfrm>
            <a:custGeom>
              <a:avLst/>
              <a:gdLst>
                <a:gd name="connsiteX0" fmla="*/ 136363 w 152014"/>
                <a:gd name="connsiteY0" fmla="*/ 136363 h 152014"/>
                <a:gd name="connsiteX1" fmla="*/ 16891 w 152014"/>
                <a:gd name="connsiteY1" fmla="*/ 16891 h 152014"/>
              </a:gdLst>
              <a:ahLst/>
              <a:cxnLst>
                <a:cxn ang="0">
                  <a:pos x="connsiteX0" y="connsiteY0"/>
                </a:cxn>
                <a:cxn ang="0">
                  <a:pos x="connsiteX1" y="connsiteY1"/>
                </a:cxn>
              </a:cxnLst>
              <a:rect l="l" t="t" r="r" b="b"/>
              <a:pathLst>
                <a:path w="152014" h="152014">
                  <a:moveTo>
                    <a:pt x="136363" y="136363"/>
                  </a:moveTo>
                  <a:lnTo>
                    <a:pt x="16891" y="16891"/>
                  </a:lnTo>
                </a:path>
              </a:pathLst>
            </a:custGeom>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grpSp>
      <p:grpSp>
        <p:nvGrpSpPr>
          <p:cNvPr id="47" name="Gruppieren 46">
            <a:extLst>
              <a:ext uri="{FF2B5EF4-FFF2-40B4-BE49-F238E27FC236}">
                <a16:creationId xmlns:a16="http://schemas.microsoft.com/office/drawing/2014/main" id="{99E16967-EB42-44BC-88D0-ED9B2EF52B58}"/>
              </a:ext>
            </a:extLst>
          </p:cNvPr>
          <p:cNvGrpSpPr/>
          <p:nvPr/>
        </p:nvGrpSpPr>
        <p:grpSpPr>
          <a:xfrm>
            <a:off x="6422571" y="4221504"/>
            <a:ext cx="1003066" cy="1253448"/>
            <a:chOff x="6423883" y="2714854"/>
            <a:chExt cx="1487399" cy="1566980"/>
          </a:xfrm>
        </p:grpSpPr>
        <p:sp>
          <p:nvSpPr>
            <p:cNvPr id="41" name="Freihandform: Form 40">
              <a:extLst>
                <a:ext uri="{FF2B5EF4-FFF2-40B4-BE49-F238E27FC236}">
                  <a16:creationId xmlns:a16="http://schemas.microsoft.com/office/drawing/2014/main" id="{F07F27BD-FDB5-402D-9FF3-CC2F3AE1D190}"/>
                </a:ext>
              </a:extLst>
            </p:cNvPr>
            <p:cNvSpPr/>
            <p:nvPr/>
          </p:nvSpPr>
          <p:spPr>
            <a:xfrm flipH="1">
              <a:off x="7170750" y="3510505"/>
              <a:ext cx="740532" cy="771329"/>
            </a:xfrm>
            <a:custGeom>
              <a:avLst/>
              <a:gdLst>
                <a:gd name="connsiteX0" fmla="*/ 653411 w 740531"/>
                <a:gd name="connsiteY0" fmla="*/ 263537 h 771328"/>
                <a:gd name="connsiteX1" fmla="*/ 603025 w 740531"/>
                <a:gd name="connsiteY1" fmla="*/ 308531 h 771328"/>
                <a:gd name="connsiteX2" fmla="*/ 317703 w 740531"/>
                <a:gd name="connsiteY2" fmla="*/ 64277 h 771328"/>
                <a:gd name="connsiteX3" fmla="*/ 377526 w 740531"/>
                <a:gd name="connsiteY3" fmla="*/ 19283 h 771328"/>
                <a:gd name="connsiteX4" fmla="*/ 108321 w 740531"/>
                <a:gd name="connsiteY4" fmla="*/ 687768 h 771328"/>
                <a:gd name="connsiteX5" fmla="*/ 304925 w 740531"/>
                <a:gd name="connsiteY5" fmla="*/ 276393 h 771328"/>
                <a:gd name="connsiteX6" fmla="*/ 457896 w 740531"/>
                <a:gd name="connsiteY6" fmla="*/ 308531 h 771328"/>
                <a:gd name="connsiteX7" fmla="*/ 641068 w 740531"/>
                <a:gd name="connsiteY7" fmla="*/ 687768 h 771328"/>
                <a:gd name="connsiteX8" fmla="*/ 21780 w 740531"/>
                <a:gd name="connsiteY8" fmla="*/ 687768 h 771328"/>
                <a:gd name="connsiteX9" fmla="*/ 718752 w 740531"/>
                <a:gd name="connsiteY9" fmla="*/ 687768 h 771328"/>
                <a:gd name="connsiteX10" fmla="*/ 718752 w 740531"/>
                <a:gd name="connsiteY10" fmla="*/ 752045 h 771328"/>
                <a:gd name="connsiteX11" fmla="*/ 21780 w 740531"/>
                <a:gd name="connsiteY11" fmla="*/ 752045 h 77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0531" h="771328">
                  <a:moveTo>
                    <a:pt x="653411" y="263537"/>
                  </a:moveTo>
                  <a:lnTo>
                    <a:pt x="603025" y="308531"/>
                  </a:lnTo>
                  <a:cubicBezTo>
                    <a:pt x="487433" y="248239"/>
                    <a:pt x="389648" y="164531"/>
                    <a:pt x="317703" y="64277"/>
                  </a:cubicBezTo>
                  <a:lnTo>
                    <a:pt x="377526" y="19283"/>
                  </a:lnTo>
                  <a:moveTo>
                    <a:pt x="108321" y="687768"/>
                  </a:moveTo>
                  <a:lnTo>
                    <a:pt x="304925" y="276393"/>
                  </a:lnTo>
                  <a:moveTo>
                    <a:pt x="457896" y="308531"/>
                  </a:moveTo>
                  <a:lnTo>
                    <a:pt x="641068" y="687768"/>
                  </a:lnTo>
                  <a:moveTo>
                    <a:pt x="21780" y="687768"/>
                  </a:moveTo>
                  <a:lnTo>
                    <a:pt x="718752" y="687768"/>
                  </a:lnTo>
                  <a:lnTo>
                    <a:pt x="718752" y="752045"/>
                  </a:lnTo>
                  <a:lnTo>
                    <a:pt x="21780" y="752045"/>
                  </a:lnTo>
                  <a:close/>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34" name="Freihandform: Form 33">
              <a:extLst>
                <a:ext uri="{FF2B5EF4-FFF2-40B4-BE49-F238E27FC236}">
                  <a16:creationId xmlns:a16="http://schemas.microsoft.com/office/drawing/2014/main" id="{AD4C1675-E39D-4D10-A66F-C1AE80B9C6D3}"/>
                </a:ext>
              </a:extLst>
            </p:cNvPr>
            <p:cNvSpPr/>
            <p:nvPr/>
          </p:nvSpPr>
          <p:spPr>
            <a:xfrm flipH="1">
              <a:off x="6526233" y="2811522"/>
              <a:ext cx="1183399" cy="1041294"/>
            </a:xfrm>
            <a:custGeom>
              <a:avLst/>
              <a:gdLst>
                <a:gd name="connsiteX0" fmla="*/ 109286 w 1183399"/>
                <a:gd name="connsiteY0" fmla="*/ 19283 h 1041293"/>
                <a:gd name="connsiteX1" fmla="*/ 443869 w 1183399"/>
                <a:gd name="connsiteY1" fmla="*/ 950881 h 1041293"/>
                <a:gd name="connsiteX2" fmla="*/ 1162003 w 1183399"/>
                <a:gd name="connsiteY2" fmla="*/ 950663 h 1041293"/>
              </a:gdLst>
              <a:ahLst/>
              <a:cxnLst>
                <a:cxn ang="0">
                  <a:pos x="connsiteX0" y="connsiteY0"/>
                </a:cxn>
                <a:cxn ang="0">
                  <a:pos x="connsiteX1" y="connsiteY1"/>
                </a:cxn>
                <a:cxn ang="0">
                  <a:pos x="connsiteX2" y="connsiteY2"/>
                </a:cxn>
              </a:cxnLst>
              <a:rect l="l" t="t" r="r" b="b"/>
              <a:pathLst>
                <a:path w="1183399" h="1041293">
                  <a:moveTo>
                    <a:pt x="109286" y="19283"/>
                  </a:moveTo>
                  <a:cubicBezTo>
                    <a:pt x="-88890" y="358336"/>
                    <a:pt x="60907" y="775430"/>
                    <a:pt x="443869" y="950881"/>
                  </a:cubicBezTo>
                  <a:cubicBezTo>
                    <a:pt x="669085" y="1054066"/>
                    <a:pt x="936867" y="1053982"/>
                    <a:pt x="1162003" y="950663"/>
                  </a:cubicBezTo>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35" name="Freihandform: Form 34">
              <a:extLst>
                <a:ext uri="{FF2B5EF4-FFF2-40B4-BE49-F238E27FC236}">
                  <a16:creationId xmlns:a16="http://schemas.microsoft.com/office/drawing/2014/main" id="{5BF6BFC9-34A9-41DF-9670-8056B77E931A}"/>
                </a:ext>
              </a:extLst>
            </p:cNvPr>
            <p:cNvSpPr/>
            <p:nvPr/>
          </p:nvSpPr>
          <p:spPr>
            <a:xfrm flipH="1">
              <a:off x="6452811" y="2727733"/>
              <a:ext cx="1205179" cy="1067005"/>
            </a:xfrm>
            <a:custGeom>
              <a:avLst/>
              <a:gdLst>
                <a:gd name="connsiteX0" fmla="*/ 30802 w 1205179"/>
                <a:gd name="connsiteY0" fmla="*/ 77267 h 1067004"/>
                <a:gd name="connsiteX1" fmla="*/ 87273 w 1205179"/>
                <a:gd name="connsiteY1" fmla="*/ 27271 h 1067004"/>
                <a:gd name="connsiteX2" fmla="*/ 1180746 w 1205179"/>
                <a:gd name="connsiteY2" fmla="*/ 995377 h 1067004"/>
                <a:gd name="connsiteX3" fmla="*/ 1124276 w 1205179"/>
                <a:gd name="connsiteY3" fmla="*/ 1045373 h 1067004"/>
              </a:gdLst>
              <a:ahLst/>
              <a:cxnLst>
                <a:cxn ang="0">
                  <a:pos x="connsiteX0" y="connsiteY0"/>
                </a:cxn>
                <a:cxn ang="0">
                  <a:pos x="connsiteX1" y="connsiteY1"/>
                </a:cxn>
                <a:cxn ang="0">
                  <a:pos x="connsiteX2" y="connsiteY2"/>
                </a:cxn>
                <a:cxn ang="0">
                  <a:pos x="connsiteX3" y="connsiteY3"/>
                </a:cxn>
              </a:cxnLst>
              <a:rect l="l" t="t" r="r" b="b"/>
              <a:pathLst>
                <a:path w="1205179" h="1067004">
                  <a:moveTo>
                    <a:pt x="30802" y="77267"/>
                  </a:moveTo>
                  <a:lnTo>
                    <a:pt x="87273" y="27271"/>
                  </a:lnTo>
                  <a:lnTo>
                    <a:pt x="1180746" y="995377"/>
                  </a:lnTo>
                  <a:lnTo>
                    <a:pt x="1124276" y="1045373"/>
                  </a:lnTo>
                  <a:close/>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36" name="Freihandform: Form 35">
              <a:extLst>
                <a:ext uri="{FF2B5EF4-FFF2-40B4-BE49-F238E27FC236}">
                  <a16:creationId xmlns:a16="http://schemas.microsoft.com/office/drawing/2014/main" id="{8D4E8DBA-0EB8-43B8-8AF2-88F158F633EA}"/>
                </a:ext>
              </a:extLst>
            </p:cNvPr>
            <p:cNvSpPr/>
            <p:nvPr/>
          </p:nvSpPr>
          <p:spPr>
            <a:xfrm flipH="1">
              <a:off x="6801733" y="3042278"/>
              <a:ext cx="239584" cy="212115"/>
            </a:xfrm>
            <a:custGeom>
              <a:avLst/>
              <a:gdLst>
                <a:gd name="connsiteX0" fmla="*/ 21780 w 239583"/>
                <a:gd name="connsiteY0" fmla="*/ 192832 h 212115"/>
                <a:gd name="connsiteX1" fmla="*/ 217804 w 239583"/>
                <a:gd name="connsiteY1" fmla="*/ 19283 h 212115"/>
              </a:gdLst>
              <a:ahLst/>
              <a:cxnLst>
                <a:cxn ang="0">
                  <a:pos x="connsiteX0" y="connsiteY0"/>
                </a:cxn>
                <a:cxn ang="0">
                  <a:pos x="connsiteX1" y="connsiteY1"/>
                </a:cxn>
              </a:cxnLst>
              <a:rect l="l" t="t" r="r" b="b"/>
              <a:pathLst>
                <a:path w="239583" h="212115">
                  <a:moveTo>
                    <a:pt x="21780" y="192832"/>
                  </a:moveTo>
                  <a:lnTo>
                    <a:pt x="217804" y="19283"/>
                  </a:lnTo>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37" name="Freihandform: Form 36">
              <a:extLst>
                <a:ext uri="{FF2B5EF4-FFF2-40B4-BE49-F238E27FC236}">
                  <a16:creationId xmlns:a16="http://schemas.microsoft.com/office/drawing/2014/main" id="{D7D1DEDE-82F7-46CF-A5B5-E2BFFEA8F921}"/>
                </a:ext>
              </a:extLst>
            </p:cNvPr>
            <p:cNvSpPr/>
            <p:nvPr/>
          </p:nvSpPr>
          <p:spPr>
            <a:xfrm flipH="1">
              <a:off x="6678311" y="2926578"/>
              <a:ext cx="188763" cy="167121"/>
            </a:xfrm>
            <a:custGeom>
              <a:avLst/>
              <a:gdLst>
                <a:gd name="connsiteX0" fmla="*/ 166983 w 188763"/>
                <a:gd name="connsiteY0" fmla="*/ 83561 h 167121"/>
                <a:gd name="connsiteX1" fmla="*/ 94382 w 188763"/>
                <a:gd name="connsiteY1" fmla="*/ 147838 h 167121"/>
                <a:gd name="connsiteX2" fmla="*/ 21780 w 188763"/>
                <a:gd name="connsiteY2" fmla="*/ 83561 h 167121"/>
                <a:gd name="connsiteX3" fmla="*/ 94382 w 188763"/>
                <a:gd name="connsiteY3" fmla="*/ 19283 h 167121"/>
                <a:gd name="connsiteX4" fmla="*/ 166983 w 188763"/>
                <a:gd name="connsiteY4" fmla="*/ 83561 h 167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763" h="167121">
                  <a:moveTo>
                    <a:pt x="166983" y="83561"/>
                  </a:moveTo>
                  <a:cubicBezTo>
                    <a:pt x="166983" y="119060"/>
                    <a:pt x="134478" y="147838"/>
                    <a:pt x="94382" y="147838"/>
                  </a:cubicBezTo>
                  <a:cubicBezTo>
                    <a:pt x="54285" y="147838"/>
                    <a:pt x="21780" y="119060"/>
                    <a:pt x="21780" y="83561"/>
                  </a:cubicBezTo>
                  <a:cubicBezTo>
                    <a:pt x="21780" y="48061"/>
                    <a:pt x="54285" y="19283"/>
                    <a:pt x="94382" y="19283"/>
                  </a:cubicBezTo>
                  <a:cubicBezTo>
                    <a:pt x="134478" y="19283"/>
                    <a:pt x="166983" y="48061"/>
                    <a:pt x="166983" y="83561"/>
                  </a:cubicBezTo>
                  <a:close/>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38" name="Freihandform: Form 37">
              <a:extLst>
                <a:ext uri="{FF2B5EF4-FFF2-40B4-BE49-F238E27FC236}">
                  <a16:creationId xmlns:a16="http://schemas.microsoft.com/office/drawing/2014/main" id="{C80E5638-0059-4BD8-B22A-A1FC674DB863}"/>
                </a:ext>
              </a:extLst>
            </p:cNvPr>
            <p:cNvSpPr/>
            <p:nvPr/>
          </p:nvSpPr>
          <p:spPr>
            <a:xfrm flipH="1">
              <a:off x="7355765" y="3609394"/>
              <a:ext cx="275884" cy="244254"/>
            </a:xfrm>
            <a:custGeom>
              <a:avLst/>
              <a:gdLst>
                <a:gd name="connsiteX0" fmla="*/ 260115 w 275884"/>
                <a:gd name="connsiteY0" fmla="*/ 164293 h 244254"/>
                <a:gd name="connsiteX1" fmla="*/ 96327 w 275884"/>
                <a:gd name="connsiteY1" fmla="*/ 221031 h 244254"/>
                <a:gd name="connsiteX2" fmla="*/ 32240 w 275884"/>
                <a:gd name="connsiteY2" fmla="*/ 76021 h 244254"/>
                <a:gd name="connsiteX3" fmla="*/ 96327 w 275884"/>
                <a:gd name="connsiteY3" fmla="*/ 19283 h 244254"/>
              </a:gdLst>
              <a:ahLst/>
              <a:cxnLst>
                <a:cxn ang="0">
                  <a:pos x="connsiteX0" y="connsiteY0"/>
                </a:cxn>
                <a:cxn ang="0">
                  <a:pos x="connsiteX1" y="connsiteY1"/>
                </a:cxn>
                <a:cxn ang="0">
                  <a:pos x="connsiteX2" y="connsiteY2"/>
                </a:cxn>
                <a:cxn ang="0">
                  <a:pos x="connsiteX3" y="connsiteY3"/>
                </a:cxn>
              </a:cxnLst>
              <a:rect l="l" t="t" r="r" b="b"/>
              <a:pathLst>
                <a:path w="275884" h="244254">
                  <a:moveTo>
                    <a:pt x="260115" y="164293"/>
                  </a:moveTo>
                  <a:cubicBezTo>
                    <a:pt x="232583" y="220002"/>
                    <a:pt x="159252" y="245405"/>
                    <a:pt x="96327" y="221031"/>
                  </a:cubicBezTo>
                  <a:cubicBezTo>
                    <a:pt x="33401" y="196657"/>
                    <a:pt x="4708" y="131736"/>
                    <a:pt x="32240" y="76021"/>
                  </a:cubicBezTo>
                  <a:cubicBezTo>
                    <a:pt x="44780" y="50644"/>
                    <a:pt x="67664" y="30384"/>
                    <a:pt x="96327" y="19283"/>
                  </a:cubicBezTo>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grpSp>
          <p:nvGrpSpPr>
            <p:cNvPr id="46" name="Gruppieren 45">
              <a:extLst>
                <a:ext uri="{FF2B5EF4-FFF2-40B4-BE49-F238E27FC236}">
                  <a16:creationId xmlns:a16="http://schemas.microsoft.com/office/drawing/2014/main" id="{220C73B8-C510-4214-A7D0-112D5E707E08}"/>
                </a:ext>
              </a:extLst>
            </p:cNvPr>
            <p:cNvGrpSpPr/>
            <p:nvPr/>
          </p:nvGrpSpPr>
          <p:grpSpPr>
            <a:xfrm rot="4837413">
              <a:off x="6426598" y="2712139"/>
              <a:ext cx="304230" cy="309660"/>
              <a:chOff x="4124650" y="2164217"/>
              <a:chExt cx="304230" cy="309660"/>
            </a:xfrm>
          </p:grpSpPr>
          <p:sp>
            <p:nvSpPr>
              <p:cNvPr id="43" name="Freihandform: Form 42">
                <a:extLst>
                  <a:ext uri="{FF2B5EF4-FFF2-40B4-BE49-F238E27FC236}">
                    <a16:creationId xmlns:a16="http://schemas.microsoft.com/office/drawing/2014/main" id="{AE3665CF-6759-47CC-8F73-DA481893EF23}"/>
                  </a:ext>
                </a:extLst>
              </p:cNvPr>
              <p:cNvSpPr/>
              <p:nvPr/>
            </p:nvSpPr>
            <p:spPr>
              <a:xfrm>
                <a:off x="4202193" y="2164217"/>
                <a:ext cx="225207" cy="230837"/>
              </a:xfrm>
              <a:custGeom>
                <a:avLst/>
                <a:gdLst>
                  <a:gd name="connsiteX0" fmla="*/ 16925 w 225207"/>
                  <a:gd name="connsiteY0" fmla="*/ 16891 h 230837"/>
                  <a:gd name="connsiteX1" fmla="*/ 209668 w 225207"/>
                  <a:gd name="connsiteY1" fmla="*/ 216953 h 230837"/>
                  <a:gd name="connsiteX2" fmla="*/ 213306 w 225207"/>
                  <a:gd name="connsiteY2" fmla="*/ 216987 h 230837"/>
                </a:gdLst>
                <a:ahLst/>
                <a:cxnLst>
                  <a:cxn ang="0">
                    <a:pos x="connsiteX0" y="connsiteY0"/>
                  </a:cxn>
                  <a:cxn ang="0">
                    <a:pos x="connsiteX1" y="connsiteY1"/>
                  </a:cxn>
                  <a:cxn ang="0">
                    <a:pos x="connsiteX2" y="connsiteY2"/>
                  </a:cxn>
                </a:cxnLst>
                <a:rect l="l" t="t" r="r" b="b"/>
                <a:pathLst>
                  <a:path w="225207" h="230837">
                    <a:moveTo>
                      <a:pt x="16925" y="16891"/>
                    </a:moveTo>
                    <a:cubicBezTo>
                      <a:pt x="14904" y="125362"/>
                      <a:pt x="101198" y="214932"/>
                      <a:pt x="209668" y="216953"/>
                    </a:cubicBezTo>
                    <a:cubicBezTo>
                      <a:pt x="210881" y="216976"/>
                      <a:pt x="212093" y="216987"/>
                      <a:pt x="213306" y="216987"/>
                    </a:cubicBezTo>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44" name="Freihandform: Form 43">
                <a:extLst>
                  <a:ext uri="{FF2B5EF4-FFF2-40B4-BE49-F238E27FC236}">
                    <a16:creationId xmlns:a16="http://schemas.microsoft.com/office/drawing/2014/main" id="{582499EB-2086-456F-94C0-763780F40A3C}"/>
                  </a:ext>
                </a:extLst>
              </p:cNvPr>
              <p:cNvSpPr/>
              <p:nvPr/>
            </p:nvSpPr>
            <p:spPr>
              <a:xfrm>
                <a:off x="4124650" y="2164217"/>
                <a:ext cx="304030" cy="309660"/>
              </a:xfrm>
              <a:custGeom>
                <a:avLst/>
                <a:gdLst>
                  <a:gd name="connsiteX0" fmla="*/ 16941 w 304029"/>
                  <a:gd name="connsiteY0" fmla="*/ 16891 h 309659"/>
                  <a:gd name="connsiteX1" fmla="*/ 284437 w 304029"/>
                  <a:gd name="connsiteY1" fmla="*/ 294746 h 309659"/>
                  <a:gd name="connsiteX2" fmla="*/ 289385 w 304029"/>
                  <a:gd name="connsiteY2" fmla="*/ 294796 h 309659"/>
                </a:gdLst>
                <a:ahLst/>
                <a:cxnLst>
                  <a:cxn ang="0">
                    <a:pos x="connsiteX0" y="connsiteY0"/>
                  </a:cxn>
                  <a:cxn ang="0">
                    <a:pos x="connsiteX1" y="connsiteY1"/>
                  </a:cxn>
                  <a:cxn ang="0">
                    <a:pos x="connsiteX2" y="connsiteY2"/>
                  </a:cxn>
                </a:cxnLst>
                <a:rect l="l" t="t" r="r" b="b"/>
                <a:pathLst>
                  <a:path w="304029" h="309659">
                    <a:moveTo>
                      <a:pt x="16941" y="16891"/>
                    </a:moveTo>
                    <a:cubicBezTo>
                      <a:pt x="14080" y="167487"/>
                      <a:pt x="133842" y="291885"/>
                      <a:pt x="284437" y="294746"/>
                    </a:cubicBezTo>
                    <a:cubicBezTo>
                      <a:pt x="286086" y="294779"/>
                      <a:pt x="287736" y="294796"/>
                      <a:pt x="289385" y="294796"/>
                    </a:cubicBezTo>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45" name="Freihandform: Form 44">
                <a:extLst>
                  <a:ext uri="{FF2B5EF4-FFF2-40B4-BE49-F238E27FC236}">
                    <a16:creationId xmlns:a16="http://schemas.microsoft.com/office/drawing/2014/main" id="{F4518943-0C56-46DA-B418-21B08546F92C}"/>
                  </a:ext>
                </a:extLst>
              </p:cNvPr>
              <p:cNvSpPr/>
              <p:nvPr/>
            </p:nvSpPr>
            <p:spPr>
              <a:xfrm>
                <a:off x="4282495" y="2166188"/>
                <a:ext cx="146385" cy="146385"/>
              </a:xfrm>
              <a:custGeom>
                <a:avLst/>
                <a:gdLst>
                  <a:gd name="connsiteX0" fmla="*/ 16910 w 146384"/>
                  <a:gd name="connsiteY0" fmla="*/ 16891 h 146384"/>
                  <a:gd name="connsiteX1" fmla="*/ 130282 w 146384"/>
                  <a:gd name="connsiteY1" fmla="*/ 134432 h 146384"/>
                  <a:gd name="connsiteX2" fmla="*/ 132159 w 146384"/>
                  <a:gd name="connsiteY2" fmla="*/ 134449 h 146384"/>
                </a:gdLst>
                <a:ahLst/>
                <a:cxnLst>
                  <a:cxn ang="0">
                    <a:pos x="connsiteX0" y="connsiteY0"/>
                  </a:cxn>
                  <a:cxn ang="0">
                    <a:pos x="connsiteX1" y="connsiteY1"/>
                  </a:cxn>
                  <a:cxn ang="0">
                    <a:pos x="connsiteX2" y="connsiteY2"/>
                  </a:cxn>
                </a:cxnLst>
                <a:rect l="l" t="t" r="r" b="b"/>
                <a:pathLst>
                  <a:path w="146384" h="146384">
                    <a:moveTo>
                      <a:pt x="16910" y="16891"/>
                    </a:moveTo>
                    <a:cubicBezTo>
                      <a:pt x="15759" y="80658"/>
                      <a:pt x="66518" y="133278"/>
                      <a:pt x="130282" y="134432"/>
                    </a:cubicBezTo>
                    <a:cubicBezTo>
                      <a:pt x="130908" y="134443"/>
                      <a:pt x="131534" y="134449"/>
                      <a:pt x="132159" y="134449"/>
                    </a:cubicBezTo>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grpSp>
      </p:grpSp>
      <p:cxnSp>
        <p:nvCxnSpPr>
          <p:cNvPr id="49" name="Gerade Verbindung mit Pfeil 48">
            <a:extLst>
              <a:ext uri="{FF2B5EF4-FFF2-40B4-BE49-F238E27FC236}">
                <a16:creationId xmlns:a16="http://schemas.microsoft.com/office/drawing/2014/main" id="{AF34AC04-0A76-4FC4-8EFD-D5A25971E59D}"/>
              </a:ext>
            </a:extLst>
          </p:cNvPr>
          <p:cNvCxnSpPr>
            <a:cxnSpLocks/>
          </p:cNvCxnSpPr>
          <p:nvPr/>
        </p:nvCxnSpPr>
        <p:spPr>
          <a:xfrm flipV="1">
            <a:off x="2191744" y="2599888"/>
            <a:ext cx="2692886" cy="1621615"/>
          </a:xfrm>
          <a:prstGeom prst="straightConnector1">
            <a:avLst/>
          </a:prstGeom>
          <a:ln w="381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a:extLst>
              <a:ext uri="{FF2B5EF4-FFF2-40B4-BE49-F238E27FC236}">
                <a16:creationId xmlns:a16="http://schemas.microsoft.com/office/drawing/2014/main" id="{08786443-5011-4000-9390-F44B87868CDC}"/>
              </a:ext>
            </a:extLst>
          </p:cNvPr>
          <p:cNvCxnSpPr>
            <a:cxnSpLocks/>
          </p:cNvCxnSpPr>
          <p:nvPr/>
        </p:nvCxnSpPr>
        <p:spPr>
          <a:xfrm>
            <a:off x="5618125" y="2763649"/>
            <a:ext cx="777919" cy="1416621"/>
          </a:xfrm>
          <a:prstGeom prst="straightConnector1">
            <a:avLst/>
          </a:prstGeom>
          <a:ln w="381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5" name="Textfeld 54">
            <a:extLst>
              <a:ext uri="{FF2B5EF4-FFF2-40B4-BE49-F238E27FC236}">
                <a16:creationId xmlns:a16="http://schemas.microsoft.com/office/drawing/2014/main" id="{B94E010A-6258-43EE-A921-8994046196DD}"/>
              </a:ext>
            </a:extLst>
          </p:cNvPr>
          <p:cNvSpPr txBox="1"/>
          <p:nvPr/>
        </p:nvSpPr>
        <p:spPr>
          <a:xfrm rot="19667453">
            <a:off x="2984177" y="2951636"/>
            <a:ext cx="1454244" cy="371640"/>
          </a:xfrm>
          <a:prstGeom prst="rect">
            <a:avLst/>
          </a:prstGeom>
          <a:noFill/>
          <a:ln>
            <a:noFill/>
          </a:ln>
        </p:spPr>
        <p:txBody>
          <a:bodyPr wrap="none" rtlCol="0">
            <a:spAutoFit/>
          </a:bodyPr>
          <a:lstStyle/>
          <a:p>
            <a:pPr defTabSz="1106333">
              <a:defRPr/>
            </a:pPr>
            <a:r>
              <a:rPr lang="de-DE" sz="1815" i="1">
                <a:solidFill>
                  <a:schemeClr val="accent1"/>
                </a:solidFill>
                <a:latin typeface="Arial"/>
                <a:ea typeface="Arial Unicode MS"/>
              </a:rPr>
              <a:t>Service Link</a:t>
            </a:r>
          </a:p>
        </p:txBody>
      </p:sp>
      <p:sp>
        <p:nvSpPr>
          <p:cNvPr id="57" name="Textfeld 56">
            <a:extLst>
              <a:ext uri="{FF2B5EF4-FFF2-40B4-BE49-F238E27FC236}">
                <a16:creationId xmlns:a16="http://schemas.microsoft.com/office/drawing/2014/main" id="{6A71C120-9BF7-4578-B162-4180C7C40620}"/>
              </a:ext>
            </a:extLst>
          </p:cNvPr>
          <p:cNvSpPr txBox="1"/>
          <p:nvPr/>
        </p:nvSpPr>
        <p:spPr>
          <a:xfrm>
            <a:off x="5818004" y="2763181"/>
            <a:ext cx="1415772" cy="371640"/>
          </a:xfrm>
          <a:prstGeom prst="rect">
            <a:avLst/>
          </a:prstGeom>
          <a:noFill/>
          <a:ln>
            <a:noFill/>
          </a:ln>
        </p:spPr>
        <p:txBody>
          <a:bodyPr wrap="none" rtlCol="0">
            <a:spAutoFit/>
          </a:bodyPr>
          <a:lstStyle/>
          <a:p>
            <a:pPr defTabSz="1106333">
              <a:defRPr/>
            </a:pPr>
            <a:r>
              <a:rPr lang="de-DE" sz="1815" i="1">
                <a:solidFill>
                  <a:schemeClr val="accent1"/>
                </a:solidFill>
                <a:latin typeface="Arial"/>
                <a:ea typeface="Arial Unicode MS"/>
              </a:rPr>
              <a:t>Feeder Link</a:t>
            </a:r>
          </a:p>
        </p:txBody>
      </p:sp>
      <p:sp>
        <p:nvSpPr>
          <p:cNvPr id="58" name="Textfeld 57">
            <a:extLst>
              <a:ext uri="{FF2B5EF4-FFF2-40B4-BE49-F238E27FC236}">
                <a16:creationId xmlns:a16="http://schemas.microsoft.com/office/drawing/2014/main" id="{888B7949-AE26-4802-AF6D-7BB729620AE8}"/>
              </a:ext>
            </a:extLst>
          </p:cNvPr>
          <p:cNvSpPr txBox="1"/>
          <p:nvPr/>
        </p:nvSpPr>
        <p:spPr>
          <a:xfrm>
            <a:off x="6924561" y="3770840"/>
            <a:ext cx="1104790" cy="371640"/>
          </a:xfrm>
          <a:prstGeom prst="rect">
            <a:avLst/>
          </a:prstGeom>
          <a:noFill/>
          <a:ln>
            <a:noFill/>
          </a:ln>
        </p:spPr>
        <p:txBody>
          <a:bodyPr wrap="none" rtlCol="0">
            <a:spAutoFit/>
          </a:bodyPr>
          <a:lstStyle/>
          <a:p>
            <a:pPr defTabSz="1106333">
              <a:defRPr/>
            </a:pPr>
            <a:r>
              <a:rPr lang="de-DE" sz="1815" i="1">
                <a:solidFill>
                  <a:schemeClr val="accent1"/>
                </a:solidFill>
                <a:latin typeface="Arial"/>
                <a:ea typeface="Arial Unicode MS"/>
              </a:rPr>
              <a:t>Gateway</a:t>
            </a:r>
          </a:p>
        </p:txBody>
      </p:sp>
      <p:pic>
        <p:nvPicPr>
          <p:cNvPr id="60" name="Grafik 59">
            <a:extLst>
              <a:ext uri="{FF2B5EF4-FFF2-40B4-BE49-F238E27FC236}">
                <a16:creationId xmlns:a16="http://schemas.microsoft.com/office/drawing/2014/main" id="{2E3F43C5-C5AD-4879-9C21-677061E36F2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254325" y="5098982"/>
            <a:ext cx="649177" cy="649177"/>
          </a:xfrm>
          <a:prstGeom prst="rect">
            <a:avLst/>
          </a:prstGeom>
        </p:spPr>
      </p:pic>
      <p:pic>
        <p:nvPicPr>
          <p:cNvPr id="62" name="Grafik 61">
            <a:extLst>
              <a:ext uri="{FF2B5EF4-FFF2-40B4-BE49-F238E27FC236}">
                <a16:creationId xmlns:a16="http://schemas.microsoft.com/office/drawing/2014/main" id="{90915A41-3945-4E94-BAF4-7D2A634A905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5278" y="4607209"/>
            <a:ext cx="895967" cy="895967"/>
          </a:xfrm>
          <a:prstGeom prst="rect">
            <a:avLst/>
          </a:prstGeom>
        </p:spPr>
      </p:pic>
      <p:sp>
        <p:nvSpPr>
          <p:cNvPr id="65" name="Textfeld 64">
            <a:extLst>
              <a:ext uri="{FF2B5EF4-FFF2-40B4-BE49-F238E27FC236}">
                <a16:creationId xmlns:a16="http://schemas.microsoft.com/office/drawing/2014/main" id="{A36E8286-E3CB-4BE8-B945-ECC304152618}"/>
              </a:ext>
            </a:extLst>
          </p:cNvPr>
          <p:cNvSpPr txBox="1"/>
          <p:nvPr/>
        </p:nvSpPr>
        <p:spPr>
          <a:xfrm>
            <a:off x="9257665" y="4908999"/>
            <a:ext cx="1005403" cy="369332"/>
          </a:xfrm>
          <a:prstGeom prst="rect">
            <a:avLst/>
          </a:prstGeom>
          <a:noFill/>
          <a:ln>
            <a:noFill/>
          </a:ln>
        </p:spPr>
        <p:txBody>
          <a:bodyPr wrap="none" lIns="91440" tIns="45720" rIns="91440" bIns="45720" rtlCol="0" anchor="t">
            <a:spAutoFit/>
          </a:bodyPr>
          <a:lstStyle/>
          <a:p>
            <a:pPr defTabSz="1106333">
              <a:defRPr/>
            </a:pPr>
            <a:r>
              <a:rPr lang="de-DE" i="1">
                <a:solidFill>
                  <a:schemeClr val="accent1"/>
                </a:solidFill>
                <a:latin typeface="Arial"/>
                <a:ea typeface="Arial Unicode MS"/>
              </a:rPr>
              <a:t>5G </a:t>
            </a:r>
            <a:r>
              <a:rPr lang="de-DE" i="1" err="1">
                <a:solidFill>
                  <a:schemeClr val="accent1"/>
                </a:solidFill>
                <a:latin typeface="Arial"/>
                <a:ea typeface="Arial Unicode MS"/>
              </a:rPr>
              <a:t>core</a:t>
            </a:r>
            <a:endParaRPr lang="en-US" err="1"/>
          </a:p>
        </p:txBody>
      </p:sp>
      <p:cxnSp>
        <p:nvCxnSpPr>
          <p:cNvPr id="66" name="Gerade Verbindung mit Pfeil 65">
            <a:extLst>
              <a:ext uri="{FF2B5EF4-FFF2-40B4-BE49-F238E27FC236}">
                <a16:creationId xmlns:a16="http://schemas.microsoft.com/office/drawing/2014/main" id="{3311B80B-EB31-4AFD-B7C6-CAEFDDDD6E91}"/>
              </a:ext>
            </a:extLst>
          </p:cNvPr>
          <p:cNvCxnSpPr>
            <a:cxnSpLocks/>
          </p:cNvCxnSpPr>
          <p:nvPr/>
        </p:nvCxnSpPr>
        <p:spPr>
          <a:xfrm flipV="1">
            <a:off x="7610052" y="5454062"/>
            <a:ext cx="595384" cy="4392"/>
          </a:xfrm>
          <a:prstGeom prst="straightConnector1">
            <a:avLst/>
          </a:prstGeom>
          <a:ln w="381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Gerade Verbindung mit Pfeil 67">
            <a:extLst>
              <a:ext uri="{FF2B5EF4-FFF2-40B4-BE49-F238E27FC236}">
                <a16:creationId xmlns:a16="http://schemas.microsoft.com/office/drawing/2014/main" id="{FA9447CA-ED95-4A8D-944C-B0BAB467B87D}"/>
              </a:ext>
            </a:extLst>
          </p:cNvPr>
          <p:cNvCxnSpPr>
            <a:cxnSpLocks/>
          </p:cNvCxnSpPr>
          <p:nvPr/>
        </p:nvCxnSpPr>
        <p:spPr>
          <a:xfrm flipV="1">
            <a:off x="8733892" y="5398813"/>
            <a:ext cx="454705" cy="4392"/>
          </a:xfrm>
          <a:prstGeom prst="straightConnector1">
            <a:avLst/>
          </a:prstGeom>
          <a:ln w="38100">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2" name="Rechteck 71">
            <a:extLst>
              <a:ext uri="{FF2B5EF4-FFF2-40B4-BE49-F238E27FC236}">
                <a16:creationId xmlns:a16="http://schemas.microsoft.com/office/drawing/2014/main" id="{7B23B9ED-077E-438C-955B-F7000776ABAD}"/>
              </a:ext>
            </a:extLst>
          </p:cNvPr>
          <p:cNvSpPr/>
          <p:nvPr/>
        </p:nvSpPr>
        <p:spPr>
          <a:xfrm>
            <a:off x="4757056" y="1639625"/>
            <a:ext cx="5740551" cy="4011584"/>
          </a:xfrm>
          <a:prstGeom prst="rect">
            <a:avLst/>
          </a:prstGeom>
          <a:noFill/>
          <a:ln w="57150">
            <a:solidFill>
              <a:schemeClr val="accent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106333">
              <a:defRPr/>
            </a:pPr>
            <a:endParaRPr lang="de-DE" sz="1815" err="1">
              <a:solidFill>
                <a:srgbClr val="FFFFFF"/>
              </a:solidFill>
              <a:latin typeface="Arial"/>
              <a:ea typeface="Arial Unicode MS"/>
            </a:endParaRPr>
          </a:p>
        </p:txBody>
      </p:sp>
      <p:sp>
        <p:nvSpPr>
          <p:cNvPr id="74" name="Textfeld 73">
            <a:extLst>
              <a:ext uri="{FF2B5EF4-FFF2-40B4-BE49-F238E27FC236}">
                <a16:creationId xmlns:a16="http://schemas.microsoft.com/office/drawing/2014/main" id="{638D5E0A-CE8A-4DB7-B00B-3E388C5F73B6}"/>
              </a:ext>
            </a:extLst>
          </p:cNvPr>
          <p:cNvSpPr txBox="1"/>
          <p:nvPr/>
        </p:nvSpPr>
        <p:spPr>
          <a:xfrm>
            <a:off x="630418" y="5022473"/>
            <a:ext cx="2278966" cy="584775"/>
          </a:xfrm>
          <a:prstGeom prst="rect">
            <a:avLst/>
          </a:prstGeom>
          <a:noFill/>
          <a:ln>
            <a:noFill/>
          </a:ln>
        </p:spPr>
        <p:txBody>
          <a:bodyPr wrap="square" rtlCol="0">
            <a:spAutoFit/>
          </a:bodyPr>
          <a:lstStyle/>
          <a:p>
            <a:pPr algn="ctr" defTabSz="1106333">
              <a:defRPr/>
            </a:pPr>
            <a:r>
              <a:rPr lang="de-DE" sz="1600">
                <a:solidFill>
                  <a:schemeClr val="accent1"/>
                </a:solidFill>
                <a:latin typeface="Arial"/>
                <a:ea typeface="Arial Unicode MS"/>
              </a:rPr>
              <a:t>User Equipment (UE) </a:t>
            </a:r>
            <a:br>
              <a:rPr lang="de-DE" sz="1600">
                <a:solidFill>
                  <a:schemeClr val="accent1"/>
                </a:solidFill>
                <a:latin typeface="Arial"/>
                <a:ea typeface="Arial Unicode MS"/>
              </a:rPr>
            </a:br>
            <a:r>
              <a:rPr lang="de-DE" sz="1600">
                <a:solidFill>
                  <a:schemeClr val="accent1"/>
                </a:solidFill>
                <a:latin typeface="Arial"/>
                <a:ea typeface="Arial Unicode MS"/>
              </a:rPr>
              <a:t>= Device </a:t>
            </a:r>
            <a:r>
              <a:rPr lang="de-DE" sz="1600" err="1">
                <a:solidFill>
                  <a:schemeClr val="accent1"/>
                </a:solidFill>
                <a:latin typeface="Arial"/>
                <a:ea typeface="Arial Unicode MS"/>
              </a:rPr>
              <a:t>under</a:t>
            </a:r>
            <a:r>
              <a:rPr lang="de-DE" sz="1600">
                <a:solidFill>
                  <a:schemeClr val="accent1"/>
                </a:solidFill>
                <a:latin typeface="Arial"/>
                <a:ea typeface="Arial Unicode MS"/>
              </a:rPr>
              <a:t> Test</a:t>
            </a:r>
          </a:p>
        </p:txBody>
      </p:sp>
      <p:pic>
        <p:nvPicPr>
          <p:cNvPr id="8" name="Graphic 7">
            <a:extLst>
              <a:ext uri="{FF2B5EF4-FFF2-40B4-BE49-F238E27FC236}">
                <a16:creationId xmlns:a16="http://schemas.microsoft.com/office/drawing/2014/main" id="{07185AB3-7966-491E-B22C-6D89C507B6D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68154" y="3729687"/>
            <a:ext cx="1336178" cy="1336178"/>
          </a:xfrm>
          <a:prstGeom prst="rect">
            <a:avLst/>
          </a:prstGeom>
        </p:spPr>
      </p:pic>
      <p:sp>
        <p:nvSpPr>
          <p:cNvPr id="2" name="Titel 4">
            <a:extLst>
              <a:ext uri="{FF2B5EF4-FFF2-40B4-BE49-F238E27FC236}">
                <a16:creationId xmlns:a16="http://schemas.microsoft.com/office/drawing/2014/main" id="{F8EC597D-4D62-F7C3-A619-9B065806BC88}"/>
              </a:ext>
            </a:extLst>
          </p:cNvPr>
          <p:cNvSpPr>
            <a:spLocks noGrp="1"/>
          </p:cNvSpPr>
          <p:nvPr>
            <p:ph type="title"/>
          </p:nvPr>
        </p:nvSpPr>
        <p:spPr/>
        <p:txBody>
          <a:bodyPr anchor="t"/>
          <a:lstStyle/>
          <a:p>
            <a:r>
              <a:rPr lang="en-US" noProof="0">
                <a:solidFill>
                  <a:schemeClr val="accent1"/>
                </a:solidFill>
              </a:rPr>
              <a:t>System Simulator Non-terrestrial Network (NTN)</a:t>
            </a:r>
          </a:p>
        </p:txBody>
      </p:sp>
      <p:sp>
        <p:nvSpPr>
          <p:cNvPr id="6" name="Date Placeholder 5">
            <a:extLst>
              <a:ext uri="{FF2B5EF4-FFF2-40B4-BE49-F238E27FC236}">
                <a16:creationId xmlns:a16="http://schemas.microsoft.com/office/drawing/2014/main" id="{785B2EF1-20B7-07FB-CFA5-AF8DA54E36D2}"/>
              </a:ext>
            </a:extLst>
          </p:cNvPr>
          <p:cNvSpPr>
            <a:spLocks noGrp="1"/>
          </p:cNvSpPr>
          <p:nvPr>
            <p:ph type="dt" sz="half" idx="10"/>
          </p:nvPr>
        </p:nvSpPr>
        <p:spPr/>
        <p:txBody>
          <a:bodyPr/>
          <a:lstStyle/>
          <a:p>
            <a:pPr algn="ctr" defTabSz="1106333" hangingPunct="1">
              <a:defRPr/>
            </a:pPr>
            <a:fld id="{395574B2-FDF6-4D65-ADDA-E17E83F2859D}" type="datetime1">
              <a:rPr lang="de-DE">
                <a:solidFill>
                  <a:srgbClr val="BFC3C6"/>
                </a:solidFill>
                <a:latin typeface="Arial"/>
                <a:ea typeface="Arial Unicode MS"/>
              </a:rPr>
              <a:pPr algn="ctr" defTabSz="1106333" hangingPunct="1">
                <a:defRPr/>
              </a:pPr>
              <a:t>30.03.2025</a:t>
            </a:fld>
            <a:endParaRPr lang="en-US">
              <a:solidFill>
                <a:srgbClr val="BFC3C6"/>
              </a:solidFill>
              <a:latin typeface="Arial"/>
              <a:ea typeface="Arial Unicode MS"/>
            </a:endParaRPr>
          </a:p>
        </p:txBody>
      </p:sp>
      <p:sp>
        <p:nvSpPr>
          <p:cNvPr id="9" name="Textfeld 8">
            <a:extLst>
              <a:ext uri="{FF2B5EF4-FFF2-40B4-BE49-F238E27FC236}">
                <a16:creationId xmlns:a16="http://schemas.microsoft.com/office/drawing/2014/main" id="{01384094-B263-E254-01B7-194CC6B0213E}"/>
              </a:ext>
            </a:extLst>
          </p:cNvPr>
          <p:cNvSpPr txBox="1"/>
          <p:nvPr/>
        </p:nvSpPr>
        <p:spPr>
          <a:xfrm>
            <a:off x="7142999" y="1220599"/>
            <a:ext cx="3517438" cy="369332"/>
          </a:xfrm>
          <a:prstGeom prst="rect">
            <a:avLst/>
          </a:prstGeom>
          <a:noFill/>
        </p:spPr>
        <p:txBody>
          <a:bodyPr wrap="none" rtlCol="0">
            <a:spAutoFit/>
          </a:bodyPr>
          <a:lstStyle/>
          <a:p>
            <a:r>
              <a:rPr lang="de-DE" b="1">
                <a:solidFill>
                  <a:schemeClr val="accent2">
                    <a:lumMod val="75000"/>
                  </a:schemeClr>
                </a:solidFill>
              </a:rPr>
              <a:t>System </a:t>
            </a:r>
            <a:r>
              <a:rPr lang="de-DE" b="1" err="1">
                <a:solidFill>
                  <a:schemeClr val="accent2">
                    <a:lumMod val="75000"/>
                  </a:schemeClr>
                </a:solidFill>
              </a:rPr>
              <a:t>simulator</a:t>
            </a:r>
            <a:r>
              <a:rPr lang="de-DE" b="1">
                <a:solidFill>
                  <a:schemeClr val="accent2">
                    <a:lumMod val="75000"/>
                  </a:schemeClr>
                </a:solidFill>
              </a:rPr>
              <a:t> = NTN in </a:t>
            </a:r>
            <a:r>
              <a:rPr lang="de-DE" b="1" err="1">
                <a:solidFill>
                  <a:schemeClr val="accent2">
                    <a:lumMod val="75000"/>
                  </a:schemeClr>
                </a:solidFill>
              </a:rPr>
              <a:t>one</a:t>
            </a:r>
            <a:r>
              <a:rPr lang="de-DE" b="1">
                <a:solidFill>
                  <a:schemeClr val="accent2">
                    <a:lumMod val="75000"/>
                  </a:schemeClr>
                </a:solidFill>
              </a:rPr>
              <a:t> box</a:t>
            </a:r>
          </a:p>
        </p:txBody>
      </p:sp>
      <p:sp>
        <p:nvSpPr>
          <p:cNvPr id="10" name="Freihandform: Form 9">
            <a:extLst>
              <a:ext uri="{FF2B5EF4-FFF2-40B4-BE49-F238E27FC236}">
                <a16:creationId xmlns:a16="http://schemas.microsoft.com/office/drawing/2014/main" id="{311628EE-46CD-7AFF-3EF2-17FF132A65DD}"/>
              </a:ext>
            </a:extLst>
          </p:cNvPr>
          <p:cNvSpPr/>
          <p:nvPr/>
        </p:nvSpPr>
        <p:spPr>
          <a:xfrm>
            <a:off x="359229" y="2167852"/>
            <a:ext cx="9840685" cy="674915"/>
          </a:xfrm>
          <a:custGeom>
            <a:avLst/>
            <a:gdLst>
              <a:gd name="connsiteX0" fmla="*/ 0 w 9840685"/>
              <a:gd name="connsiteY0" fmla="*/ 674915 h 674915"/>
              <a:gd name="connsiteX1" fmla="*/ 4702628 w 9840685"/>
              <a:gd name="connsiteY1" fmla="*/ 0 h 674915"/>
              <a:gd name="connsiteX2" fmla="*/ 9840685 w 9840685"/>
              <a:gd name="connsiteY2" fmla="*/ 674915 h 674915"/>
            </a:gdLst>
            <a:ahLst/>
            <a:cxnLst>
              <a:cxn ang="0">
                <a:pos x="connsiteX0" y="connsiteY0"/>
              </a:cxn>
              <a:cxn ang="0">
                <a:pos x="connsiteX1" y="connsiteY1"/>
              </a:cxn>
              <a:cxn ang="0">
                <a:pos x="connsiteX2" y="connsiteY2"/>
              </a:cxn>
            </a:cxnLst>
            <a:rect l="l" t="t" r="r" b="b"/>
            <a:pathLst>
              <a:path w="9840685" h="674915">
                <a:moveTo>
                  <a:pt x="0" y="674915"/>
                </a:moveTo>
                <a:cubicBezTo>
                  <a:pt x="1531257" y="337457"/>
                  <a:pt x="3062514" y="0"/>
                  <a:pt x="4702628" y="0"/>
                </a:cubicBezTo>
                <a:cubicBezTo>
                  <a:pt x="6342742" y="0"/>
                  <a:pt x="8091713" y="337457"/>
                  <a:pt x="9840685" y="674915"/>
                </a:cubicBezTo>
              </a:path>
            </a:pathLst>
          </a:custGeom>
          <a:no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Pfeil: nach links 11">
            <a:extLst>
              <a:ext uri="{FF2B5EF4-FFF2-40B4-BE49-F238E27FC236}">
                <a16:creationId xmlns:a16="http://schemas.microsoft.com/office/drawing/2014/main" id="{DAAE7A1D-2CD6-F031-C19F-AF3F8E843732}"/>
              </a:ext>
            </a:extLst>
          </p:cNvPr>
          <p:cNvSpPr/>
          <p:nvPr/>
        </p:nvSpPr>
        <p:spPr>
          <a:xfrm>
            <a:off x="4236896" y="1918248"/>
            <a:ext cx="743889" cy="231549"/>
          </a:xfrm>
          <a:prstGeom prst="lef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de-DE"/>
          </a:p>
        </p:txBody>
      </p:sp>
      <p:pic>
        <p:nvPicPr>
          <p:cNvPr id="27" name="Picture 3" descr="beamforming">
            <a:extLst>
              <a:ext uri="{FF2B5EF4-FFF2-40B4-BE49-F238E27FC236}">
                <a16:creationId xmlns:a16="http://schemas.microsoft.com/office/drawing/2014/main" id="{AEF3BBB2-C441-37E1-D2E3-6D495086F5E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18547075">
            <a:off x="1775887" y="2913457"/>
            <a:ext cx="1367267" cy="636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extfeld 27">
            <a:extLst>
              <a:ext uri="{FF2B5EF4-FFF2-40B4-BE49-F238E27FC236}">
                <a16:creationId xmlns:a16="http://schemas.microsoft.com/office/drawing/2014/main" id="{154AF600-B822-2B84-A5D5-84837CBC025B}"/>
              </a:ext>
            </a:extLst>
          </p:cNvPr>
          <p:cNvSpPr txBox="1"/>
          <p:nvPr/>
        </p:nvSpPr>
        <p:spPr>
          <a:xfrm>
            <a:off x="1140491" y="1392424"/>
            <a:ext cx="2492605" cy="923330"/>
          </a:xfrm>
          <a:prstGeom prst="rect">
            <a:avLst/>
          </a:prstGeom>
          <a:noFill/>
        </p:spPr>
        <p:txBody>
          <a:bodyPr wrap="none" rtlCol="0">
            <a:spAutoFit/>
          </a:bodyPr>
          <a:lstStyle/>
          <a:p>
            <a:r>
              <a:rPr lang="de-DE">
                <a:solidFill>
                  <a:schemeClr val="accent6">
                    <a:lumMod val="75000"/>
                  </a:schemeClr>
                </a:solidFill>
              </a:rPr>
              <a:t>Doppler shift</a:t>
            </a:r>
          </a:p>
          <a:p>
            <a:r>
              <a:rPr lang="de-DE">
                <a:solidFill>
                  <a:schemeClr val="accent6">
                    <a:lumMod val="75000"/>
                  </a:schemeClr>
                </a:solidFill>
              </a:rPr>
              <a:t>Time </a:t>
            </a:r>
            <a:r>
              <a:rPr lang="de-DE" err="1">
                <a:solidFill>
                  <a:schemeClr val="accent6">
                    <a:lumMod val="75000"/>
                  </a:schemeClr>
                </a:solidFill>
              </a:rPr>
              <a:t>delay</a:t>
            </a:r>
            <a:endParaRPr lang="de-DE">
              <a:solidFill>
                <a:schemeClr val="accent6">
                  <a:lumMod val="75000"/>
                </a:schemeClr>
              </a:solidFill>
            </a:endParaRPr>
          </a:p>
          <a:p>
            <a:r>
              <a:rPr lang="de-DE">
                <a:solidFill>
                  <a:schemeClr val="accent6">
                    <a:lumMod val="75000"/>
                  </a:schemeClr>
                </a:solidFill>
              </a:rPr>
              <a:t>Protocol </a:t>
            </a:r>
            <a:r>
              <a:rPr lang="de-DE" err="1">
                <a:solidFill>
                  <a:schemeClr val="accent6">
                    <a:lumMod val="75000"/>
                  </a:schemeClr>
                </a:solidFill>
              </a:rPr>
              <a:t>enhancements</a:t>
            </a:r>
            <a:endParaRPr lang="de-DE">
              <a:solidFill>
                <a:schemeClr val="accent6">
                  <a:lumMod val="75000"/>
                </a:schemeClr>
              </a:solidFill>
            </a:endParaRPr>
          </a:p>
        </p:txBody>
      </p:sp>
      <p:grpSp>
        <p:nvGrpSpPr>
          <p:cNvPr id="29" name="Grafik 9">
            <a:extLst>
              <a:ext uri="{FF2B5EF4-FFF2-40B4-BE49-F238E27FC236}">
                <a16:creationId xmlns:a16="http://schemas.microsoft.com/office/drawing/2014/main" id="{D9BB65EF-3C4C-6B66-4D52-AA58CA643AFD}"/>
              </a:ext>
            </a:extLst>
          </p:cNvPr>
          <p:cNvGrpSpPr/>
          <p:nvPr/>
        </p:nvGrpSpPr>
        <p:grpSpPr>
          <a:xfrm>
            <a:off x="8899280" y="2044708"/>
            <a:ext cx="885912" cy="964652"/>
            <a:chOff x="3788814" y="968032"/>
            <a:chExt cx="1285230" cy="1285279"/>
          </a:xfrm>
        </p:grpSpPr>
        <p:sp>
          <p:nvSpPr>
            <p:cNvPr id="30" name="Freihandform: Form 29">
              <a:extLst>
                <a:ext uri="{FF2B5EF4-FFF2-40B4-BE49-F238E27FC236}">
                  <a16:creationId xmlns:a16="http://schemas.microsoft.com/office/drawing/2014/main" id="{706C7336-85C4-23DE-A59C-DE1F65337A2C}"/>
                </a:ext>
              </a:extLst>
            </p:cNvPr>
            <p:cNvSpPr/>
            <p:nvPr/>
          </p:nvSpPr>
          <p:spPr>
            <a:xfrm>
              <a:off x="4344452" y="1735674"/>
              <a:ext cx="174536" cy="174536"/>
            </a:xfrm>
            <a:custGeom>
              <a:avLst/>
              <a:gdLst>
                <a:gd name="connsiteX0" fmla="*/ 159616 w 174535"/>
                <a:gd name="connsiteY0" fmla="*/ 16891 h 174535"/>
                <a:gd name="connsiteX1" fmla="*/ 16891 w 174535"/>
                <a:gd name="connsiteY1" fmla="*/ 159616 h 174535"/>
              </a:gdLst>
              <a:ahLst/>
              <a:cxnLst>
                <a:cxn ang="0">
                  <a:pos x="connsiteX0" y="connsiteY0"/>
                </a:cxn>
                <a:cxn ang="0">
                  <a:pos x="connsiteX1" y="connsiteY1"/>
                </a:cxn>
              </a:cxnLst>
              <a:rect l="l" t="t" r="r" b="b"/>
              <a:pathLst>
                <a:path w="174535" h="174535">
                  <a:moveTo>
                    <a:pt x="159616" y="16891"/>
                  </a:moveTo>
                  <a:lnTo>
                    <a:pt x="16891" y="159616"/>
                  </a:lnTo>
                </a:path>
              </a:pathLst>
            </a:custGeom>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31" name="Freihandform: Form 30">
              <a:extLst>
                <a:ext uri="{FF2B5EF4-FFF2-40B4-BE49-F238E27FC236}">
                  <a16:creationId xmlns:a16="http://schemas.microsoft.com/office/drawing/2014/main" id="{EBAAD09A-8390-2561-0D87-905CEE6FEF3F}"/>
                </a:ext>
              </a:extLst>
            </p:cNvPr>
            <p:cNvSpPr/>
            <p:nvPr/>
          </p:nvSpPr>
          <p:spPr>
            <a:xfrm>
              <a:off x="4161753" y="1337623"/>
              <a:ext cx="568648" cy="382852"/>
            </a:xfrm>
            <a:custGeom>
              <a:avLst/>
              <a:gdLst>
                <a:gd name="connsiteX0" fmla="*/ 16891 w 568648"/>
                <a:gd name="connsiteY0" fmla="*/ 370632 h 382852"/>
                <a:gd name="connsiteX1" fmla="*/ 359825 w 568648"/>
                <a:gd name="connsiteY1" fmla="*/ 27698 h 382852"/>
                <a:gd name="connsiteX2" fmla="*/ 402896 w 568648"/>
                <a:gd name="connsiteY2" fmla="*/ 24151 h 382852"/>
                <a:gd name="connsiteX3" fmla="*/ 549280 w 568648"/>
                <a:gd name="connsiteY3" fmla="*/ 170536 h 382852"/>
                <a:gd name="connsiteX4" fmla="*/ 545733 w 568648"/>
                <a:gd name="connsiteY4" fmla="*/ 213663 h 382852"/>
                <a:gd name="connsiteX5" fmla="*/ 419842 w 568648"/>
                <a:gd name="connsiteY5" fmla="*/ 339554 h 38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8648" h="382852">
                  <a:moveTo>
                    <a:pt x="16891" y="370632"/>
                  </a:moveTo>
                  <a:lnTo>
                    <a:pt x="359825" y="27698"/>
                  </a:lnTo>
                  <a:cubicBezTo>
                    <a:pt x="372718" y="14805"/>
                    <a:pt x="391973" y="13228"/>
                    <a:pt x="402896" y="24151"/>
                  </a:cubicBezTo>
                  <a:lnTo>
                    <a:pt x="549280" y="170536"/>
                  </a:lnTo>
                  <a:cubicBezTo>
                    <a:pt x="560203" y="181458"/>
                    <a:pt x="558626" y="200770"/>
                    <a:pt x="545733" y="213663"/>
                  </a:cubicBezTo>
                  <a:lnTo>
                    <a:pt x="419842" y="339554"/>
                  </a:lnTo>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32" name="Freihandform: Form 31">
              <a:extLst>
                <a:ext uri="{FF2B5EF4-FFF2-40B4-BE49-F238E27FC236}">
                  <a16:creationId xmlns:a16="http://schemas.microsoft.com/office/drawing/2014/main" id="{CF1343AD-F36C-7203-931B-88E90FD1EB65}"/>
                </a:ext>
              </a:extLst>
            </p:cNvPr>
            <p:cNvSpPr/>
            <p:nvPr/>
          </p:nvSpPr>
          <p:spPr>
            <a:xfrm>
              <a:off x="4587451" y="1314881"/>
              <a:ext cx="168905" cy="168905"/>
            </a:xfrm>
            <a:custGeom>
              <a:avLst/>
              <a:gdLst>
                <a:gd name="connsiteX0" fmla="*/ 16891 w 168905"/>
                <a:gd name="connsiteY0" fmla="*/ 89682 h 168905"/>
                <a:gd name="connsiteX1" fmla="*/ 83721 w 168905"/>
                <a:gd name="connsiteY1" fmla="*/ 22852 h 168905"/>
                <a:gd name="connsiteX2" fmla="*/ 112384 w 168905"/>
                <a:gd name="connsiteY2" fmla="*/ 22802 h 168905"/>
                <a:gd name="connsiteX3" fmla="*/ 112435 w 168905"/>
                <a:gd name="connsiteY3" fmla="*/ 22852 h 168905"/>
                <a:gd name="connsiteX4" fmla="*/ 147454 w 168905"/>
                <a:gd name="connsiteY4" fmla="*/ 57815 h 168905"/>
                <a:gd name="connsiteX5" fmla="*/ 147505 w 168905"/>
                <a:gd name="connsiteY5" fmla="*/ 86480 h 168905"/>
                <a:gd name="connsiteX6" fmla="*/ 147454 w 168905"/>
                <a:gd name="connsiteY6" fmla="*/ 86529 h 168905"/>
                <a:gd name="connsiteX7" fmla="*/ 80624 w 168905"/>
                <a:gd name="connsiteY7" fmla="*/ 153360 h 168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905" h="168905">
                  <a:moveTo>
                    <a:pt x="16891" y="89682"/>
                  </a:moveTo>
                  <a:lnTo>
                    <a:pt x="83721" y="22852"/>
                  </a:lnTo>
                  <a:cubicBezTo>
                    <a:pt x="91620" y="14923"/>
                    <a:pt x="104457" y="14900"/>
                    <a:pt x="112384" y="22802"/>
                  </a:cubicBezTo>
                  <a:cubicBezTo>
                    <a:pt x="112401" y="22819"/>
                    <a:pt x="112418" y="22835"/>
                    <a:pt x="112435" y="22852"/>
                  </a:cubicBezTo>
                  <a:lnTo>
                    <a:pt x="147454" y="57815"/>
                  </a:lnTo>
                  <a:cubicBezTo>
                    <a:pt x="155382" y="65717"/>
                    <a:pt x="155404" y="78550"/>
                    <a:pt x="147505" y="86480"/>
                  </a:cubicBezTo>
                  <a:cubicBezTo>
                    <a:pt x="147488" y="86496"/>
                    <a:pt x="147471" y="86513"/>
                    <a:pt x="147454" y="86529"/>
                  </a:cubicBezTo>
                  <a:lnTo>
                    <a:pt x="80624" y="153360"/>
                  </a:lnTo>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33" name="Freihandform: Form 32">
              <a:extLst>
                <a:ext uri="{FF2B5EF4-FFF2-40B4-BE49-F238E27FC236}">
                  <a16:creationId xmlns:a16="http://schemas.microsoft.com/office/drawing/2014/main" id="{50126628-72C9-7CE8-F281-D7C8D301F183}"/>
                </a:ext>
              </a:extLst>
            </p:cNvPr>
            <p:cNvSpPr/>
            <p:nvPr/>
          </p:nvSpPr>
          <p:spPr>
            <a:xfrm>
              <a:off x="3788814" y="968032"/>
              <a:ext cx="568648" cy="568648"/>
            </a:xfrm>
            <a:custGeom>
              <a:avLst/>
              <a:gdLst>
                <a:gd name="connsiteX0" fmla="*/ 230906 w 568648"/>
                <a:gd name="connsiteY0" fmla="*/ 23887 h 568648"/>
                <a:gd name="connsiteX1" fmla="*/ 549397 w 568648"/>
                <a:gd name="connsiteY1" fmla="*/ 342378 h 568648"/>
                <a:gd name="connsiteX2" fmla="*/ 342378 w 568648"/>
                <a:gd name="connsiteY2" fmla="*/ 549397 h 568648"/>
                <a:gd name="connsiteX3" fmla="*/ 23887 w 568648"/>
                <a:gd name="connsiteY3" fmla="*/ 230906 h 568648"/>
              </a:gdLst>
              <a:ahLst/>
              <a:cxnLst>
                <a:cxn ang="0">
                  <a:pos x="connsiteX0" y="connsiteY0"/>
                </a:cxn>
                <a:cxn ang="0">
                  <a:pos x="connsiteX1" y="connsiteY1"/>
                </a:cxn>
                <a:cxn ang="0">
                  <a:pos x="connsiteX2" y="connsiteY2"/>
                </a:cxn>
                <a:cxn ang="0">
                  <a:pos x="connsiteX3" y="connsiteY3"/>
                </a:cxn>
              </a:cxnLst>
              <a:rect l="l" t="t" r="r" b="b"/>
              <a:pathLst>
                <a:path w="568648" h="568648">
                  <a:moveTo>
                    <a:pt x="230906" y="23887"/>
                  </a:moveTo>
                  <a:lnTo>
                    <a:pt x="549397" y="342378"/>
                  </a:lnTo>
                  <a:lnTo>
                    <a:pt x="342378" y="549397"/>
                  </a:lnTo>
                  <a:lnTo>
                    <a:pt x="23887" y="230906"/>
                  </a:lnTo>
                  <a:close/>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39" name="Freihandform: Form 38">
              <a:extLst>
                <a:ext uri="{FF2B5EF4-FFF2-40B4-BE49-F238E27FC236}">
                  <a16:creationId xmlns:a16="http://schemas.microsoft.com/office/drawing/2014/main" id="{79A2C66D-C2B2-64A0-207D-D89B15012DC5}"/>
                </a:ext>
              </a:extLst>
            </p:cNvPr>
            <p:cNvSpPr/>
            <p:nvPr/>
          </p:nvSpPr>
          <p:spPr>
            <a:xfrm>
              <a:off x="3911322" y="1680705"/>
              <a:ext cx="478565" cy="478565"/>
            </a:xfrm>
            <a:custGeom>
              <a:avLst/>
              <a:gdLst>
                <a:gd name="connsiteX0" fmla="*/ 387019 w 478565"/>
                <a:gd name="connsiteY0" fmla="*/ 93536 h 478565"/>
                <a:gd name="connsiteX1" fmla="*/ 16891 w 478565"/>
                <a:gd name="connsiteY1" fmla="*/ 93536 h 478565"/>
                <a:gd name="connsiteX2" fmla="*/ 387019 w 478565"/>
                <a:gd name="connsiteY2" fmla="*/ 463664 h 478565"/>
                <a:gd name="connsiteX3" fmla="*/ 387142 w 478565"/>
                <a:gd name="connsiteY3" fmla="*/ 93659 h 478565"/>
                <a:gd name="connsiteX4" fmla="*/ 387019 w 478565"/>
                <a:gd name="connsiteY4" fmla="*/ 93536 h 478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8565" h="478565">
                  <a:moveTo>
                    <a:pt x="387019" y="93536"/>
                  </a:moveTo>
                  <a:cubicBezTo>
                    <a:pt x="284804" y="-8658"/>
                    <a:pt x="119105" y="-8658"/>
                    <a:pt x="16891" y="93536"/>
                  </a:cubicBezTo>
                  <a:lnTo>
                    <a:pt x="387019" y="463664"/>
                  </a:lnTo>
                  <a:cubicBezTo>
                    <a:pt x="489229" y="361521"/>
                    <a:pt x="489279" y="195864"/>
                    <a:pt x="387142" y="93659"/>
                  </a:cubicBezTo>
                  <a:cubicBezTo>
                    <a:pt x="387097" y="93614"/>
                    <a:pt x="387058" y="93575"/>
                    <a:pt x="387019" y="93536"/>
                  </a:cubicBezTo>
                  <a:close/>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40" name="Freihandform: Form 39">
              <a:extLst>
                <a:ext uri="{FF2B5EF4-FFF2-40B4-BE49-F238E27FC236}">
                  <a16:creationId xmlns:a16="http://schemas.microsoft.com/office/drawing/2014/main" id="{7BDB88F5-4027-BBDF-227A-0A8476F82CFD}"/>
                </a:ext>
              </a:extLst>
            </p:cNvPr>
            <p:cNvSpPr/>
            <p:nvPr/>
          </p:nvSpPr>
          <p:spPr>
            <a:xfrm>
              <a:off x="3911231" y="1929915"/>
              <a:ext cx="225207" cy="230837"/>
            </a:xfrm>
            <a:custGeom>
              <a:avLst/>
              <a:gdLst>
                <a:gd name="connsiteX0" fmla="*/ 16925 w 225207"/>
                <a:gd name="connsiteY0" fmla="*/ 16891 h 230837"/>
                <a:gd name="connsiteX1" fmla="*/ 209668 w 225207"/>
                <a:gd name="connsiteY1" fmla="*/ 216953 h 230837"/>
                <a:gd name="connsiteX2" fmla="*/ 213306 w 225207"/>
                <a:gd name="connsiteY2" fmla="*/ 216987 h 230837"/>
              </a:gdLst>
              <a:ahLst/>
              <a:cxnLst>
                <a:cxn ang="0">
                  <a:pos x="connsiteX0" y="connsiteY0"/>
                </a:cxn>
                <a:cxn ang="0">
                  <a:pos x="connsiteX1" y="connsiteY1"/>
                </a:cxn>
                <a:cxn ang="0">
                  <a:pos x="connsiteX2" y="connsiteY2"/>
                </a:cxn>
              </a:cxnLst>
              <a:rect l="l" t="t" r="r" b="b"/>
              <a:pathLst>
                <a:path w="225207" h="230837">
                  <a:moveTo>
                    <a:pt x="16925" y="16891"/>
                  </a:moveTo>
                  <a:cubicBezTo>
                    <a:pt x="14904" y="125362"/>
                    <a:pt x="101198" y="214932"/>
                    <a:pt x="209668" y="216953"/>
                  </a:cubicBezTo>
                  <a:cubicBezTo>
                    <a:pt x="210881" y="216976"/>
                    <a:pt x="212093" y="216987"/>
                    <a:pt x="213306" y="216987"/>
                  </a:cubicBezTo>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42" name="Freihandform: Form 41">
              <a:extLst>
                <a:ext uri="{FF2B5EF4-FFF2-40B4-BE49-F238E27FC236}">
                  <a16:creationId xmlns:a16="http://schemas.microsoft.com/office/drawing/2014/main" id="{24D040E5-D0EC-6F02-6956-A672A98D7C8D}"/>
                </a:ext>
              </a:extLst>
            </p:cNvPr>
            <p:cNvSpPr/>
            <p:nvPr/>
          </p:nvSpPr>
          <p:spPr>
            <a:xfrm>
              <a:off x="3833688" y="1929915"/>
              <a:ext cx="304030" cy="309660"/>
            </a:xfrm>
            <a:custGeom>
              <a:avLst/>
              <a:gdLst>
                <a:gd name="connsiteX0" fmla="*/ 16941 w 304029"/>
                <a:gd name="connsiteY0" fmla="*/ 16891 h 309659"/>
                <a:gd name="connsiteX1" fmla="*/ 284437 w 304029"/>
                <a:gd name="connsiteY1" fmla="*/ 294746 h 309659"/>
                <a:gd name="connsiteX2" fmla="*/ 289385 w 304029"/>
                <a:gd name="connsiteY2" fmla="*/ 294796 h 309659"/>
              </a:gdLst>
              <a:ahLst/>
              <a:cxnLst>
                <a:cxn ang="0">
                  <a:pos x="connsiteX0" y="connsiteY0"/>
                </a:cxn>
                <a:cxn ang="0">
                  <a:pos x="connsiteX1" y="connsiteY1"/>
                </a:cxn>
                <a:cxn ang="0">
                  <a:pos x="connsiteX2" y="connsiteY2"/>
                </a:cxn>
              </a:cxnLst>
              <a:rect l="l" t="t" r="r" b="b"/>
              <a:pathLst>
                <a:path w="304029" h="309659">
                  <a:moveTo>
                    <a:pt x="16941" y="16891"/>
                  </a:moveTo>
                  <a:cubicBezTo>
                    <a:pt x="14080" y="167487"/>
                    <a:pt x="133842" y="291885"/>
                    <a:pt x="284437" y="294746"/>
                  </a:cubicBezTo>
                  <a:cubicBezTo>
                    <a:pt x="286086" y="294779"/>
                    <a:pt x="287736" y="294796"/>
                    <a:pt x="289385" y="294796"/>
                  </a:cubicBezTo>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48" name="Freihandform: Form 47">
              <a:extLst>
                <a:ext uri="{FF2B5EF4-FFF2-40B4-BE49-F238E27FC236}">
                  <a16:creationId xmlns:a16="http://schemas.microsoft.com/office/drawing/2014/main" id="{063222F6-A74B-B755-B186-8242D20958B8}"/>
                </a:ext>
              </a:extLst>
            </p:cNvPr>
            <p:cNvSpPr/>
            <p:nvPr/>
          </p:nvSpPr>
          <p:spPr>
            <a:xfrm>
              <a:off x="3991533" y="1931886"/>
              <a:ext cx="146385" cy="146385"/>
            </a:xfrm>
            <a:custGeom>
              <a:avLst/>
              <a:gdLst>
                <a:gd name="connsiteX0" fmla="*/ 16910 w 146384"/>
                <a:gd name="connsiteY0" fmla="*/ 16891 h 146384"/>
                <a:gd name="connsiteX1" fmla="*/ 130282 w 146384"/>
                <a:gd name="connsiteY1" fmla="*/ 134432 h 146384"/>
                <a:gd name="connsiteX2" fmla="*/ 132159 w 146384"/>
                <a:gd name="connsiteY2" fmla="*/ 134449 h 146384"/>
              </a:gdLst>
              <a:ahLst/>
              <a:cxnLst>
                <a:cxn ang="0">
                  <a:pos x="connsiteX0" y="connsiteY0"/>
                </a:cxn>
                <a:cxn ang="0">
                  <a:pos x="connsiteX1" y="connsiteY1"/>
                </a:cxn>
                <a:cxn ang="0">
                  <a:pos x="connsiteX2" y="connsiteY2"/>
                </a:cxn>
              </a:cxnLst>
              <a:rect l="l" t="t" r="r" b="b"/>
              <a:pathLst>
                <a:path w="146384" h="146384">
                  <a:moveTo>
                    <a:pt x="16910" y="16891"/>
                  </a:moveTo>
                  <a:cubicBezTo>
                    <a:pt x="15759" y="80658"/>
                    <a:pt x="66518" y="133278"/>
                    <a:pt x="130282" y="134432"/>
                  </a:cubicBezTo>
                  <a:cubicBezTo>
                    <a:pt x="130908" y="134443"/>
                    <a:pt x="131534" y="134449"/>
                    <a:pt x="132159" y="134449"/>
                  </a:cubicBezTo>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50" name="Freihandform: Form 49">
              <a:extLst>
                <a:ext uri="{FF2B5EF4-FFF2-40B4-BE49-F238E27FC236}">
                  <a16:creationId xmlns:a16="http://schemas.microsoft.com/office/drawing/2014/main" id="{44DBD6F9-FF15-E86D-D670-FE060FE18496}"/>
                </a:ext>
              </a:extLst>
            </p:cNvPr>
            <p:cNvSpPr/>
            <p:nvPr/>
          </p:nvSpPr>
          <p:spPr>
            <a:xfrm>
              <a:off x="3894991" y="1074209"/>
              <a:ext cx="360332" cy="360332"/>
            </a:xfrm>
            <a:custGeom>
              <a:avLst/>
              <a:gdLst>
                <a:gd name="connsiteX0" fmla="*/ 230906 w 360331"/>
                <a:gd name="connsiteY0" fmla="*/ 23887 h 360331"/>
                <a:gd name="connsiteX1" fmla="*/ 337083 w 360331"/>
                <a:gd name="connsiteY1" fmla="*/ 130064 h 360331"/>
                <a:gd name="connsiteX2" fmla="*/ 130064 w 360331"/>
                <a:gd name="connsiteY2" fmla="*/ 337083 h 360331"/>
                <a:gd name="connsiteX3" fmla="*/ 23887 w 360331"/>
                <a:gd name="connsiteY3" fmla="*/ 230906 h 360331"/>
              </a:gdLst>
              <a:ahLst/>
              <a:cxnLst>
                <a:cxn ang="0">
                  <a:pos x="connsiteX0" y="connsiteY0"/>
                </a:cxn>
                <a:cxn ang="0">
                  <a:pos x="connsiteX1" y="connsiteY1"/>
                </a:cxn>
                <a:cxn ang="0">
                  <a:pos x="connsiteX2" y="connsiteY2"/>
                </a:cxn>
                <a:cxn ang="0">
                  <a:pos x="connsiteX3" y="connsiteY3"/>
                </a:cxn>
              </a:cxnLst>
              <a:rect l="l" t="t" r="r" b="b"/>
              <a:pathLst>
                <a:path w="360331" h="360331">
                  <a:moveTo>
                    <a:pt x="230906" y="23887"/>
                  </a:moveTo>
                  <a:lnTo>
                    <a:pt x="337083" y="130064"/>
                  </a:lnTo>
                  <a:lnTo>
                    <a:pt x="130064" y="337083"/>
                  </a:lnTo>
                  <a:lnTo>
                    <a:pt x="23887" y="230906"/>
                  </a:lnTo>
                  <a:close/>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51" name="Freihandform: Form 50">
              <a:extLst>
                <a:ext uri="{FF2B5EF4-FFF2-40B4-BE49-F238E27FC236}">
                  <a16:creationId xmlns:a16="http://schemas.microsoft.com/office/drawing/2014/main" id="{799CA65C-E27C-01AA-639D-3D89CB989C7E}"/>
                </a:ext>
              </a:extLst>
            </p:cNvPr>
            <p:cNvSpPr/>
            <p:nvPr/>
          </p:nvSpPr>
          <p:spPr>
            <a:xfrm>
              <a:off x="4217773" y="1397019"/>
              <a:ext cx="140754" cy="140754"/>
            </a:xfrm>
            <a:custGeom>
              <a:avLst/>
              <a:gdLst>
                <a:gd name="connsiteX0" fmla="*/ 16891 w 140754"/>
                <a:gd name="connsiteY0" fmla="*/ 16891 h 140754"/>
                <a:gd name="connsiteX1" fmla="*/ 128706 w 140754"/>
                <a:gd name="connsiteY1" fmla="*/ 128706 h 140754"/>
              </a:gdLst>
              <a:ahLst/>
              <a:cxnLst>
                <a:cxn ang="0">
                  <a:pos x="connsiteX0" y="connsiteY0"/>
                </a:cxn>
                <a:cxn ang="0">
                  <a:pos x="connsiteX1" y="connsiteY1"/>
                </a:cxn>
              </a:cxnLst>
              <a:rect l="l" t="t" r="r" b="b"/>
              <a:pathLst>
                <a:path w="140754" h="140754">
                  <a:moveTo>
                    <a:pt x="16891" y="16891"/>
                  </a:moveTo>
                  <a:lnTo>
                    <a:pt x="128706" y="128706"/>
                  </a:lnTo>
                </a:path>
              </a:pathLst>
            </a:custGeom>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53" name="Freihandform: Form 52">
              <a:extLst>
                <a:ext uri="{FF2B5EF4-FFF2-40B4-BE49-F238E27FC236}">
                  <a16:creationId xmlns:a16="http://schemas.microsoft.com/office/drawing/2014/main" id="{32C507EC-92F4-853D-991C-CF6DC129DD75}"/>
                </a:ext>
              </a:extLst>
            </p:cNvPr>
            <p:cNvSpPr/>
            <p:nvPr/>
          </p:nvSpPr>
          <p:spPr>
            <a:xfrm>
              <a:off x="4505396" y="1684663"/>
              <a:ext cx="568648" cy="568648"/>
            </a:xfrm>
            <a:custGeom>
              <a:avLst/>
              <a:gdLst>
                <a:gd name="connsiteX0" fmla="*/ 342378 w 568648"/>
                <a:gd name="connsiteY0" fmla="*/ 549397 h 568648"/>
                <a:gd name="connsiteX1" fmla="*/ 23887 w 568648"/>
                <a:gd name="connsiteY1" fmla="*/ 230906 h 568648"/>
                <a:gd name="connsiteX2" fmla="*/ 230906 w 568648"/>
                <a:gd name="connsiteY2" fmla="*/ 23887 h 568648"/>
                <a:gd name="connsiteX3" fmla="*/ 549397 w 568648"/>
                <a:gd name="connsiteY3" fmla="*/ 342378 h 568648"/>
              </a:gdLst>
              <a:ahLst/>
              <a:cxnLst>
                <a:cxn ang="0">
                  <a:pos x="connsiteX0" y="connsiteY0"/>
                </a:cxn>
                <a:cxn ang="0">
                  <a:pos x="connsiteX1" y="connsiteY1"/>
                </a:cxn>
                <a:cxn ang="0">
                  <a:pos x="connsiteX2" y="connsiteY2"/>
                </a:cxn>
                <a:cxn ang="0">
                  <a:pos x="connsiteX3" y="connsiteY3"/>
                </a:cxn>
              </a:cxnLst>
              <a:rect l="l" t="t" r="r" b="b"/>
              <a:pathLst>
                <a:path w="568648" h="568648">
                  <a:moveTo>
                    <a:pt x="342378" y="549397"/>
                  </a:moveTo>
                  <a:lnTo>
                    <a:pt x="23887" y="230906"/>
                  </a:lnTo>
                  <a:lnTo>
                    <a:pt x="230906" y="23887"/>
                  </a:lnTo>
                  <a:lnTo>
                    <a:pt x="549397" y="342378"/>
                  </a:lnTo>
                  <a:close/>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54" name="Freihandform: Form 53">
              <a:extLst>
                <a:ext uri="{FF2B5EF4-FFF2-40B4-BE49-F238E27FC236}">
                  <a16:creationId xmlns:a16="http://schemas.microsoft.com/office/drawing/2014/main" id="{29ED6CEA-60C1-4F9E-7E8A-04FE6B1D81AF}"/>
                </a:ext>
              </a:extLst>
            </p:cNvPr>
            <p:cNvSpPr/>
            <p:nvPr/>
          </p:nvSpPr>
          <p:spPr>
            <a:xfrm>
              <a:off x="4611533" y="1790800"/>
              <a:ext cx="360332" cy="360332"/>
            </a:xfrm>
            <a:custGeom>
              <a:avLst/>
              <a:gdLst>
                <a:gd name="connsiteX0" fmla="*/ 130064 w 360331"/>
                <a:gd name="connsiteY0" fmla="*/ 337083 h 360331"/>
                <a:gd name="connsiteX1" fmla="*/ 23887 w 360331"/>
                <a:gd name="connsiteY1" fmla="*/ 230906 h 360331"/>
                <a:gd name="connsiteX2" fmla="*/ 230906 w 360331"/>
                <a:gd name="connsiteY2" fmla="*/ 23887 h 360331"/>
                <a:gd name="connsiteX3" fmla="*/ 337083 w 360331"/>
                <a:gd name="connsiteY3" fmla="*/ 130064 h 360331"/>
              </a:gdLst>
              <a:ahLst/>
              <a:cxnLst>
                <a:cxn ang="0">
                  <a:pos x="connsiteX0" y="connsiteY0"/>
                </a:cxn>
                <a:cxn ang="0">
                  <a:pos x="connsiteX1" y="connsiteY1"/>
                </a:cxn>
                <a:cxn ang="0">
                  <a:pos x="connsiteX2" y="connsiteY2"/>
                </a:cxn>
                <a:cxn ang="0">
                  <a:pos x="connsiteX3" y="connsiteY3"/>
                </a:cxn>
              </a:cxnLst>
              <a:rect l="l" t="t" r="r" b="b"/>
              <a:pathLst>
                <a:path w="360331" h="360331">
                  <a:moveTo>
                    <a:pt x="130064" y="337083"/>
                  </a:moveTo>
                  <a:lnTo>
                    <a:pt x="23887" y="230906"/>
                  </a:lnTo>
                  <a:lnTo>
                    <a:pt x="230906" y="23887"/>
                  </a:lnTo>
                  <a:lnTo>
                    <a:pt x="337083" y="130064"/>
                  </a:lnTo>
                  <a:close/>
                </a:path>
              </a:pathLst>
            </a:custGeom>
            <a:noFill/>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sp>
          <p:nvSpPr>
            <p:cNvPr id="59" name="Freihandform: Form 58">
              <a:extLst>
                <a:ext uri="{FF2B5EF4-FFF2-40B4-BE49-F238E27FC236}">
                  <a16:creationId xmlns:a16="http://schemas.microsoft.com/office/drawing/2014/main" id="{CA62AE82-48B4-0D4A-8BAA-87A2251368AB}"/>
                </a:ext>
              </a:extLst>
            </p:cNvPr>
            <p:cNvSpPr/>
            <p:nvPr/>
          </p:nvSpPr>
          <p:spPr>
            <a:xfrm>
              <a:off x="4496467" y="1675713"/>
              <a:ext cx="152015" cy="152015"/>
            </a:xfrm>
            <a:custGeom>
              <a:avLst/>
              <a:gdLst>
                <a:gd name="connsiteX0" fmla="*/ 136363 w 152014"/>
                <a:gd name="connsiteY0" fmla="*/ 136363 h 152014"/>
                <a:gd name="connsiteX1" fmla="*/ 16891 w 152014"/>
                <a:gd name="connsiteY1" fmla="*/ 16891 h 152014"/>
              </a:gdLst>
              <a:ahLst/>
              <a:cxnLst>
                <a:cxn ang="0">
                  <a:pos x="connsiteX0" y="connsiteY0"/>
                </a:cxn>
                <a:cxn ang="0">
                  <a:pos x="connsiteX1" y="connsiteY1"/>
                </a:cxn>
              </a:cxnLst>
              <a:rect l="l" t="t" r="r" b="b"/>
              <a:pathLst>
                <a:path w="152014" h="152014">
                  <a:moveTo>
                    <a:pt x="136363" y="136363"/>
                  </a:moveTo>
                  <a:lnTo>
                    <a:pt x="16891" y="16891"/>
                  </a:lnTo>
                </a:path>
              </a:pathLst>
            </a:custGeom>
            <a:ln w="38100" cap="flat">
              <a:solidFill>
                <a:schemeClr val="accent1"/>
              </a:solidFill>
              <a:prstDash val="solid"/>
              <a:miter/>
            </a:ln>
          </p:spPr>
          <p:txBody>
            <a:bodyPr rtlCol="0" anchor="ctr"/>
            <a:lstStyle/>
            <a:p>
              <a:pPr defTabSz="1106333">
                <a:defRPr/>
              </a:pPr>
              <a:endParaRPr lang="de-DE" sz="2178">
                <a:solidFill>
                  <a:srgbClr val="000000"/>
                </a:solidFill>
                <a:latin typeface="Arial"/>
                <a:ea typeface="Arial Unicode MS"/>
              </a:endParaRPr>
            </a:p>
          </p:txBody>
        </p:sp>
      </p:grpSp>
      <p:sp>
        <p:nvSpPr>
          <p:cNvPr id="61" name="Textfeld 60">
            <a:extLst>
              <a:ext uri="{FF2B5EF4-FFF2-40B4-BE49-F238E27FC236}">
                <a16:creationId xmlns:a16="http://schemas.microsoft.com/office/drawing/2014/main" id="{1422ED0B-4A4F-DD88-8D9E-BD926D4FB030}"/>
              </a:ext>
            </a:extLst>
          </p:cNvPr>
          <p:cNvSpPr txBox="1"/>
          <p:nvPr/>
        </p:nvSpPr>
        <p:spPr>
          <a:xfrm>
            <a:off x="7414693" y="2057941"/>
            <a:ext cx="965329" cy="369332"/>
          </a:xfrm>
          <a:prstGeom prst="rect">
            <a:avLst/>
          </a:prstGeom>
          <a:noFill/>
        </p:spPr>
        <p:txBody>
          <a:bodyPr wrap="none" rtlCol="0">
            <a:spAutoFit/>
          </a:bodyPr>
          <a:lstStyle/>
          <a:p>
            <a:r>
              <a:rPr lang="de-DE">
                <a:solidFill>
                  <a:schemeClr val="accent6">
                    <a:lumMod val="75000"/>
                  </a:schemeClr>
                </a:solidFill>
              </a:rPr>
              <a:t>Mobility</a:t>
            </a:r>
          </a:p>
        </p:txBody>
      </p:sp>
      <p:cxnSp>
        <p:nvCxnSpPr>
          <p:cNvPr id="63" name="Gerade Verbindung mit Pfeil 62">
            <a:extLst>
              <a:ext uri="{FF2B5EF4-FFF2-40B4-BE49-F238E27FC236}">
                <a16:creationId xmlns:a16="http://schemas.microsoft.com/office/drawing/2014/main" id="{79178AD3-6446-20EF-AEE2-674A04E82A7F}"/>
              </a:ext>
            </a:extLst>
          </p:cNvPr>
          <p:cNvCxnSpPr>
            <a:cxnSpLocks/>
          </p:cNvCxnSpPr>
          <p:nvPr/>
        </p:nvCxnSpPr>
        <p:spPr>
          <a:xfrm flipV="1">
            <a:off x="2344144" y="2917832"/>
            <a:ext cx="6440555" cy="1456071"/>
          </a:xfrm>
          <a:prstGeom prst="straightConnector1">
            <a:avLst/>
          </a:prstGeom>
          <a:ln w="38100">
            <a:solidFill>
              <a:schemeClr val="accent1"/>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 name="RS_Classification">
            <a:extLst>
              <a:ext uri="{FF2B5EF4-FFF2-40B4-BE49-F238E27FC236}">
                <a16:creationId xmlns:a16="http://schemas.microsoft.com/office/drawing/2014/main" id="{2FB24F2A-FE27-49B0-A4DA-3E0563FD64F6}"/>
              </a:ext>
            </a:extLst>
          </p:cNvPr>
          <p:cNvSpPr txBox="1"/>
          <p:nvPr/>
        </p:nvSpPr>
        <p:spPr>
          <a:xfrm>
            <a:off x="10864515" y="5656109"/>
            <a:ext cx="198772" cy="212879"/>
          </a:xfrm>
          <a:prstGeom prst="rect">
            <a:avLst/>
          </a:prstGeom>
          <a:solidFill>
            <a:srgbClr val="FFFFFF">
              <a:alpha val="0"/>
            </a:srgbClr>
          </a:solidFill>
        </p:spPr>
        <p:txBody>
          <a:bodyPr vert="horz" wrap="none" lIns="76200" tIns="36830" rIns="76200" bIns="36830" rtlCol="0" anchor="ctr">
            <a:spAutoFit/>
          </a:bodyPr>
          <a:lstStyle/>
          <a:p>
            <a:pPr defTabSz="1106333">
              <a:defRPr/>
            </a:pPr>
            <a:r>
              <a:rPr lang="de-DE" sz="900" b="1" kern="900" spc="100">
                <a:solidFill>
                  <a:srgbClr val="000000"/>
                </a:solidFill>
                <a:latin typeface="Arial"/>
                <a:ea typeface="Arial Unicode MS"/>
              </a:rPr>
              <a:t> </a:t>
            </a:r>
            <a:endParaRPr lang="de-DE" sz="900" b="1" kern="900" spc="100" err="1">
              <a:solidFill>
                <a:srgbClr val="000000"/>
              </a:solidFill>
              <a:latin typeface="Arial"/>
              <a:ea typeface="Arial Unicode MS"/>
            </a:endParaRPr>
          </a:p>
        </p:txBody>
      </p:sp>
      <p:sp>
        <p:nvSpPr>
          <p:cNvPr id="4" name="Textfeld 64">
            <a:extLst>
              <a:ext uri="{FF2B5EF4-FFF2-40B4-BE49-F238E27FC236}">
                <a16:creationId xmlns:a16="http://schemas.microsoft.com/office/drawing/2014/main" id="{41FCF3AD-47E7-ADB4-9B7E-6DBDFD145B95}"/>
              </a:ext>
            </a:extLst>
          </p:cNvPr>
          <p:cNvSpPr txBox="1"/>
          <p:nvPr/>
        </p:nvSpPr>
        <p:spPr>
          <a:xfrm>
            <a:off x="8027594" y="4248794"/>
            <a:ext cx="1005403" cy="369332"/>
          </a:xfrm>
          <a:prstGeom prst="rect">
            <a:avLst/>
          </a:prstGeom>
          <a:noFill/>
          <a:ln>
            <a:noFill/>
          </a:ln>
        </p:spPr>
        <p:txBody>
          <a:bodyPr wrap="none" lIns="91440" tIns="45720" rIns="91440" bIns="45720" rtlCol="0" anchor="t">
            <a:spAutoFit/>
          </a:bodyPr>
          <a:lstStyle/>
          <a:p>
            <a:pPr defTabSz="1106333">
              <a:defRPr/>
            </a:pPr>
            <a:r>
              <a:rPr lang="de-DE" i="1">
                <a:solidFill>
                  <a:schemeClr val="accent1"/>
                </a:solidFill>
                <a:latin typeface="Arial"/>
                <a:ea typeface="Arial Unicode MS"/>
              </a:rPr>
              <a:t>5G </a:t>
            </a:r>
            <a:r>
              <a:rPr lang="de-DE" i="1" err="1">
                <a:solidFill>
                  <a:schemeClr val="accent1"/>
                </a:solidFill>
                <a:latin typeface="Arial"/>
                <a:ea typeface="Arial Unicode MS"/>
              </a:rPr>
              <a:t>gNB</a:t>
            </a:r>
            <a:endParaRPr lang="en-US" err="1"/>
          </a:p>
        </p:txBody>
      </p:sp>
    </p:spTree>
    <p:custDataLst>
      <p:tags r:id="rId1"/>
    </p:custDataLst>
    <p:extLst>
      <p:ext uri="{BB962C8B-B14F-4D97-AF65-F5344CB8AC3E}">
        <p14:creationId xmlns:p14="http://schemas.microsoft.com/office/powerpoint/2010/main" val="3162997244"/>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D4289A-DF01-8D22-698F-353C03ADA9A5}"/>
            </a:ext>
          </a:extLst>
        </p:cNvPr>
        <p:cNvGrpSpPr/>
        <p:nvPr/>
      </p:nvGrpSpPr>
      <p:grpSpPr>
        <a:xfrm>
          <a:off x="0" y="0"/>
          <a:ext cx="0" cy="0"/>
          <a:chOff x="0" y="0"/>
          <a:chExt cx="0" cy="0"/>
        </a:xfrm>
      </p:grpSpPr>
      <p:pic>
        <p:nvPicPr>
          <p:cNvPr id="5" name="Grafik 4">
            <a:extLst>
              <a:ext uri="{FF2B5EF4-FFF2-40B4-BE49-F238E27FC236}">
                <a16:creationId xmlns:a16="http://schemas.microsoft.com/office/drawing/2014/main" id="{02A484D5-D6B4-A14A-D037-6F087ABA40CB}"/>
              </a:ext>
            </a:extLst>
          </p:cNvPr>
          <p:cNvPicPr>
            <a:picLocks noChangeAspect="1"/>
          </p:cNvPicPr>
          <p:nvPr/>
        </p:nvPicPr>
        <p:blipFill>
          <a:blip r:embed="rId2">
            <a:lum/>
            <a:alphaModFix/>
          </a:blip>
          <a:srcRect/>
          <a:stretch>
            <a:fillRect/>
          </a:stretch>
        </p:blipFill>
        <p:spPr>
          <a:xfrm>
            <a:off x="490538" y="231775"/>
            <a:ext cx="6230715" cy="1668462"/>
          </a:xfrm>
          <a:prstGeom prst="rect">
            <a:avLst/>
          </a:prstGeom>
          <a:noFill/>
          <a:ln>
            <a:noFill/>
          </a:ln>
        </p:spPr>
      </p:pic>
      <p:sp>
        <p:nvSpPr>
          <p:cNvPr id="20" name="Title 4">
            <a:extLst>
              <a:ext uri="{FF2B5EF4-FFF2-40B4-BE49-F238E27FC236}">
                <a16:creationId xmlns:a16="http://schemas.microsoft.com/office/drawing/2014/main" id="{5B0EF07E-94BE-FD33-4181-7ADF867BFB54}"/>
              </a:ext>
            </a:extLst>
          </p:cNvPr>
          <p:cNvSpPr txBox="1">
            <a:spLocks/>
          </p:cNvSpPr>
          <p:nvPr/>
        </p:nvSpPr>
        <p:spPr>
          <a:xfrm>
            <a:off x="889803" y="3369647"/>
            <a:ext cx="7459522" cy="431813"/>
          </a:xfrm>
          <a:prstGeom prst="rect">
            <a:avLst/>
          </a:prstGeom>
        </p:spPr>
        <p:txBody>
          <a:bodyPr>
            <a:normAutofit fontScale="82500" lnSpcReduction="20000"/>
          </a:bodyPr>
          <a:lstStyle>
            <a:lvl1pPr algn="l" rtl="0" hangingPunct="0">
              <a:tabLst/>
              <a:defRPr lang="en-GB" sz="3200" b="1" i="0" u="none" strike="noStrike" kern="1200">
                <a:ln>
                  <a:noFill/>
                </a:ln>
                <a:solidFill>
                  <a:srgbClr val="183859"/>
                </a:solidFill>
                <a:latin typeface="+mj-lt"/>
                <a:ea typeface="Microsoft YaHei" pitchFamily="2"/>
                <a:cs typeface="Arial" pitchFamily="2"/>
              </a:defRPr>
            </a:lvl1pPr>
          </a:lstStyle>
          <a:p>
            <a:r>
              <a:rPr lang="en-US" sz="3267"/>
              <a:t>Holistic 3D Communication Networks for 6G</a:t>
            </a:r>
          </a:p>
        </p:txBody>
      </p:sp>
      <p:sp>
        <p:nvSpPr>
          <p:cNvPr id="24" name="Title 4">
            <a:extLst>
              <a:ext uri="{FF2B5EF4-FFF2-40B4-BE49-F238E27FC236}">
                <a16:creationId xmlns:a16="http://schemas.microsoft.com/office/drawing/2014/main" id="{8E99C9A6-EA85-9176-1CE2-6AB9E41D3017}"/>
              </a:ext>
            </a:extLst>
          </p:cNvPr>
          <p:cNvSpPr txBox="1">
            <a:spLocks/>
          </p:cNvSpPr>
          <p:nvPr/>
        </p:nvSpPr>
        <p:spPr>
          <a:xfrm>
            <a:off x="889803" y="2142226"/>
            <a:ext cx="6384576" cy="635593"/>
          </a:xfrm>
          <a:prstGeom prst="rect">
            <a:avLst/>
          </a:prstGeom>
        </p:spPr>
        <p:txBody>
          <a:bodyPr vert="horz" lIns="82975" tIns="41487" rIns="82975" bIns="41487"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900" b="1"/>
              <a:t>Research project </a:t>
            </a:r>
          </a:p>
        </p:txBody>
      </p:sp>
      <p:sp>
        <p:nvSpPr>
          <p:cNvPr id="25" name="Title 4">
            <a:extLst>
              <a:ext uri="{FF2B5EF4-FFF2-40B4-BE49-F238E27FC236}">
                <a16:creationId xmlns:a16="http://schemas.microsoft.com/office/drawing/2014/main" id="{73C7117F-5001-4919-4FCA-6A82149F3661}"/>
              </a:ext>
            </a:extLst>
          </p:cNvPr>
          <p:cNvSpPr txBox="1">
            <a:spLocks/>
          </p:cNvSpPr>
          <p:nvPr/>
        </p:nvSpPr>
        <p:spPr>
          <a:xfrm>
            <a:off x="1411838" y="2828645"/>
            <a:ext cx="899339" cy="431813"/>
          </a:xfrm>
          <a:prstGeom prst="rect">
            <a:avLst/>
          </a:prstGeom>
        </p:spPr>
        <p:txBody>
          <a:bodyPr vert="horz" lIns="82975" tIns="41487" rIns="82975" bIns="41487" rtlCol="0" anchor="t">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178"/>
              <a:t>on</a:t>
            </a:r>
          </a:p>
        </p:txBody>
      </p:sp>
      <p:sp>
        <p:nvSpPr>
          <p:cNvPr id="26" name="Title 4">
            <a:extLst>
              <a:ext uri="{FF2B5EF4-FFF2-40B4-BE49-F238E27FC236}">
                <a16:creationId xmlns:a16="http://schemas.microsoft.com/office/drawing/2014/main" id="{2448BF05-0BCA-481D-2628-DEAF8C89DCAE}"/>
              </a:ext>
            </a:extLst>
          </p:cNvPr>
          <p:cNvSpPr txBox="1">
            <a:spLocks/>
          </p:cNvSpPr>
          <p:nvPr/>
        </p:nvSpPr>
        <p:spPr>
          <a:xfrm>
            <a:off x="3257318" y="4499318"/>
            <a:ext cx="4166197" cy="1205934"/>
          </a:xfrm>
          <a:prstGeom prst="rect">
            <a:avLst/>
          </a:prstGeom>
        </p:spPr>
        <p:txBody>
          <a:bodyPr vert="horz" lIns="82975" tIns="41487" rIns="82975" bIns="41487"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spcBef>
                <a:spcPts val="0"/>
              </a:spcBef>
            </a:pPr>
            <a:r>
              <a:rPr lang="en-US" sz="2000" b="1">
                <a:solidFill>
                  <a:srgbClr val="183859"/>
                </a:solidFill>
              </a:rPr>
              <a:t>Contact: </a:t>
            </a:r>
            <a:endParaRPr lang="en-US" sz="2000">
              <a:ea typeface="Calibri Light"/>
              <a:cs typeface="Calibri Light"/>
            </a:endParaRPr>
          </a:p>
          <a:p>
            <a:pPr>
              <a:lnSpc>
                <a:spcPct val="100000"/>
              </a:lnSpc>
              <a:spcBef>
                <a:spcPts val="0"/>
              </a:spcBef>
            </a:pPr>
            <a:r>
              <a:rPr lang="en-US" sz="2000">
                <a:hlinkClick r:id="rId3"/>
              </a:rPr>
              <a:t>info@6g-takeoff.de</a:t>
            </a:r>
            <a:endParaRPr lang="en-US" sz="2000">
              <a:ea typeface="Calibri Light"/>
              <a:cs typeface="Calibri Light"/>
            </a:endParaRPr>
          </a:p>
          <a:p>
            <a:pPr>
              <a:lnSpc>
                <a:spcPct val="100000"/>
              </a:lnSpc>
              <a:spcBef>
                <a:spcPts val="0"/>
              </a:spcBef>
            </a:pPr>
            <a:r>
              <a:rPr lang="en-US" sz="2000">
                <a:solidFill>
                  <a:srgbClr val="183859"/>
                </a:solidFill>
                <a:hlinkClick r:id="rId4"/>
              </a:rPr>
              <a:t>https://www.6g-takeoff.de</a:t>
            </a:r>
            <a:endParaRPr lang="en-US" sz="2000">
              <a:ea typeface="Calibri Light"/>
              <a:cs typeface="Calibri Light"/>
            </a:endParaRPr>
          </a:p>
          <a:p>
            <a:pPr>
              <a:lnSpc>
                <a:spcPct val="100000"/>
              </a:lnSpc>
              <a:spcBef>
                <a:spcPts val="0"/>
              </a:spcBef>
            </a:pPr>
            <a:endParaRPr lang="en-US" sz="2000">
              <a:ea typeface="Calibri Light"/>
              <a:cs typeface="Calibri Light"/>
            </a:endParaRPr>
          </a:p>
          <a:p>
            <a:endParaRPr lang="en-US" sz="2000" b="1">
              <a:ea typeface="Calibri Light"/>
              <a:cs typeface="Calibri Light"/>
            </a:endParaRPr>
          </a:p>
        </p:txBody>
      </p:sp>
      <p:sp>
        <p:nvSpPr>
          <p:cNvPr id="2" name="Rectangle 1">
            <a:extLst>
              <a:ext uri="{FF2B5EF4-FFF2-40B4-BE49-F238E27FC236}">
                <a16:creationId xmlns:a16="http://schemas.microsoft.com/office/drawing/2014/main" id="{25A8206B-AC24-DA6E-60CF-19FEB313ADDD}"/>
              </a:ext>
            </a:extLst>
          </p:cNvPr>
          <p:cNvSpPr/>
          <p:nvPr/>
        </p:nvSpPr>
        <p:spPr>
          <a:xfrm>
            <a:off x="9759229" y="10349"/>
            <a:ext cx="1283291" cy="9417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9">
            <a:extLst>
              <a:ext uri="{FF2B5EF4-FFF2-40B4-BE49-F238E27FC236}">
                <a16:creationId xmlns:a16="http://schemas.microsoft.com/office/drawing/2014/main" id="{43BB490B-9AB7-835E-70DF-B5BB8C124288}"/>
              </a:ext>
            </a:extLst>
          </p:cNvPr>
          <p:cNvPicPr>
            <a:picLocks noChangeAspect="1"/>
          </p:cNvPicPr>
          <p:nvPr/>
        </p:nvPicPr>
        <p:blipFill>
          <a:blip r:embed="rId5">
            <a:clrChange>
              <a:clrFrom>
                <a:srgbClr val="FFFFFF"/>
              </a:clrFrom>
              <a:clrTo>
                <a:srgbClr val="FFFFFF">
                  <a:alpha val="0"/>
                </a:srgbClr>
              </a:clrTo>
            </a:clrChange>
            <a:lum/>
            <a:alphaModFix/>
          </a:blip>
          <a:srcRect/>
          <a:stretch>
            <a:fillRect/>
          </a:stretch>
        </p:blipFill>
        <p:spPr>
          <a:xfrm>
            <a:off x="9100414" y="392674"/>
            <a:ext cx="1636386" cy="1335824"/>
          </a:xfrm>
          <a:prstGeom prst="rect">
            <a:avLst/>
          </a:prstGeom>
          <a:noFill/>
          <a:ln>
            <a:noFill/>
          </a:ln>
        </p:spPr>
      </p:pic>
      <p:pic>
        <p:nvPicPr>
          <p:cNvPr id="3" name="Picture 2">
            <a:extLst>
              <a:ext uri="{FF2B5EF4-FFF2-40B4-BE49-F238E27FC236}">
                <a16:creationId xmlns:a16="http://schemas.microsoft.com/office/drawing/2014/main" id="{2511BE0C-3DB6-C805-62BA-3C1BE8AE7864}"/>
              </a:ext>
            </a:extLst>
          </p:cNvPr>
          <p:cNvPicPr>
            <a:picLocks noChangeAspect="1"/>
          </p:cNvPicPr>
          <p:nvPr/>
        </p:nvPicPr>
        <p:blipFill>
          <a:blip r:embed="rId6"/>
          <a:srcRect t="-96" r="-450" b="7318"/>
          <a:stretch/>
        </p:blipFill>
        <p:spPr>
          <a:xfrm>
            <a:off x="799282" y="4106826"/>
            <a:ext cx="1825117" cy="1716798"/>
          </a:xfrm>
          <a:prstGeom prst="rect">
            <a:avLst/>
          </a:prstGeom>
        </p:spPr>
      </p:pic>
    </p:spTree>
    <p:extLst>
      <p:ext uri="{BB962C8B-B14F-4D97-AF65-F5344CB8AC3E}">
        <p14:creationId xmlns:p14="http://schemas.microsoft.com/office/powerpoint/2010/main" val="918037416"/>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A0FD8C31-E960-4A5D-AD3C-5CD63D4C4D4E}"/>
              </a:ext>
            </a:extLst>
          </p:cNvPr>
          <p:cNvSpPr/>
          <p:nvPr/>
        </p:nvSpPr>
        <p:spPr>
          <a:xfrm>
            <a:off x="6358759" y="1696454"/>
            <a:ext cx="3839751" cy="3569230"/>
          </a:xfrm>
          <a:prstGeom prst="rect">
            <a:avLst/>
          </a:prstGeom>
          <a:solidFill>
            <a:srgbClr val="1838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0559368A-CF72-48DC-B6D4-C6C36E897F8A}"/>
              </a:ext>
            </a:extLst>
          </p:cNvPr>
          <p:cNvSpPr>
            <a:spLocks noGrp="1"/>
          </p:cNvSpPr>
          <p:nvPr>
            <p:ph type="title"/>
          </p:nvPr>
        </p:nvSpPr>
        <p:spPr/>
        <p:txBody>
          <a:bodyPr/>
          <a:lstStyle/>
          <a:p>
            <a:endParaRPr lang="en-US"/>
          </a:p>
        </p:txBody>
      </p:sp>
      <mc:AlternateContent xmlns:mc="http://schemas.openxmlformats.org/markup-compatibility/2006">
        <mc:Choice xmlns:psuz="http://schemas.microsoft.com/office/powerpoint/2016/summaryzoom" Requires="psuz">
          <p:graphicFrame>
            <p:nvGraphicFramePr>
              <p:cNvPr id="6" name="Zusammenfassungszoom 5">
                <a:extLst>
                  <a:ext uri="{FF2B5EF4-FFF2-40B4-BE49-F238E27FC236}">
                    <a16:creationId xmlns:a16="http://schemas.microsoft.com/office/drawing/2014/main" id="{68E63E2A-0AC1-44FD-B03B-19F71EEE9C4F}"/>
                  </a:ext>
                </a:extLst>
              </p:cNvPr>
              <p:cNvGraphicFramePr>
                <a:graphicFrameLocks noChangeAspect="1"/>
              </p:cNvGraphicFramePr>
              <p:nvPr>
                <p:extLst>
                  <p:ext uri="{D42A27DB-BD31-4B8C-83A1-F6EECF244321}">
                    <p14:modId xmlns:p14="http://schemas.microsoft.com/office/powerpoint/2010/main" val="980555377"/>
                  </p:ext>
                </p:extLst>
              </p:nvPr>
            </p:nvGraphicFramePr>
            <p:xfrm>
              <a:off x="552450" y="1455738"/>
              <a:ext cx="9956800" cy="4068762"/>
            </p:xfrm>
            <a:graphic>
              <a:graphicData uri="http://schemas.microsoft.com/office/powerpoint/2016/summaryzoom">
                <psuz:summaryZm>
                  <psuz:summaryZmObj sectionId="{BF3BE9F3-98CD-4806-B64A-95B2FBDE7E1E}">
                    <psuz:zmPr id="{E24A5DCF-0ADD-4708-998D-F9108EAB54B3}" transitionDur="1000">
                      <p166:blipFill xmlns:p166="http://schemas.microsoft.com/office/powerpoint/2016/6/main">
                        <a:blip r:embed="rId2"/>
                        <a:stretch>
                          <a:fillRect/>
                        </a:stretch>
                      </p166:blipFill>
                      <p166:spPr xmlns:p166="http://schemas.microsoft.com/office/powerpoint/2016/6/main">
                        <a:xfrm>
                          <a:off x="385799" y="297749"/>
                          <a:ext cx="2987040" cy="1680611"/>
                        </a:xfrm>
                        <a:prstGeom prst="rect">
                          <a:avLst/>
                        </a:prstGeom>
                      </p166:spPr>
                    </psuz:zmPr>
                  </psuz:summaryZmObj>
                  <psuz:summaryZmObj sectionId="{A61DD1E5-45F0-4581-ADEF-D4D9709239C4}">
                    <psuz:zmPr id="{9CA5FC91-24CD-4A90-860F-7EEB78984CC2}" transitionDur="1000">
                      <p166:blipFill xmlns:p166="http://schemas.microsoft.com/office/powerpoint/2016/6/main">
                        <a:blip r:embed="rId3"/>
                        <a:stretch>
                          <a:fillRect/>
                        </a:stretch>
                      </p166:blipFill>
                      <p166:spPr xmlns:p166="http://schemas.microsoft.com/office/powerpoint/2016/6/main">
                        <a:xfrm>
                          <a:off x="3484880" y="297749"/>
                          <a:ext cx="2987040" cy="1680611"/>
                        </a:xfrm>
                        <a:prstGeom prst="rect">
                          <a:avLst/>
                        </a:prstGeom>
                      </p166:spPr>
                    </psuz:zmPr>
                  </psuz:summaryZmObj>
                  <psuz:summaryZmObj sectionId="{4D70900E-AB76-4772-BACA-12DCAFC5F027}">
                    <psuz:zmPr id="{B84A4A4A-804A-4989-B226-9A75264E23BE}" transitionDur="1000">
                      <p166:blipFill xmlns:p166="http://schemas.microsoft.com/office/powerpoint/2016/6/main">
                        <a:blip r:embed="rId4"/>
                        <a:stretch>
                          <a:fillRect/>
                        </a:stretch>
                      </p166:blipFill>
                      <p166:spPr xmlns:p166="http://schemas.microsoft.com/office/powerpoint/2016/6/main">
                        <a:xfrm>
                          <a:off x="6583961" y="297749"/>
                          <a:ext cx="2987040" cy="1680611"/>
                        </a:xfrm>
                        <a:prstGeom prst="rect">
                          <a:avLst/>
                        </a:prstGeom>
                      </p166:spPr>
                    </psuz:zmPr>
                  </psuz:summaryZmObj>
                  <psuz:summaryZmObj sectionId="{04D594AE-0B56-4C44-950E-68ABCBCF2E1E}">
                    <psuz:zmPr id="{DDE55E99-A3F3-43D2-830B-F35355B3909B}" transitionDur="1000">
                      <p166:blipFill xmlns:p166="http://schemas.microsoft.com/office/powerpoint/2016/6/main">
                        <a:blip r:embed="rId5"/>
                        <a:stretch>
                          <a:fillRect/>
                        </a:stretch>
                      </p166:blipFill>
                      <p166:spPr xmlns:p166="http://schemas.microsoft.com/office/powerpoint/2016/6/main">
                        <a:xfrm>
                          <a:off x="385799" y="2090401"/>
                          <a:ext cx="2987040" cy="1680611"/>
                        </a:xfrm>
                        <a:prstGeom prst="rect">
                          <a:avLst/>
                        </a:prstGeom>
                      </p166:spPr>
                    </psuz:zmPr>
                  </psuz:summaryZmObj>
                  <psuz:summaryZmObj sectionId="{C1452029-4259-4D39-AB03-A2CE498650C7}">
                    <psuz:zmPr id="{0E40931D-DA23-4EF7-B808-D5ADD98D2446}" transitionDur="1000">
                      <p166:blipFill xmlns:p166="http://schemas.microsoft.com/office/powerpoint/2016/6/main">
                        <a:blip r:embed="rId6"/>
                        <a:stretch>
                          <a:fillRect/>
                        </a:stretch>
                      </p166:blipFill>
                      <p166:spPr xmlns:p166="http://schemas.microsoft.com/office/powerpoint/2016/6/main">
                        <a:xfrm>
                          <a:off x="3484880" y="2090401"/>
                          <a:ext cx="2987040" cy="1680611"/>
                        </a:xfrm>
                        <a:prstGeom prst="rect">
                          <a:avLst/>
                        </a:prstGeom>
                      </p166:spPr>
                    </psuz:zmPr>
                  </psuz:summaryZmObj>
                  <psuz:gridLayout/>
                </psuz:summaryZm>
              </a:graphicData>
            </a:graphic>
          </p:graphicFrame>
        </mc:Choice>
        <mc:Fallback>
          <p:grpSp>
            <p:nvGrpSpPr>
              <p:cNvPr id="6" name="Zusammenfassungszoom 5">
                <a:extLst>
                  <a:ext uri="{FF2B5EF4-FFF2-40B4-BE49-F238E27FC236}">
                    <a16:creationId xmlns:a16="http://schemas.microsoft.com/office/drawing/2014/main" id="{68E63E2A-0AC1-44FD-B03B-19F71EEE9C4F}"/>
                  </a:ext>
                </a:extLst>
              </p:cNvPr>
              <p:cNvGrpSpPr>
                <a:grpSpLocks noGrp="1" noUngrp="1" noRot="1" noChangeAspect="1" noMove="1" noResize="1"/>
              </p:cNvGrpSpPr>
              <p:nvPr/>
            </p:nvGrpSpPr>
            <p:grpSpPr>
              <a:xfrm>
                <a:off x="552450" y="1455738"/>
                <a:ext cx="9956800" cy="4068762"/>
                <a:chOff x="552450" y="1455738"/>
                <a:chExt cx="9956800" cy="4068762"/>
              </a:xfrm>
            </p:grpSpPr>
            <p:pic>
              <p:nvPicPr>
                <p:cNvPr id="3" name="Picture 3">
                  <a:hlinkClick r:id="rId7" action="ppaction://hlinksldjump"/>
                </p:cNvPr>
                <p:cNvPicPr>
                  <a:picLocks noSelect="1" noRot="1" noChangeAspect="1" noMove="1" noResize="1" noEditPoints="1" noAdjustHandles="1" noChangeArrowheads="1" noChangeShapeType="1"/>
                </p:cNvPicPr>
                <p:nvPr/>
              </p:nvPicPr>
              <p:blipFill>
                <a:blip r:embed="rId2"/>
                <a:stretch>
                  <a:fillRect/>
                </a:stretch>
              </p:blipFill>
              <p:spPr>
                <a:xfrm>
                  <a:off x="938249" y="1753487"/>
                  <a:ext cx="2987040" cy="1680611"/>
                </a:xfrm>
                <a:prstGeom prst="rect">
                  <a:avLst/>
                </a:prstGeom>
              </p:spPr>
            </p:pic>
            <p:pic>
              <p:nvPicPr>
                <p:cNvPr id="4" name="Picture 4">
                  <a:hlinkClick r:id="rId8" action="ppaction://hlinksldjump"/>
                </p:cNvPr>
                <p:cNvPicPr>
                  <a:picLocks noSelect="1" noRot="1" noChangeAspect="1" noMove="1" noResize="1" noEditPoints="1" noAdjustHandles="1" noChangeArrowheads="1" noChangeShapeType="1"/>
                </p:cNvPicPr>
                <p:nvPr/>
              </p:nvPicPr>
              <p:blipFill>
                <a:blip r:embed="rId3"/>
                <a:stretch>
                  <a:fillRect/>
                </a:stretch>
              </p:blipFill>
              <p:spPr>
                <a:xfrm>
                  <a:off x="4037330" y="1753487"/>
                  <a:ext cx="2987040" cy="1680611"/>
                </a:xfrm>
                <a:prstGeom prst="rect">
                  <a:avLst/>
                </a:prstGeom>
              </p:spPr>
            </p:pic>
            <p:pic>
              <p:nvPicPr>
                <p:cNvPr id="5" name="Picture 5">
                  <a:hlinkClick r:id="rId9" action="ppaction://hlinksldjump"/>
                </p:cNvPr>
                <p:cNvPicPr>
                  <a:picLocks noSelect="1" noRot="1" noChangeAspect="1" noMove="1" noResize="1" noEditPoints="1" noAdjustHandles="1" noChangeArrowheads="1" noChangeShapeType="1"/>
                </p:cNvPicPr>
                <p:nvPr/>
              </p:nvPicPr>
              <p:blipFill>
                <a:blip r:embed="rId4"/>
                <a:stretch>
                  <a:fillRect/>
                </a:stretch>
              </p:blipFill>
              <p:spPr>
                <a:xfrm>
                  <a:off x="7136411" y="1753487"/>
                  <a:ext cx="2987040" cy="1680611"/>
                </a:xfrm>
                <a:prstGeom prst="rect">
                  <a:avLst/>
                </a:prstGeom>
              </p:spPr>
            </p:pic>
            <p:pic>
              <p:nvPicPr>
                <p:cNvPr id="7" name="Picture 7">
                  <a:hlinkClick r:id="rId10" action="ppaction://hlinksldjump"/>
                </p:cNvPr>
                <p:cNvPicPr>
                  <a:picLocks noSelect="1" noRot="1" noChangeAspect="1" noMove="1" noResize="1" noEditPoints="1" noAdjustHandles="1" noChangeArrowheads="1" noChangeShapeType="1"/>
                </p:cNvPicPr>
                <p:nvPr/>
              </p:nvPicPr>
              <p:blipFill>
                <a:blip r:embed="rId5"/>
                <a:stretch>
                  <a:fillRect/>
                </a:stretch>
              </p:blipFill>
              <p:spPr>
                <a:xfrm>
                  <a:off x="938249" y="3546139"/>
                  <a:ext cx="2987040" cy="1680611"/>
                </a:xfrm>
                <a:prstGeom prst="rect">
                  <a:avLst/>
                </a:prstGeom>
              </p:spPr>
            </p:pic>
            <p:pic>
              <p:nvPicPr>
                <p:cNvPr id="8" name="Picture 8">
                  <a:hlinkClick r:id="rId11" action="ppaction://hlinksldjump"/>
                </p:cNvPr>
                <p:cNvPicPr>
                  <a:picLocks noSelect="1" noRot="1" noChangeAspect="1" noMove="1" noResize="1" noEditPoints="1" noAdjustHandles="1" noChangeArrowheads="1" noChangeShapeType="1"/>
                </p:cNvPicPr>
                <p:nvPr/>
              </p:nvPicPr>
              <p:blipFill>
                <a:blip r:embed="rId6"/>
                <a:stretch>
                  <a:fillRect/>
                </a:stretch>
              </p:blipFill>
              <p:spPr>
                <a:xfrm>
                  <a:off x="4037330" y="3546139"/>
                  <a:ext cx="2987040" cy="1680611"/>
                </a:xfrm>
                <a:prstGeom prst="rect">
                  <a:avLst/>
                </a:prstGeom>
              </p:spPr>
            </p:pic>
          </p:grpSp>
        </mc:Fallback>
      </mc:AlternateContent>
    </p:spTree>
    <p:extLst>
      <p:ext uri="{BB962C8B-B14F-4D97-AF65-F5344CB8AC3E}">
        <p14:creationId xmlns:p14="http://schemas.microsoft.com/office/powerpoint/2010/main" val="2709080035"/>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67447F-64BC-A060-1E84-F524D6BDDF47}"/>
              </a:ext>
            </a:extLst>
          </p:cNvPr>
          <p:cNvSpPr>
            <a:spLocks noGrp="1"/>
          </p:cNvSpPr>
          <p:nvPr>
            <p:ph type="title"/>
          </p:nvPr>
        </p:nvSpPr>
        <p:spPr/>
        <p:txBody>
          <a:bodyPr/>
          <a:lstStyle/>
          <a:p>
            <a:r>
              <a:rPr lang="de-DE" b="0">
                <a:latin typeface="Rubik"/>
                <a:ea typeface="Microsoft YaHei"/>
                <a:cs typeface="Arial"/>
              </a:rPr>
              <a:t>Motivation</a:t>
            </a:r>
            <a:endParaRPr lang="de-DE" b="0"/>
          </a:p>
        </p:txBody>
      </p:sp>
      <p:sp>
        <p:nvSpPr>
          <p:cNvPr id="6" name="Textplatzhalter 5">
            <a:extLst>
              <a:ext uri="{FF2B5EF4-FFF2-40B4-BE49-F238E27FC236}">
                <a16:creationId xmlns:a16="http://schemas.microsoft.com/office/drawing/2014/main" id="{967E905D-1807-4264-B30D-F95730D3DD23}"/>
              </a:ext>
            </a:extLst>
          </p:cNvPr>
          <p:cNvSpPr>
            <a:spLocks noGrp="1"/>
          </p:cNvSpPr>
          <p:nvPr>
            <p:ph type="body" idx="1"/>
          </p:nvPr>
        </p:nvSpPr>
        <p:spPr/>
        <p:txBody>
          <a:bodyPr/>
          <a:lstStyle/>
          <a:p>
            <a:endParaRPr lang="en-US"/>
          </a:p>
        </p:txBody>
      </p:sp>
      <p:pic>
        <p:nvPicPr>
          <p:cNvPr id="5" name="Bildplatzhalter 11">
            <a:extLst>
              <a:ext uri="{FF2B5EF4-FFF2-40B4-BE49-F238E27FC236}">
                <a16:creationId xmlns:a16="http://schemas.microsoft.com/office/drawing/2014/main" id="{E1CA6B72-40B3-4973-9551-80ED85C8CC17}"/>
              </a:ext>
            </a:extLst>
          </p:cNvPr>
          <p:cNvPicPr>
            <a:picLocks noChangeAspect="1"/>
          </p:cNvPicPr>
          <p:nvPr/>
        </p:nvPicPr>
        <p:blipFill rotWithShape="1">
          <a:blip r:embed="rId2">
            <a:extLst>
              <a:ext uri="{28A0092B-C50C-407E-A947-70E740481C1C}">
                <a14:useLocalDpi xmlns:a14="http://schemas.microsoft.com/office/drawing/2010/main" val="0"/>
              </a:ext>
            </a:extLst>
          </a:blip>
          <a:srcRect t="8560" b="8560"/>
          <a:stretch/>
        </p:blipFill>
        <p:spPr>
          <a:xfrm>
            <a:off x="5530850" y="3178838"/>
            <a:ext cx="5041900" cy="2348843"/>
          </a:xfrm>
          <a:prstGeom prst="rect">
            <a:avLst/>
          </a:prstGeom>
        </p:spPr>
      </p:pic>
    </p:spTree>
    <p:extLst>
      <p:ext uri="{BB962C8B-B14F-4D97-AF65-F5344CB8AC3E}">
        <p14:creationId xmlns:p14="http://schemas.microsoft.com/office/powerpoint/2010/main" val="3918639821"/>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4A49D94-6F22-4FB3-AF78-C20985F7A7C6}"/>
              </a:ext>
            </a:extLst>
          </p:cNvPr>
          <p:cNvSpPr>
            <a:spLocks noGrp="1"/>
          </p:cNvSpPr>
          <p:nvPr>
            <p:ph type="title"/>
          </p:nvPr>
        </p:nvSpPr>
        <p:spPr/>
        <p:txBody>
          <a:bodyPr>
            <a:normAutofit/>
          </a:bodyPr>
          <a:lstStyle/>
          <a:p>
            <a:r>
              <a:rPr lang="en-US"/>
              <a:t>Insufficient Coverage for Mobile Connectivity</a:t>
            </a:r>
          </a:p>
        </p:txBody>
      </p:sp>
      <p:sp>
        <p:nvSpPr>
          <p:cNvPr id="7" name="Textplatzhalter 6">
            <a:extLst>
              <a:ext uri="{FF2B5EF4-FFF2-40B4-BE49-F238E27FC236}">
                <a16:creationId xmlns:a16="http://schemas.microsoft.com/office/drawing/2014/main" id="{102D0D86-8DC9-4BF0-88E4-A6B37A846845}"/>
              </a:ext>
            </a:extLst>
          </p:cNvPr>
          <p:cNvSpPr>
            <a:spLocks noGrp="1"/>
          </p:cNvSpPr>
          <p:nvPr>
            <p:ph type="body" sz="quarter" idx="13"/>
          </p:nvPr>
        </p:nvSpPr>
        <p:spPr/>
        <p:txBody>
          <a:bodyPr>
            <a:normAutofit fontScale="92500" lnSpcReduction="10000"/>
          </a:bodyPr>
          <a:lstStyle/>
          <a:p>
            <a:r>
              <a:rPr lang="en-US">
                <a:ea typeface="Microsoft YaHei"/>
                <a:cs typeface="Arial"/>
              </a:rPr>
              <a:t>Autonomous driving</a:t>
            </a:r>
          </a:p>
        </p:txBody>
      </p:sp>
      <p:sp>
        <p:nvSpPr>
          <p:cNvPr id="9" name="Textplatzhalter 8">
            <a:extLst>
              <a:ext uri="{FF2B5EF4-FFF2-40B4-BE49-F238E27FC236}">
                <a16:creationId xmlns:a16="http://schemas.microsoft.com/office/drawing/2014/main" id="{F670715D-EAAF-485D-88B9-9BE48B9432F3}"/>
              </a:ext>
            </a:extLst>
          </p:cNvPr>
          <p:cNvSpPr>
            <a:spLocks noGrp="1"/>
          </p:cNvSpPr>
          <p:nvPr>
            <p:ph type="body" sz="quarter" idx="15"/>
          </p:nvPr>
        </p:nvSpPr>
        <p:spPr/>
        <p:txBody>
          <a:bodyPr>
            <a:normAutofit fontScale="92500" lnSpcReduction="10000"/>
          </a:bodyPr>
          <a:lstStyle/>
          <a:p>
            <a:r>
              <a:rPr lang="en-US"/>
              <a:t>Maritime</a:t>
            </a:r>
          </a:p>
        </p:txBody>
      </p:sp>
      <p:sp>
        <p:nvSpPr>
          <p:cNvPr id="8" name="Textplatzhalter 7">
            <a:extLst>
              <a:ext uri="{FF2B5EF4-FFF2-40B4-BE49-F238E27FC236}">
                <a16:creationId xmlns:a16="http://schemas.microsoft.com/office/drawing/2014/main" id="{3090E32B-B750-4164-BB98-9235484AE550}"/>
              </a:ext>
            </a:extLst>
          </p:cNvPr>
          <p:cNvSpPr>
            <a:spLocks noGrp="1"/>
          </p:cNvSpPr>
          <p:nvPr>
            <p:ph type="body" sz="quarter" idx="17"/>
          </p:nvPr>
        </p:nvSpPr>
        <p:spPr/>
        <p:txBody>
          <a:bodyPr>
            <a:normAutofit fontScale="92500" lnSpcReduction="10000"/>
          </a:bodyPr>
          <a:lstStyle/>
          <a:p>
            <a:r>
              <a:rPr lang="en-US"/>
              <a:t>Coverage of (terrestrial) white spots</a:t>
            </a:r>
          </a:p>
        </p:txBody>
      </p:sp>
      <p:sp>
        <p:nvSpPr>
          <p:cNvPr id="11" name="Textplatzhalter 10">
            <a:extLst>
              <a:ext uri="{FF2B5EF4-FFF2-40B4-BE49-F238E27FC236}">
                <a16:creationId xmlns:a16="http://schemas.microsoft.com/office/drawing/2014/main" id="{A16B7E54-4F2C-4F52-8EA9-8DBEAAC461B3}"/>
              </a:ext>
            </a:extLst>
          </p:cNvPr>
          <p:cNvSpPr>
            <a:spLocks noGrp="1"/>
          </p:cNvSpPr>
          <p:nvPr>
            <p:ph type="body" sz="quarter" idx="19"/>
          </p:nvPr>
        </p:nvSpPr>
        <p:spPr/>
        <p:txBody>
          <a:bodyPr>
            <a:normAutofit fontScale="92500" lnSpcReduction="10000"/>
          </a:bodyPr>
          <a:lstStyle/>
          <a:p>
            <a:r>
              <a:rPr lang="en-US"/>
              <a:t>Aerospace: Passenger aircraft &amp; logistics</a:t>
            </a:r>
          </a:p>
        </p:txBody>
      </p:sp>
      <p:pic>
        <p:nvPicPr>
          <p:cNvPr id="12" name="Picture Placeholder 11">
            <a:extLst>
              <a:ext uri="{FF2B5EF4-FFF2-40B4-BE49-F238E27FC236}">
                <a16:creationId xmlns:a16="http://schemas.microsoft.com/office/drawing/2014/main" id="{C643DA7E-FE1B-E6E8-2BD9-64DE785413FD}"/>
              </a:ext>
            </a:extLst>
          </p:cNvPr>
          <p:cNvPicPr>
            <a:picLocks noGrp="1" noChangeAspect="1"/>
          </p:cNvPicPr>
          <p:nvPr>
            <p:ph type="pic" sz="quarter" idx="16"/>
          </p:nvPr>
        </p:nvPicPr>
        <p:blipFill>
          <a:blip r:embed="rId3"/>
          <a:srcRect t="15254" b="15254"/>
          <a:stretch/>
        </p:blipFill>
        <p:spPr>
          <a:xfrm>
            <a:off x="498475" y="3779838"/>
            <a:ext cx="4429125" cy="2062162"/>
          </a:xfrm>
          <a:prstGeom prst="rect">
            <a:avLst/>
          </a:prstGeom>
        </p:spPr>
      </p:pic>
      <p:pic>
        <p:nvPicPr>
          <p:cNvPr id="13" name="Picture Placeholder 12" descr="A group of cars driving on a road&#10;&#10;AI-generated content may be incorrect.">
            <a:extLst>
              <a:ext uri="{FF2B5EF4-FFF2-40B4-BE49-F238E27FC236}">
                <a16:creationId xmlns:a16="http://schemas.microsoft.com/office/drawing/2014/main" id="{18CC4491-F3F5-6E12-7993-1BDE03C7B6DF}"/>
              </a:ext>
            </a:extLst>
          </p:cNvPr>
          <p:cNvPicPr>
            <a:picLocks noGrp="1" noChangeAspect="1"/>
          </p:cNvPicPr>
          <p:nvPr>
            <p:ph type="pic" sz="quarter" idx="14"/>
          </p:nvPr>
        </p:nvPicPr>
        <p:blipFill>
          <a:blip r:embed="rId4">
            <a:extLst>
              <a:ext uri="{28A0092B-C50C-407E-A947-70E740481C1C}">
                <a14:useLocalDpi xmlns:a14="http://schemas.microsoft.com/office/drawing/2010/main" val="0"/>
              </a:ext>
            </a:extLst>
          </a:blip>
          <a:srcRect t="8601" b="8601"/>
          <a:stretch/>
        </p:blipFill>
        <p:spPr>
          <a:xfrm>
            <a:off x="495300" y="1412875"/>
            <a:ext cx="4427538" cy="2063750"/>
          </a:xfrm>
          <a:prstGeom prst="rect">
            <a:avLst/>
          </a:prstGeom>
        </p:spPr>
      </p:pic>
      <p:pic>
        <p:nvPicPr>
          <p:cNvPr id="14" name="Picture Placeholder 13">
            <a:extLst>
              <a:ext uri="{FF2B5EF4-FFF2-40B4-BE49-F238E27FC236}">
                <a16:creationId xmlns:a16="http://schemas.microsoft.com/office/drawing/2014/main" id="{A3F7809E-2C1A-20CE-9A30-65C62C31AE09}"/>
              </a:ext>
            </a:extLst>
          </p:cNvPr>
          <p:cNvPicPr>
            <a:picLocks noGrp="1" noChangeAspect="1"/>
          </p:cNvPicPr>
          <p:nvPr>
            <p:ph type="pic" sz="quarter" idx="18"/>
          </p:nvPr>
        </p:nvPicPr>
        <p:blipFill>
          <a:blip r:embed="rId5"/>
          <a:srcRect t="17453" b="17453"/>
          <a:stretch/>
        </p:blipFill>
        <p:spPr>
          <a:xfrm>
            <a:off x="6056313" y="1412875"/>
            <a:ext cx="4427537" cy="2063750"/>
          </a:xfrm>
          <a:prstGeom prst="rect">
            <a:avLst/>
          </a:prstGeom>
        </p:spPr>
      </p:pic>
      <p:pic>
        <p:nvPicPr>
          <p:cNvPr id="15" name="Picture Placeholder 14" descr="A plane flying in the sky&#10;&#10;AI-generated content may be incorrect.">
            <a:extLst>
              <a:ext uri="{FF2B5EF4-FFF2-40B4-BE49-F238E27FC236}">
                <a16:creationId xmlns:a16="http://schemas.microsoft.com/office/drawing/2014/main" id="{D134B75E-ACD8-64D1-4390-F95B8A50B556}"/>
              </a:ext>
            </a:extLst>
          </p:cNvPr>
          <p:cNvPicPr>
            <a:picLocks noGrp="1" noChangeAspect="1"/>
          </p:cNvPicPr>
          <p:nvPr>
            <p:ph type="pic" sz="quarter" idx="20"/>
          </p:nvPr>
        </p:nvPicPr>
        <p:blipFill>
          <a:blip r:embed="rId6">
            <a:extLst>
              <a:ext uri="{28A0092B-C50C-407E-A947-70E740481C1C}">
                <a14:useLocalDpi xmlns:a14="http://schemas.microsoft.com/office/drawing/2010/main" val="0"/>
              </a:ext>
            </a:extLst>
          </a:blip>
          <a:srcRect t="8609" b="8609"/>
          <a:stretch/>
        </p:blipFill>
        <p:spPr>
          <a:xfrm>
            <a:off x="6056313" y="3776663"/>
            <a:ext cx="4427537" cy="2062162"/>
          </a:xfrm>
          <a:prstGeom prst="rect">
            <a:avLst/>
          </a:prstGeom>
        </p:spPr>
      </p:pic>
    </p:spTree>
    <p:extLst>
      <p:ext uri="{BB962C8B-B14F-4D97-AF65-F5344CB8AC3E}">
        <p14:creationId xmlns:p14="http://schemas.microsoft.com/office/powerpoint/2010/main" val="1673204685"/>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087B5E-B27E-43DE-85DC-16C37B3EC9C6}"/>
              </a:ext>
            </a:extLst>
          </p:cNvPr>
          <p:cNvSpPr>
            <a:spLocks noGrp="1"/>
          </p:cNvSpPr>
          <p:nvPr>
            <p:ph type="title"/>
          </p:nvPr>
        </p:nvSpPr>
        <p:spPr/>
        <p:txBody>
          <a:bodyPr/>
          <a:lstStyle/>
          <a:p>
            <a:r>
              <a:rPr lang="en-US"/>
              <a:t>Temporarily / Locally Insufficient Capacity</a:t>
            </a:r>
          </a:p>
        </p:txBody>
      </p:sp>
      <p:sp>
        <p:nvSpPr>
          <p:cNvPr id="3" name="Textplatzhalter 2">
            <a:extLst>
              <a:ext uri="{FF2B5EF4-FFF2-40B4-BE49-F238E27FC236}">
                <a16:creationId xmlns:a16="http://schemas.microsoft.com/office/drawing/2014/main" id="{A842A701-7764-46EC-A9F3-A8AD4C4C1402}"/>
              </a:ext>
            </a:extLst>
          </p:cNvPr>
          <p:cNvSpPr>
            <a:spLocks noGrp="1"/>
          </p:cNvSpPr>
          <p:nvPr>
            <p:ph type="body" sz="quarter" idx="13"/>
          </p:nvPr>
        </p:nvSpPr>
        <p:spPr/>
        <p:txBody>
          <a:bodyPr>
            <a:normAutofit fontScale="92500" lnSpcReduction="10000"/>
          </a:bodyPr>
          <a:lstStyle/>
          <a:p>
            <a:r>
              <a:rPr lang="en-US"/>
              <a:t>Agriculture</a:t>
            </a:r>
          </a:p>
        </p:txBody>
      </p:sp>
      <p:pic>
        <p:nvPicPr>
          <p:cNvPr id="12" name="Bildplatzhalter 11">
            <a:extLst>
              <a:ext uri="{FF2B5EF4-FFF2-40B4-BE49-F238E27FC236}">
                <a16:creationId xmlns:a16="http://schemas.microsoft.com/office/drawing/2014/main" id="{1229F434-020E-43E4-84DF-BBBFED89C6B6}"/>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t="8560" b="8560"/>
          <a:stretch/>
        </p:blipFill>
        <p:spPr/>
      </p:pic>
      <p:sp>
        <p:nvSpPr>
          <p:cNvPr id="5" name="Textplatzhalter 4">
            <a:extLst>
              <a:ext uri="{FF2B5EF4-FFF2-40B4-BE49-F238E27FC236}">
                <a16:creationId xmlns:a16="http://schemas.microsoft.com/office/drawing/2014/main" id="{5B96CC07-CE4E-4055-AD2B-CB44CCACE608}"/>
              </a:ext>
            </a:extLst>
          </p:cNvPr>
          <p:cNvSpPr>
            <a:spLocks noGrp="1"/>
          </p:cNvSpPr>
          <p:nvPr>
            <p:ph type="body" sz="quarter" idx="15"/>
          </p:nvPr>
        </p:nvSpPr>
        <p:spPr/>
        <p:txBody>
          <a:bodyPr>
            <a:normAutofit fontScale="92500" lnSpcReduction="10000"/>
          </a:bodyPr>
          <a:lstStyle/>
          <a:p>
            <a:r>
              <a:rPr lang="en-US"/>
              <a:t>Construction Areas</a:t>
            </a:r>
          </a:p>
        </p:txBody>
      </p:sp>
      <p:sp>
        <p:nvSpPr>
          <p:cNvPr id="7" name="Textplatzhalter 6">
            <a:extLst>
              <a:ext uri="{FF2B5EF4-FFF2-40B4-BE49-F238E27FC236}">
                <a16:creationId xmlns:a16="http://schemas.microsoft.com/office/drawing/2014/main" id="{532344E9-8CF6-4E05-AE87-137ACD63E2BE}"/>
              </a:ext>
            </a:extLst>
          </p:cNvPr>
          <p:cNvSpPr>
            <a:spLocks noGrp="1"/>
          </p:cNvSpPr>
          <p:nvPr>
            <p:ph type="body" sz="quarter" idx="17"/>
          </p:nvPr>
        </p:nvSpPr>
        <p:spPr/>
        <p:txBody>
          <a:bodyPr>
            <a:normAutofit fontScale="92500" lnSpcReduction="10000"/>
          </a:bodyPr>
          <a:lstStyle/>
          <a:p>
            <a:r>
              <a:rPr lang="en-US">
                <a:ea typeface="Microsoft YaHei"/>
                <a:cs typeface="Arial"/>
              </a:rPr>
              <a:t>Cultural and sports events</a:t>
            </a:r>
          </a:p>
        </p:txBody>
      </p:sp>
      <p:sp>
        <p:nvSpPr>
          <p:cNvPr id="9" name="Textplatzhalter 8">
            <a:extLst>
              <a:ext uri="{FF2B5EF4-FFF2-40B4-BE49-F238E27FC236}">
                <a16:creationId xmlns:a16="http://schemas.microsoft.com/office/drawing/2014/main" id="{2DE65785-D00C-4AC4-A9F5-105F42CCF6DA}"/>
              </a:ext>
            </a:extLst>
          </p:cNvPr>
          <p:cNvSpPr>
            <a:spLocks noGrp="1"/>
          </p:cNvSpPr>
          <p:nvPr>
            <p:ph type="body" sz="quarter" idx="19"/>
          </p:nvPr>
        </p:nvSpPr>
        <p:spPr/>
        <p:txBody>
          <a:bodyPr>
            <a:normAutofit fontScale="92500" lnSpcReduction="10000"/>
          </a:bodyPr>
          <a:lstStyle/>
          <a:p>
            <a:r>
              <a:rPr lang="en-US">
                <a:ea typeface="Microsoft YaHei"/>
                <a:cs typeface="Arial"/>
              </a:rPr>
              <a:t>Camping</a:t>
            </a:r>
            <a:endParaRPr lang="en-US"/>
          </a:p>
        </p:txBody>
      </p:sp>
      <p:pic>
        <p:nvPicPr>
          <p:cNvPr id="8" name="Picture Placeholder 7" descr="grünes und gelbes Zelt in der Nähe von grünen Bäumen und Bergen unter weißen Wolken und blauem Himmel während">
            <a:extLst>
              <a:ext uri="{FF2B5EF4-FFF2-40B4-BE49-F238E27FC236}">
                <a16:creationId xmlns:a16="http://schemas.microsoft.com/office/drawing/2014/main" id="{A17B2314-B0F3-CAAA-EAE8-6DB409E82127}"/>
              </a:ext>
            </a:extLst>
          </p:cNvPr>
          <p:cNvPicPr>
            <a:picLocks noGrp="1" noChangeAspect="1"/>
          </p:cNvPicPr>
          <p:nvPr>
            <p:ph type="pic" sz="quarter" idx="20"/>
          </p:nvPr>
        </p:nvPicPr>
        <p:blipFill>
          <a:blip r:embed="rId4"/>
          <a:srcRect l="-139" t="54314" b="8407"/>
          <a:stretch/>
        </p:blipFill>
        <p:spPr>
          <a:xfrm>
            <a:off x="6054597" y="3776745"/>
            <a:ext cx="4431801" cy="2063896"/>
          </a:xfrm>
        </p:spPr>
      </p:pic>
      <p:pic>
        <p:nvPicPr>
          <p:cNvPr id="10" name="Picture 9" descr="Several construction vehicles on a road&#10;&#10;AI-generated content may be incorrect.">
            <a:extLst>
              <a:ext uri="{FF2B5EF4-FFF2-40B4-BE49-F238E27FC236}">
                <a16:creationId xmlns:a16="http://schemas.microsoft.com/office/drawing/2014/main" id="{FBC2D5B9-6EE7-29C5-D7E4-D6BA3689FA0B}"/>
              </a:ext>
            </a:extLst>
          </p:cNvPr>
          <p:cNvPicPr>
            <a:picLocks noChangeAspect="1"/>
          </p:cNvPicPr>
          <p:nvPr/>
        </p:nvPicPr>
        <p:blipFill>
          <a:blip r:embed="rId5">
            <a:extLst>
              <a:ext uri="{28A0092B-C50C-407E-A947-70E740481C1C}">
                <a14:useLocalDpi xmlns:a14="http://schemas.microsoft.com/office/drawing/2010/main" val="0"/>
              </a:ext>
            </a:extLst>
          </a:blip>
          <a:srcRect t="21736" b="16148"/>
          <a:stretch/>
        </p:blipFill>
        <p:spPr>
          <a:xfrm>
            <a:off x="499248" y="3772934"/>
            <a:ext cx="4428000" cy="2062849"/>
          </a:xfrm>
          <a:prstGeom prst="rect">
            <a:avLst/>
          </a:prstGeom>
        </p:spPr>
      </p:pic>
      <p:pic>
        <p:nvPicPr>
          <p:cNvPr id="14" name="Picture Placeholder 19">
            <a:extLst>
              <a:ext uri="{FF2B5EF4-FFF2-40B4-BE49-F238E27FC236}">
                <a16:creationId xmlns:a16="http://schemas.microsoft.com/office/drawing/2014/main" id="{594B5592-4C85-3C55-AA55-067B4DDABD57}"/>
              </a:ext>
            </a:extLst>
          </p:cNvPr>
          <p:cNvPicPr>
            <a:picLocks noGrp="1" noChangeAspect="1"/>
          </p:cNvPicPr>
          <p:nvPr>
            <p:ph type="pic" sz="quarter" idx="18"/>
          </p:nvPr>
        </p:nvPicPr>
        <p:blipFill>
          <a:blip r:embed="rId6">
            <a:extLst>
              <a:ext uri="{28A0092B-C50C-407E-A947-70E740481C1C}">
                <a14:useLocalDpi xmlns:a14="http://schemas.microsoft.com/office/drawing/2010/main" val="0"/>
              </a:ext>
            </a:extLst>
          </a:blip>
          <a:srcRect t="5799" b="5799"/>
          <a:stretch/>
        </p:blipFill>
        <p:spPr>
          <a:xfrm>
            <a:off x="6056313" y="1412875"/>
            <a:ext cx="4427537" cy="2063750"/>
          </a:xfrm>
          <a:prstGeom prst="rect">
            <a:avLst/>
          </a:prstGeom>
        </p:spPr>
      </p:pic>
    </p:spTree>
    <p:extLst>
      <p:ext uri="{BB962C8B-B14F-4D97-AF65-F5344CB8AC3E}">
        <p14:creationId xmlns:p14="http://schemas.microsoft.com/office/powerpoint/2010/main" val="473860687"/>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62403F-A5E9-4DB8-8385-9BFC58257DED}"/>
              </a:ext>
            </a:extLst>
          </p:cNvPr>
          <p:cNvSpPr>
            <a:spLocks noGrp="1"/>
          </p:cNvSpPr>
          <p:nvPr>
            <p:ph type="title"/>
          </p:nvPr>
        </p:nvSpPr>
        <p:spPr/>
        <p:txBody>
          <a:bodyPr/>
          <a:lstStyle/>
          <a:p>
            <a:r>
              <a:rPr lang="en-US"/>
              <a:t>Resilience and Security</a:t>
            </a:r>
          </a:p>
        </p:txBody>
      </p:sp>
      <p:sp>
        <p:nvSpPr>
          <p:cNvPr id="3" name="Textplatzhalter 2">
            <a:extLst>
              <a:ext uri="{FF2B5EF4-FFF2-40B4-BE49-F238E27FC236}">
                <a16:creationId xmlns:a16="http://schemas.microsoft.com/office/drawing/2014/main" id="{F40097EE-7631-4F51-979B-3E37C2628C7B}"/>
              </a:ext>
            </a:extLst>
          </p:cNvPr>
          <p:cNvSpPr>
            <a:spLocks noGrp="1"/>
          </p:cNvSpPr>
          <p:nvPr>
            <p:ph type="body" sz="quarter" idx="13"/>
          </p:nvPr>
        </p:nvSpPr>
        <p:spPr/>
        <p:txBody>
          <a:bodyPr/>
          <a:lstStyle/>
          <a:p>
            <a:r>
              <a:rPr lang="en-US" sz="1900">
                <a:ea typeface="Calibri"/>
                <a:cs typeface="Calibri"/>
              </a:rPr>
              <a:t>Disaster recovery</a:t>
            </a:r>
          </a:p>
        </p:txBody>
      </p:sp>
      <p:sp>
        <p:nvSpPr>
          <p:cNvPr id="5" name="Textplatzhalter 4">
            <a:extLst>
              <a:ext uri="{FF2B5EF4-FFF2-40B4-BE49-F238E27FC236}">
                <a16:creationId xmlns:a16="http://schemas.microsoft.com/office/drawing/2014/main" id="{06184398-E501-429B-8F17-57999DF39B69}"/>
              </a:ext>
            </a:extLst>
          </p:cNvPr>
          <p:cNvSpPr>
            <a:spLocks noGrp="1"/>
          </p:cNvSpPr>
          <p:nvPr>
            <p:ph type="body" sz="quarter" idx="15"/>
          </p:nvPr>
        </p:nvSpPr>
        <p:spPr/>
        <p:txBody>
          <a:bodyPr/>
          <a:lstStyle/>
          <a:p>
            <a:r>
              <a:rPr lang="en-US">
                <a:ea typeface="Calibri"/>
                <a:cs typeface="Calibri"/>
              </a:rPr>
              <a:t>Operation of critical infrastructure</a:t>
            </a:r>
            <a:endParaRPr lang="en-US"/>
          </a:p>
        </p:txBody>
      </p:sp>
      <p:pic>
        <p:nvPicPr>
          <p:cNvPr id="12" name="Picture Placeholder 11" descr="Stromleitungen, Oberleitungen">
            <a:extLst>
              <a:ext uri="{FF2B5EF4-FFF2-40B4-BE49-F238E27FC236}">
                <a16:creationId xmlns:a16="http://schemas.microsoft.com/office/drawing/2014/main" id="{CF118A6A-7991-0821-841B-818BE1678538}"/>
              </a:ext>
            </a:extLst>
          </p:cNvPr>
          <p:cNvPicPr>
            <a:picLocks noGrp="1" noChangeAspect="1"/>
          </p:cNvPicPr>
          <p:nvPr>
            <p:ph type="pic" sz="quarter" idx="16"/>
          </p:nvPr>
        </p:nvPicPr>
        <p:blipFill rotWithShape="1">
          <a:blip r:embed="rId3"/>
          <a:srcRect t="15067" b="15067"/>
          <a:stretch/>
        </p:blipFill>
        <p:spPr/>
      </p:pic>
      <p:sp>
        <p:nvSpPr>
          <p:cNvPr id="7" name="Textplatzhalter 6">
            <a:extLst>
              <a:ext uri="{FF2B5EF4-FFF2-40B4-BE49-F238E27FC236}">
                <a16:creationId xmlns:a16="http://schemas.microsoft.com/office/drawing/2014/main" id="{AE2992A3-0769-4612-8C91-95B6C892D578}"/>
              </a:ext>
            </a:extLst>
          </p:cNvPr>
          <p:cNvSpPr>
            <a:spLocks noGrp="1"/>
          </p:cNvSpPr>
          <p:nvPr>
            <p:ph type="body" sz="quarter" idx="17"/>
          </p:nvPr>
        </p:nvSpPr>
        <p:spPr/>
        <p:txBody>
          <a:bodyPr/>
          <a:lstStyle/>
          <a:p>
            <a:r>
              <a:rPr lang="en-US">
                <a:ea typeface="Calibri"/>
                <a:cs typeface="Calibri"/>
              </a:rPr>
              <a:t>Public authorities</a:t>
            </a:r>
            <a:endParaRPr lang="en-US">
              <a:solidFill>
                <a:srgbClr val="000000"/>
              </a:solidFill>
              <a:latin typeface="Calibri"/>
              <a:ea typeface="Microsoft YaHei"/>
              <a:cs typeface="Arial"/>
            </a:endParaRPr>
          </a:p>
        </p:txBody>
      </p:sp>
      <p:sp>
        <p:nvSpPr>
          <p:cNvPr id="9" name="Textplatzhalter 8">
            <a:extLst>
              <a:ext uri="{FF2B5EF4-FFF2-40B4-BE49-F238E27FC236}">
                <a16:creationId xmlns:a16="http://schemas.microsoft.com/office/drawing/2014/main" id="{A4E0F1AD-ADCA-4A49-A4B1-A9FE4D532910}"/>
              </a:ext>
            </a:extLst>
          </p:cNvPr>
          <p:cNvSpPr>
            <a:spLocks noGrp="1"/>
          </p:cNvSpPr>
          <p:nvPr>
            <p:ph type="body" sz="quarter" idx="19"/>
          </p:nvPr>
        </p:nvSpPr>
        <p:spPr/>
        <p:txBody>
          <a:bodyPr/>
          <a:lstStyle/>
          <a:p>
            <a:r>
              <a:rPr lang="en-US">
                <a:solidFill>
                  <a:srgbClr val="000000"/>
                </a:solidFill>
                <a:latin typeface="Calibri"/>
                <a:ea typeface="Microsoft YaHei"/>
                <a:cs typeface="Arial"/>
              </a:rPr>
              <a:t>Banking</a:t>
            </a:r>
            <a:endParaRPr lang="en-US">
              <a:ea typeface="Calibri"/>
              <a:cs typeface="Calibri"/>
            </a:endParaRPr>
          </a:p>
        </p:txBody>
      </p:sp>
      <p:pic>
        <p:nvPicPr>
          <p:cNvPr id="15" name="Picture Placeholder 14" descr="eine Person, die einen Geldautomaten benutzt, um Geld zu bezahlen">
            <a:extLst>
              <a:ext uri="{FF2B5EF4-FFF2-40B4-BE49-F238E27FC236}">
                <a16:creationId xmlns:a16="http://schemas.microsoft.com/office/drawing/2014/main" id="{BF0DC8F0-88D3-6BA5-C2A8-B2065D2697AD}"/>
              </a:ext>
            </a:extLst>
          </p:cNvPr>
          <p:cNvPicPr>
            <a:picLocks noGrp="1" noChangeAspect="1"/>
          </p:cNvPicPr>
          <p:nvPr>
            <p:ph type="pic" sz="quarter" idx="20"/>
          </p:nvPr>
        </p:nvPicPr>
        <p:blipFill rotWithShape="1">
          <a:blip r:embed="rId4"/>
          <a:srcRect t="13988" b="13988"/>
          <a:stretch/>
        </p:blipFill>
        <p:spPr/>
      </p:pic>
      <p:pic>
        <p:nvPicPr>
          <p:cNvPr id="13" name="Picture Placeholder 10">
            <a:extLst>
              <a:ext uri="{FF2B5EF4-FFF2-40B4-BE49-F238E27FC236}">
                <a16:creationId xmlns:a16="http://schemas.microsoft.com/office/drawing/2014/main" id="{AE2A661B-61C6-9902-A61F-12B5531BA6D2}"/>
              </a:ext>
            </a:extLst>
          </p:cNvPr>
          <p:cNvPicPr>
            <a:picLocks noGrp="1" noChangeAspect="1"/>
          </p:cNvPicPr>
          <p:nvPr>
            <p:ph type="pic" sz="quarter" idx="14"/>
          </p:nvPr>
        </p:nvPicPr>
        <p:blipFill>
          <a:blip r:embed="rId5">
            <a:extLst>
              <a:ext uri="{28A0092B-C50C-407E-A947-70E740481C1C}">
                <a14:useLocalDpi xmlns:a14="http://schemas.microsoft.com/office/drawing/2010/main" val="0"/>
              </a:ext>
            </a:extLst>
          </a:blip>
          <a:srcRect t="15032" b="15032"/>
          <a:stretch/>
        </p:blipFill>
        <p:spPr>
          <a:xfrm>
            <a:off x="495300" y="1412875"/>
            <a:ext cx="4427538" cy="2063750"/>
          </a:xfrm>
          <a:prstGeom prst="rect">
            <a:avLst/>
          </a:prstGeom>
          <a:noFill/>
          <a:ln>
            <a:noFill/>
          </a:ln>
        </p:spPr>
      </p:pic>
      <p:pic>
        <p:nvPicPr>
          <p:cNvPr id="14" name="Picture Placeholder 13">
            <a:extLst>
              <a:ext uri="{FF2B5EF4-FFF2-40B4-BE49-F238E27FC236}">
                <a16:creationId xmlns:a16="http://schemas.microsoft.com/office/drawing/2014/main" id="{88442216-0498-6E97-7E5B-9F836F480F62}"/>
              </a:ext>
            </a:extLst>
          </p:cNvPr>
          <p:cNvPicPr>
            <a:picLocks noGrp="1" noChangeAspect="1"/>
          </p:cNvPicPr>
          <p:nvPr>
            <p:ph type="pic" sz="quarter" idx="18"/>
          </p:nvPr>
        </p:nvPicPr>
        <p:blipFill>
          <a:blip r:embed="rId6"/>
          <a:srcRect t="15041" b="15041"/>
          <a:stretch/>
        </p:blipFill>
        <p:spPr>
          <a:xfrm>
            <a:off x="6056313" y="1412875"/>
            <a:ext cx="4427537" cy="2063750"/>
          </a:xfrm>
          <a:prstGeom prst="rect">
            <a:avLst/>
          </a:prstGeom>
          <a:noFill/>
          <a:ln>
            <a:noFill/>
          </a:ln>
        </p:spPr>
      </p:pic>
    </p:spTree>
    <p:extLst>
      <p:ext uri="{BB962C8B-B14F-4D97-AF65-F5344CB8AC3E}">
        <p14:creationId xmlns:p14="http://schemas.microsoft.com/office/powerpoint/2010/main" val="3146538416"/>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1D0F38-4964-4495-9ACC-732FA7F40AC9}"/>
              </a:ext>
            </a:extLst>
          </p:cNvPr>
          <p:cNvSpPr>
            <a:spLocks noGrp="1"/>
          </p:cNvSpPr>
          <p:nvPr>
            <p:ph type="title"/>
          </p:nvPr>
        </p:nvSpPr>
        <p:spPr/>
        <p:txBody>
          <a:bodyPr/>
          <a:lstStyle/>
          <a:p>
            <a:r>
              <a:rPr lang="en-US"/>
              <a:t>The Need for 3D</a:t>
            </a:r>
          </a:p>
        </p:txBody>
      </p:sp>
      <p:sp>
        <p:nvSpPr>
          <p:cNvPr id="4" name="Inhaltsplatzhalter 3">
            <a:extLst>
              <a:ext uri="{FF2B5EF4-FFF2-40B4-BE49-F238E27FC236}">
                <a16:creationId xmlns:a16="http://schemas.microsoft.com/office/drawing/2014/main" id="{E5B1FA61-1764-4203-B88B-2D8E9B423A2A}"/>
              </a:ext>
            </a:extLst>
          </p:cNvPr>
          <p:cNvSpPr>
            <a:spLocks noGrp="1"/>
          </p:cNvSpPr>
          <p:nvPr>
            <p:ph idx="1"/>
          </p:nvPr>
        </p:nvSpPr>
        <p:spPr/>
        <p:txBody>
          <a:bodyPr/>
          <a:lstStyle/>
          <a:p>
            <a:pPr marL="0" indent="0">
              <a:buNone/>
            </a:pPr>
            <a:r>
              <a:rPr lang="en-US"/>
              <a:t>Global connectivity enabling advanced use cases</a:t>
            </a:r>
            <a:br>
              <a:rPr lang="en-US"/>
            </a:br>
            <a:r>
              <a:rPr lang="en-US">
                <a:sym typeface="Wingdings" panose="05000000000000000000" pitchFamily="2" charset="2"/>
              </a:rPr>
              <a:t>with high </a:t>
            </a:r>
            <a:r>
              <a:rPr lang="en-US" b="1">
                <a:solidFill>
                  <a:srgbClr val="183859"/>
                </a:solidFill>
              </a:rPr>
              <a:t>social and economical impact</a:t>
            </a:r>
          </a:p>
          <a:p>
            <a:endParaRPr lang="en-US"/>
          </a:p>
        </p:txBody>
      </p:sp>
      <p:graphicFrame>
        <p:nvGraphicFramePr>
          <p:cNvPr id="6" name="Diagramm 5">
            <a:extLst>
              <a:ext uri="{FF2B5EF4-FFF2-40B4-BE49-F238E27FC236}">
                <a16:creationId xmlns:a16="http://schemas.microsoft.com/office/drawing/2014/main" id="{A27AE488-C595-463C-8D0B-08C6F24996CA}"/>
              </a:ext>
            </a:extLst>
          </p:cNvPr>
          <p:cNvGraphicFramePr/>
          <p:nvPr>
            <p:extLst>
              <p:ext uri="{D42A27DB-BD31-4B8C-83A1-F6EECF244321}">
                <p14:modId xmlns:p14="http://schemas.microsoft.com/office/powerpoint/2010/main" val="3618571465"/>
              </p:ext>
            </p:extLst>
          </p:nvPr>
        </p:nvGraphicFramePr>
        <p:xfrm>
          <a:off x="328508" y="1849632"/>
          <a:ext cx="5332712" cy="38905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echteck 2">
            <a:extLst>
              <a:ext uri="{FF2B5EF4-FFF2-40B4-BE49-F238E27FC236}">
                <a16:creationId xmlns:a16="http://schemas.microsoft.com/office/drawing/2014/main" id="{CEE4DB3A-DFBB-4CB4-80FC-30394AB2CCD2}"/>
              </a:ext>
            </a:extLst>
          </p:cNvPr>
          <p:cNvSpPr/>
          <p:nvPr/>
        </p:nvSpPr>
        <p:spPr>
          <a:xfrm>
            <a:off x="9939129" y="534028"/>
            <a:ext cx="1091543" cy="3825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uppieren 6">
            <a:extLst>
              <a:ext uri="{FF2B5EF4-FFF2-40B4-BE49-F238E27FC236}">
                <a16:creationId xmlns:a16="http://schemas.microsoft.com/office/drawing/2014/main" id="{9B723A7B-CEAE-4483-A852-2F4A8E30F867}"/>
              </a:ext>
            </a:extLst>
          </p:cNvPr>
          <p:cNvGrpSpPr/>
          <p:nvPr/>
        </p:nvGrpSpPr>
        <p:grpSpPr>
          <a:xfrm>
            <a:off x="6240549" y="484388"/>
            <a:ext cx="4632768" cy="5274168"/>
            <a:chOff x="268411" y="225527"/>
            <a:chExt cx="4634239" cy="5611378"/>
          </a:xfrm>
        </p:grpSpPr>
        <p:pic>
          <p:nvPicPr>
            <p:cNvPr id="8" name="Grafik 7">
              <a:extLst>
                <a:ext uri="{FF2B5EF4-FFF2-40B4-BE49-F238E27FC236}">
                  <a16:creationId xmlns:a16="http://schemas.microsoft.com/office/drawing/2014/main" id="{95498A07-5F62-4FA2-B7AD-B92DAAD253E5}"/>
                </a:ext>
              </a:extLst>
            </p:cNvPr>
            <p:cNvPicPr>
              <a:picLocks noChangeAspect="1"/>
            </p:cNvPicPr>
            <p:nvPr/>
          </p:nvPicPr>
          <p:blipFill>
            <a:blip r:embed="rId7">
              <a:duotone>
                <a:srgbClr val="4472C4">
                  <a:shade val="45000"/>
                  <a:satMod val="135000"/>
                </a:srgbClr>
                <a:prstClr val="white"/>
              </a:duotone>
              <a:extLst>
                <a:ext uri="{28A0092B-C50C-407E-A947-70E740481C1C}">
                  <a14:useLocalDpi xmlns:a14="http://schemas.microsoft.com/office/drawing/2010/main" val="0"/>
                </a:ext>
              </a:extLst>
            </a:blip>
            <a:stretch>
              <a:fillRect/>
            </a:stretch>
          </p:blipFill>
          <p:spPr>
            <a:xfrm rot="18853484">
              <a:off x="1817722" y="1394498"/>
              <a:ext cx="330376" cy="330376"/>
            </a:xfrm>
            <a:prstGeom prst="rect">
              <a:avLst/>
            </a:prstGeom>
          </p:spPr>
        </p:pic>
        <p:pic>
          <p:nvPicPr>
            <p:cNvPr id="9" name="Grafik 8">
              <a:extLst>
                <a:ext uri="{FF2B5EF4-FFF2-40B4-BE49-F238E27FC236}">
                  <a16:creationId xmlns:a16="http://schemas.microsoft.com/office/drawing/2014/main" id="{D1F989F4-C470-4E7C-9C90-9CB8F5CF1F53}"/>
                </a:ext>
              </a:extLst>
            </p:cNvPr>
            <p:cNvPicPr>
              <a:picLocks noChangeAspect="1"/>
            </p:cNvPicPr>
            <p:nvPr/>
          </p:nvPicPr>
          <p:blipFill rotWithShape="1">
            <a:blip r:embed="rId8">
              <a:duotone>
                <a:srgbClr val="4472C4">
                  <a:shade val="45000"/>
                  <a:satMod val="135000"/>
                </a:srgbClr>
                <a:prstClr val="white"/>
              </a:duotone>
              <a:extLst>
                <a:ext uri="{28A0092B-C50C-407E-A947-70E740481C1C}">
                  <a14:useLocalDpi xmlns:a14="http://schemas.microsoft.com/office/drawing/2010/main" val="0"/>
                </a:ext>
              </a:extLst>
            </a:blip>
            <a:srcRect l="28094" t="17058" r="27316" b="16202"/>
            <a:stretch/>
          </p:blipFill>
          <p:spPr>
            <a:xfrm rot="2686199">
              <a:off x="1445831" y="279784"/>
              <a:ext cx="574452" cy="572203"/>
            </a:xfrm>
            <a:prstGeom prst="rect">
              <a:avLst/>
            </a:prstGeom>
          </p:spPr>
        </p:pic>
        <p:pic>
          <p:nvPicPr>
            <p:cNvPr id="10" name="Grafik 9">
              <a:extLst>
                <a:ext uri="{FF2B5EF4-FFF2-40B4-BE49-F238E27FC236}">
                  <a16:creationId xmlns:a16="http://schemas.microsoft.com/office/drawing/2014/main" id="{C3229356-9EE3-4536-8494-804C5F8AB8C0}"/>
                </a:ext>
              </a:extLst>
            </p:cNvPr>
            <p:cNvPicPr>
              <a:picLocks noChangeAspect="1"/>
            </p:cNvPicPr>
            <p:nvPr/>
          </p:nvPicPr>
          <p:blipFill rotWithShape="1">
            <a:blip r:embed="rId8">
              <a:duotone>
                <a:srgbClr val="5B9BD5">
                  <a:shade val="45000"/>
                  <a:satMod val="135000"/>
                </a:srgbClr>
                <a:prstClr val="white"/>
              </a:duotone>
              <a:extLst>
                <a:ext uri="{28A0092B-C50C-407E-A947-70E740481C1C}">
                  <a14:useLocalDpi xmlns:a14="http://schemas.microsoft.com/office/drawing/2010/main" val="0"/>
                </a:ext>
              </a:extLst>
            </a:blip>
            <a:srcRect l="28094" t="17058" r="27316" b="16202"/>
            <a:stretch/>
          </p:blipFill>
          <p:spPr>
            <a:xfrm rot="2686199">
              <a:off x="2638099" y="816511"/>
              <a:ext cx="411632" cy="410020"/>
            </a:xfrm>
            <a:prstGeom prst="rect">
              <a:avLst/>
            </a:prstGeom>
          </p:spPr>
        </p:pic>
        <p:pic>
          <p:nvPicPr>
            <p:cNvPr id="11" name="Grafik 10">
              <a:extLst>
                <a:ext uri="{FF2B5EF4-FFF2-40B4-BE49-F238E27FC236}">
                  <a16:creationId xmlns:a16="http://schemas.microsoft.com/office/drawing/2014/main" id="{530969E3-AF96-4DD2-B72B-C198BB40817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67294" y="2037031"/>
              <a:ext cx="697230" cy="697230"/>
            </a:xfrm>
            <a:prstGeom prst="rect">
              <a:avLst/>
            </a:prstGeom>
          </p:spPr>
        </p:pic>
        <p:pic>
          <p:nvPicPr>
            <p:cNvPr id="12" name="Grafik 11">
              <a:extLst>
                <a:ext uri="{FF2B5EF4-FFF2-40B4-BE49-F238E27FC236}">
                  <a16:creationId xmlns:a16="http://schemas.microsoft.com/office/drawing/2014/main" id="{A0F12D9C-805B-4384-9BEB-ABAE9E0FA258}"/>
                </a:ext>
              </a:extLst>
            </p:cNvPr>
            <p:cNvPicPr>
              <a:picLocks noChangeAspect="1"/>
            </p:cNvPicPr>
            <p:nvPr/>
          </p:nvPicPr>
          <p:blipFill rotWithShape="1">
            <a:blip r:embed="rId10">
              <a:clrChange>
                <a:clrFrom>
                  <a:srgbClr val="445C72"/>
                </a:clrFrom>
                <a:clrTo>
                  <a:srgbClr val="445C72">
                    <a:alpha val="0"/>
                  </a:srgbClr>
                </a:clrTo>
              </a:clrChange>
              <a:duotone>
                <a:srgbClr val="4472C4">
                  <a:shade val="45000"/>
                  <a:satMod val="135000"/>
                </a:srgbClr>
                <a:prstClr val="white"/>
              </a:duotone>
              <a:extLst>
                <a:ext uri="{28A0092B-C50C-407E-A947-70E740481C1C}">
                  <a14:useLocalDpi xmlns:a14="http://schemas.microsoft.com/office/drawing/2010/main" val="0"/>
                </a:ext>
              </a:extLst>
            </a:blip>
            <a:srcRect l="9522" t="18178" r="7672" b="19230"/>
            <a:stretch/>
          </p:blipFill>
          <p:spPr>
            <a:xfrm>
              <a:off x="2416989" y="2101126"/>
              <a:ext cx="791581" cy="399937"/>
            </a:xfrm>
            <a:prstGeom prst="rect">
              <a:avLst/>
            </a:prstGeom>
          </p:spPr>
        </p:pic>
        <p:pic>
          <p:nvPicPr>
            <p:cNvPr id="13" name="Picture 2" descr="Drone icon PNG and SVG Vector Free Download">
              <a:extLst>
                <a:ext uri="{FF2B5EF4-FFF2-40B4-BE49-F238E27FC236}">
                  <a16:creationId xmlns:a16="http://schemas.microsoft.com/office/drawing/2014/main" id="{4C77252B-D6DA-4ABC-8227-507C3C0F35B6}"/>
                </a:ext>
              </a:extLst>
            </p:cNvPr>
            <p:cNvPicPr>
              <a:picLocks noChangeAspect="1" noChangeArrowheads="1"/>
            </p:cNvPicPr>
            <p:nvPr/>
          </p:nvPicPr>
          <p:blipFill>
            <a:blip r:embed="rId11">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849458" y="3018731"/>
              <a:ext cx="406730" cy="19671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a:extLst>
                <a:ext uri="{FF2B5EF4-FFF2-40B4-BE49-F238E27FC236}">
                  <a16:creationId xmlns:a16="http://schemas.microsoft.com/office/drawing/2014/main" id="{10D478AD-B71D-4B6F-9772-045B002EC892}"/>
                </a:ext>
              </a:extLst>
            </p:cNvPr>
            <p:cNvPicPr>
              <a:picLocks noChangeAspect="1" noChangeArrowheads="1"/>
            </p:cNvPicPr>
            <p:nvPr/>
          </p:nvPicPr>
          <p:blipFill rotWithShape="1">
            <a:blip r:embed="rId12">
              <a:duotone>
                <a:srgbClr val="4472C4">
                  <a:shade val="45000"/>
                  <a:satMod val="135000"/>
                </a:srgbClr>
                <a:prstClr val="white"/>
              </a:duotone>
              <a:extLst>
                <a:ext uri="{28A0092B-C50C-407E-A947-70E740481C1C}">
                  <a14:useLocalDpi xmlns:a14="http://schemas.microsoft.com/office/drawing/2010/main" val="0"/>
                </a:ext>
              </a:extLst>
            </a:blip>
            <a:srcRect t="31226" b="28496"/>
            <a:stretch/>
          </p:blipFill>
          <p:spPr bwMode="auto">
            <a:xfrm flipH="1">
              <a:off x="2981815" y="2651896"/>
              <a:ext cx="887074" cy="357294"/>
            </a:xfrm>
            <a:prstGeom prst="rect">
              <a:avLst/>
            </a:prstGeom>
            <a:noFill/>
            <a:extLst>
              <a:ext uri="{909E8E84-426E-40DD-AFC4-6F175D3DCCD1}">
                <a14:hiddenFill xmlns:a14="http://schemas.microsoft.com/office/drawing/2010/main">
                  <a:solidFill>
                    <a:srgbClr val="FFFFFF"/>
                  </a:solidFill>
                </a14:hiddenFill>
              </a:ext>
            </a:extLst>
          </p:spPr>
        </p:pic>
        <p:pic>
          <p:nvPicPr>
            <p:cNvPr id="15" name="Inhaltsplatzhalter 11">
              <a:extLst>
                <a:ext uri="{FF2B5EF4-FFF2-40B4-BE49-F238E27FC236}">
                  <a16:creationId xmlns:a16="http://schemas.microsoft.com/office/drawing/2014/main" id="{00D1A24F-F2A2-45D6-B59F-FC7D0145CC7B}"/>
                </a:ext>
              </a:extLst>
            </p:cNvPr>
            <p:cNvPicPr>
              <a:picLocks noChangeAspect="1"/>
            </p:cNvPicPr>
            <p:nvPr/>
          </p:nvPicPr>
          <p:blipFill rotWithShape="1">
            <a:blip r:embed="rId13">
              <a:duotone>
                <a:srgbClr val="4472C4">
                  <a:shade val="45000"/>
                  <a:satMod val="135000"/>
                </a:srgbClr>
                <a:prstClr val="white"/>
              </a:duotone>
              <a:extLst>
                <a:ext uri="{28A0092B-C50C-407E-A947-70E740481C1C}">
                  <a14:useLocalDpi xmlns:a14="http://schemas.microsoft.com/office/drawing/2010/main" val="0"/>
                </a:ext>
              </a:extLst>
            </a:blip>
            <a:srcRect l="9403" t="2699" r="54756" b="8802"/>
            <a:stretch/>
          </p:blipFill>
          <p:spPr>
            <a:xfrm>
              <a:off x="636331" y="3885890"/>
              <a:ext cx="413513" cy="1244613"/>
            </a:xfrm>
            <a:prstGeom prst="rect">
              <a:avLst/>
            </a:prstGeom>
          </p:spPr>
        </p:pic>
        <p:pic>
          <p:nvPicPr>
            <p:cNvPr id="16" name="Grafik 15">
              <a:extLst>
                <a:ext uri="{FF2B5EF4-FFF2-40B4-BE49-F238E27FC236}">
                  <a16:creationId xmlns:a16="http://schemas.microsoft.com/office/drawing/2014/main" id="{394B743C-2295-46E5-8388-535A41AD900C}"/>
                </a:ext>
              </a:extLst>
            </p:cNvPr>
            <p:cNvPicPr>
              <a:picLocks noChangeAspect="1"/>
            </p:cNvPicPr>
            <p:nvPr/>
          </p:nvPicPr>
          <p:blipFill>
            <a:blip r:embed="rId14">
              <a:duotone>
                <a:srgbClr val="4472C4">
                  <a:shade val="45000"/>
                  <a:satMod val="135000"/>
                </a:srgbClr>
                <a:prstClr val="white"/>
              </a:duotone>
              <a:extLst>
                <a:ext uri="{28A0092B-C50C-407E-A947-70E740481C1C}">
                  <a14:useLocalDpi xmlns:a14="http://schemas.microsoft.com/office/drawing/2010/main" val="0"/>
                </a:ext>
              </a:extLst>
            </a:blip>
            <a:stretch>
              <a:fillRect/>
            </a:stretch>
          </p:blipFill>
          <p:spPr>
            <a:xfrm flipH="1">
              <a:off x="4345809" y="4707939"/>
              <a:ext cx="459642" cy="459642"/>
            </a:xfrm>
            <a:prstGeom prst="rect">
              <a:avLst/>
            </a:prstGeom>
          </p:spPr>
        </p:pic>
        <p:pic>
          <p:nvPicPr>
            <p:cNvPr id="17" name="Grafik 16">
              <a:extLst>
                <a:ext uri="{FF2B5EF4-FFF2-40B4-BE49-F238E27FC236}">
                  <a16:creationId xmlns:a16="http://schemas.microsoft.com/office/drawing/2014/main" id="{6690FFB7-0554-43EA-B797-FB98F2198EFF}"/>
                </a:ext>
              </a:extLst>
            </p:cNvPr>
            <p:cNvPicPr>
              <a:picLocks noChangeAspect="1"/>
            </p:cNvPicPr>
            <p:nvPr/>
          </p:nvPicPr>
          <p:blipFill>
            <a:blip r:embed="rId15" cstate="print">
              <a:duotone>
                <a:srgbClr val="4472C4">
                  <a:shade val="45000"/>
                  <a:satMod val="135000"/>
                </a:srgbClr>
                <a:prstClr val="white"/>
              </a:duotone>
              <a:extLst>
                <a:ext uri="{28A0092B-C50C-407E-A947-70E740481C1C}">
                  <a14:useLocalDpi xmlns:a14="http://schemas.microsoft.com/office/drawing/2010/main" val="0"/>
                </a:ext>
              </a:extLst>
            </a:blip>
            <a:stretch>
              <a:fillRect/>
            </a:stretch>
          </p:blipFill>
          <p:spPr>
            <a:xfrm flipH="1">
              <a:off x="3391438" y="4659345"/>
              <a:ext cx="461138" cy="461138"/>
            </a:xfrm>
            <a:prstGeom prst="rect">
              <a:avLst/>
            </a:prstGeom>
          </p:spPr>
        </p:pic>
        <p:pic>
          <p:nvPicPr>
            <p:cNvPr id="18" name="Grafik 17">
              <a:extLst>
                <a:ext uri="{FF2B5EF4-FFF2-40B4-BE49-F238E27FC236}">
                  <a16:creationId xmlns:a16="http://schemas.microsoft.com/office/drawing/2014/main" id="{0C908D76-18F5-4B04-9974-BCF5D5A262A8}"/>
                </a:ext>
              </a:extLst>
            </p:cNvPr>
            <p:cNvPicPr>
              <a:picLocks noChangeAspect="1"/>
            </p:cNvPicPr>
            <p:nvPr/>
          </p:nvPicPr>
          <p:blipFill rotWithShape="1">
            <a:blip r:embed="rId16" cstate="print">
              <a:duotone>
                <a:srgbClr val="4472C4">
                  <a:shade val="45000"/>
                  <a:satMod val="135000"/>
                </a:srgbClr>
                <a:prstClr val="white"/>
              </a:duotone>
              <a:extLst>
                <a:ext uri="{28A0092B-C50C-407E-A947-70E740481C1C}">
                  <a14:useLocalDpi xmlns:a14="http://schemas.microsoft.com/office/drawing/2010/main" val="0"/>
                </a:ext>
              </a:extLst>
            </a:blip>
            <a:srcRect l="28161" r="29513"/>
            <a:stretch/>
          </p:blipFill>
          <p:spPr>
            <a:xfrm>
              <a:off x="1672683" y="4234794"/>
              <a:ext cx="161000" cy="273402"/>
            </a:xfrm>
            <a:prstGeom prst="rect">
              <a:avLst/>
            </a:prstGeom>
          </p:spPr>
        </p:pic>
        <p:pic>
          <p:nvPicPr>
            <p:cNvPr id="19" name="Picture 12" descr="Shinkansen Train Icons - Free SVG &amp; PNG Shinkansen Train ...">
              <a:extLst>
                <a:ext uri="{FF2B5EF4-FFF2-40B4-BE49-F238E27FC236}">
                  <a16:creationId xmlns:a16="http://schemas.microsoft.com/office/drawing/2014/main" id="{5E4FB26D-2A61-4611-92E9-1E9588B8CA81}"/>
                </a:ext>
              </a:extLst>
            </p:cNvPr>
            <p:cNvPicPr>
              <a:picLocks noChangeAspect="1" noChangeArrowheads="1"/>
            </p:cNvPicPr>
            <p:nvPr/>
          </p:nvPicPr>
          <p:blipFill>
            <a:blip r:embed="rId17">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632657" y="4559622"/>
              <a:ext cx="504686" cy="504686"/>
            </a:xfrm>
            <a:prstGeom prst="rect">
              <a:avLst/>
            </a:prstGeom>
            <a:noFill/>
            <a:extLst>
              <a:ext uri="{909E8E84-426E-40DD-AFC4-6F175D3DCCD1}">
                <a14:hiddenFill xmlns:a14="http://schemas.microsoft.com/office/drawing/2010/main">
                  <a:solidFill>
                    <a:srgbClr val="FFFFFF"/>
                  </a:solidFill>
                </a14:hiddenFill>
              </a:ext>
            </a:extLst>
          </p:spPr>
        </p:pic>
        <p:sp>
          <p:nvSpPr>
            <p:cNvPr id="20" name="Textfeld 19">
              <a:extLst>
                <a:ext uri="{FF2B5EF4-FFF2-40B4-BE49-F238E27FC236}">
                  <a16:creationId xmlns:a16="http://schemas.microsoft.com/office/drawing/2014/main" id="{6DF25862-2B4E-41B2-9F96-E1F9D01AEB37}"/>
                </a:ext>
              </a:extLst>
            </p:cNvPr>
            <p:cNvSpPr txBox="1"/>
            <p:nvPr/>
          </p:nvSpPr>
          <p:spPr>
            <a:xfrm>
              <a:off x="270357" y="356332"/>
              <a:ext cx="889950" cy="278336"/>
            </a:xfrm>
            <a:prstGeom prst="rect">
              <a:avLst/>
            </a:prstGeom>
            <a:noFill/>
          </p:spPr>
          <p:txBody>
            <a:bodyPr wrap="none" lIns="0" rIns="0" rtlCol="0">
              <a:spAutoFit/>
            </a:bodyPr>
            <a:lstStyle/>
            <a:p>
              <a:pPr>
                <a:defRPr/>
              </a:pPr>
              <a:r>
                <a:rPr lang="en-US" sz="1100" b="1" kern="0">
                  <a:solidFill>
                    <a:srgbClr val="4472C4"/>
                  </a:solidFill>
                </a:rPr>
                <a:t>Space Segment</a:t>
              </a:r>
            </a:p>
          </p:txBody>
        </p:sp>
        <p:sp>
          <p:nvSpPr>
            <p:cNvPr id="21" name="Textfeld 20">
              <a:extLst>
                <a:ext uri="{FF2B5EF4-FFF2-40B4-BE49-F238E27FC236}">
                  <a16:creationId xmlns:a16="http://schemas.microsoft.com/office/drawing/2014/main" id="{76055B77-08F5-4D3E-857D-A010E2A9D633}"/>
                </a:ext>
              </a:extLst>
            </p:cNvPr>
            <p:cNvSpPr txBox="1"/>
            <p:nvPr/>
          </p:nvSpPr>
          <p:spPr>
            <a:xfrm>
              <a:off x="270357" y="1923634"/>
              <a:ext cx="718373" cy="278336"/>
            </a:xfrm>
            <a:prstGeom prst="rect">
              <a:avLst/>
            </a:prstGeom>
            <a:noFill/>
          </p:spPr>
          <p:txBody>
            <a:bodyPr wrap="none" lIns="0" rIns="0" rtlCol="0">
              <a:spAutoFit/>
            </a:bodyPr>
            <a:lstStyle/>
            <a:p>
              <a:pPr>
                <a:defRPr/>
              </a:pPr>
              <a:r>
                <a:rPr lang="en-US" sz="1100" b="1" kern="0">
                  <a:solidFill>
                    <a:srgbClr val="4472C4"/>
                  </a:solidFill>
                </a:rPr>
                <a:t>Air Segment</a:t>
              </a:r>
            </a:p>
          </p:txBody>
        </p:sp>
        <p:sp>
          <p:nvSpPr>
            <p:cNvPr id="22" name="Textfeld 21">
              <a:extLst>
                <a:ext uri="{FF2B5EF4-FFF2-40B4-BE49-F238E27FC236}">
                  <a16:creationId xmlns:a16="http://schemas.microsoft.com/office/drawing/2014/main" id="{8CCBCA71-EDB0-4837-A255-80DBE2911266}"/>
                </a:ext>
              </a:extLst>
            </p:cNvPr>
            <p:cNvSpPr txBox="1"/>
            <p:nvPr/>
          </p:nvSpPr>
          <p:spPr>
            <a:xfrm>
              <a:off x="270357" y="3429000"/>
              <a:ext cx="989367" cy="278336"/>
            </a:xfrm>
            <a:prstGeom prst="rect">
              <a:avLst/>
            </a:prstGeom>
            <a:noFill/>
          </p:spPr>
          <p:txBody>
            <a:bodyPr wrap="none" lIns="0" rIns="0" rtlCol="0">
              <a:spAutoFit/>
            </a:bodyPr>
            <a:lstStyle/>
            <a:p>
              <a:pPr>
                <a:defRPr/>
              </a:pPr>
              <a:r>
                <a:rPr lang="en-US" sz="1100" b="1" kern="0">
                  <a:solidFill>
                    <a:srgbClr val="4472C4"/>
                  </a:solidFill>
                </a:rPr>
                <a:t>Ground Segment</a:t>
              </a:r>
            </a:p>
          </p:txBody>
        </p:sp>
        <p:sp>
          <p:nvSpPr>
            <p:cNvPr id="23" name="Textfeld 22">
              <a:extLst>
                <a:ext uri="{FF2B5EF4-FFF2-40B4-BE49-F238E27FC236}">
                  <a16:creationId xmlns:a16="http://schemas.microsoft.com/office/drawing/2014/main" id="{9D968FBD-3D2A-4339-8EF6-5E7E5C36E3D8}"/>
                </a:ext>
              </a:extLst>
            </p:cNvPr>
            <p:cNvSpPr txBox="1"/>
            <p:nvPr/>
          </p:nvSpPr>
          <p:spPr>
            <a:xfrm>
              <a:off x="1764518" y="225527"/>
              <a:ext cx="425251" cy="270150"/>
            </a:xfrm>
            <a:prstGeom prst="rect">
              <a:avLst/>
            </a:prstGeom>
            <a:noFill/>
          </p:spPr>
          <p:txBody>
            <a:bodyPr wrap="none" rtlCol="0">
              <a:spAutoFit/>
            </a:bodyPr>
            <a:lstStyle/>
            <a:p>
              <a:pPr>
                <a:defRPr/>
              </a:pPr>
              <a:r>
                <a:rPr lang="en-US" sz="1050" kern="0">
                  <a:solidFill>
                    <a:prstClr val="black"/>
                  </a:solidFill>
                </a:rPr>
                <a:t>GEO</a:t>
              </a:r>
            </a:p>
          </p:txBody>
        </p:sp>
        <p:pic>
          <p:nvPicPr>
            <p:cNvPr id="24" name="Grafik 23">
              <a:extLst>
                <a:ext uri="{FF2B5EF4-FFF2-40B4-BE49-F238E27FC236}">
                  <a16:creationId xmlns:a16="http://schemas.microsoft.com/office/drawing/2014/main" id="{6DD39876-42FB-4443-A71C-6F739FB8E396}"/>
                </a:ext>
              </a:extLst>
            </p:cNvPr>
            <p:cNvPicPr>
              <a:picLocks noChangeAspect="1"/>
            </p:cNvPicPr>
            <p:nvPr/>
          </p:nvPicPr>
          <p:blipFill rotWithShape="1">
            <a:blip r:embed="rId8">
              <a:duotone>
                <a:srgbClr val="4472C4">
                  <a:shade val="45000"/>
                  <a:satMod val="135000"/>
                </a:srgbClr>
                <a:prstClr val="white"/>
              </a:duotone>
              <a:extLst>
                <a:ext uri="{28A0092B-C50C-407E-A947-70E740481C1C}">
                  <a14:useLocalDpi xmlns:a14="http://schemas.microsoft.com/office/drawing/2010/main" val="0"/>
                </a:ext>
              </a:extLst>
            </a:blip>
            <a:srcRect l="28094" t="17058" r="27316" b="16202"/>
            <a:stretch/>
          </p:blipFill>
          <p:spPr>
            <a:xfrm rot="2686199">
              <a:off x="3555025" y="284387"/>
              <a:ext cx="574452" cy="572203"/>
            </a:xfrm>
            <a:prstGeom prst="rect">
              <a:avLst/>
            </a:prstGeom>
          </p:spPr>
        </p:pic>
        <p:sp>
          <p:nvSpPr>
            <p:cNvPr id="25" name="Textfeld 24">
              <a:extLst>
                <a:ext uri="{FF2B5EF4-FFF2-40B4-BE49-F238E27FC236}">
                  <a16:creationId xmlns:a16="http://schemas.microsoft.com/office/drawing/2014/main" id="{137416A3-E806-43F1-967E-FEB7398F0B0F}"/>
                </a:ext>
              </a:extLst>
            </p:cNvPr>
            <p:cNvSpPr txBox="1"/>
            <p:nvPr/>
          </p:nvSpPr>
          <p:spPr>
            <a:xfrm>
              <a:off x="3873712" y="230130"/>
              <a:ext cx="425251" cy="270150"/>
            </a:xfrm>
            <a:prstGeom prst="rect">
              <a:avLst/>
            </a:prstGeom>
            <a:noFill/>
          </p:spPr>
          <p:txBody>
            <a:bodyPr wrap="none" rtlCol="0">
              <a:spAutoFit/>
            </a:bodyPr>
            <a:lstStyle/>
            <a:p>
              <a:pPr>
                <a:defRPr/>
              </a:pPr>
              <a:r>
                <a:rPr lang="en-US" sz="1050" kern="0">
                  <a:solidFill>
                    <a:prstClr val="black"/>
                  </a:solidFill>
                </a:rPr>
                <a:t>GEO</a:t>
              </a:r>
            </a:p>
          </p:txBody>
        </p:sp>
        <p:cxnSp>
          <p:nvCxnSpPr>
            <p:cNvPr id="26" name="Gerade Verbindung mit Pfeil 25">
              <a:extLst>
                <a:ext uri="{FF2B5EF4-FFF2-40B4-BE49-F238E27FC236}">
                  <a16:creationId xmlns:a16="http://schemas.microsoft.com/office/drawing/2014/main" id="{82649869-3DEA-45DC-8A58-D99299B384B4}"/>
                </a:ext>
              </a:extLst>
            </p:cNvPr>
            <p:cNvCxnSpPr/>
            <p:nvPr/>
          </p:nvCxnSpPr>
          <p:spPr>
            <a:xfrm>
              <a:off x="2087880" y="565886"/>
              <a:ext cx="1397000" cy="0"/>
            </a:xfrm>
            <a:prstGeom prst="straightConnector1">
              <a:avLst/>
            </a:prstGeom>
            <a:noFill/>
            <a:ln w="19050" cap="flat" cmpd="sng" algn="ctr">
              <a:solidFill>
                <a:srgbClr val="A5A5A5"/>
              </a:solidFill>
              <a:prstDash val="solid"/>
              <a:miter lim="800000"/>
              <a:headEnd type="triangle" w="med" len="med"/>
              <a:tailEnd type="triangle" w="med" len="med"/>
            </a:ln>
            <a:effectLst/>
          </p:spPr>
        </p:cxnSp>
        <p:sp>
          <p:nvSpPr>
            <p:cNvPr id="27" name="Textfeld 26">
              <a:extLst>
                <a:ext uri="{FF2B5EF4-FFF2-40B4-BE49-F238E27FC236}">
                  <a16:creationId xmlns:a16="http://schemas.microsoft.com/office/drawing/2014/main" id="{928801C3-6F39-424F-96AC-16CA186D3D2B}"/>
                </a:ext>
              </a:extLst>
            </p:cNvPr>
            <p:cNvSpPr txBox="1"/>
            <p:nvPr/>
          </p:nvSpPr>
          <p:spPr>
            <a:xfrm>
              <a:off x="2810843" y="711352"/>
              <a:ext cx="455719" cy="270150"/>
            </a:xfrm>
            <a:prstGeom prst="rect">
              <a:avLst/>
            </a:prstGeom>
            <a:noFill/>
          </p:spPr>
          <p:txBody>
            <a:bodyPr wrap="none" rtlCol="0">
              <a:spAutoFit/>
            </a:bodyPr>
            <a:lstStyle/>
            <a:p>
              <a:pPr>
                <a:defRPr/>
              </a:pPr>
              <a:r>
                <a:rPr lang="en-US" sz="1050" kern="0">
                  <a:solidFill>
                    <a:prstClr val="black"/>
                  </a:solidFill>
                </a:rPr>
                <a:t>MEO</a:t>
              </a:r>
            </a:p>
          </p:txBody>
        </p:sp>
        <p:sp>
          <p:nvSpPr>
            <p:cNvPr id="28" name="Textfeld 27">
              <a:extLst>
                <a:ext uri="{FF2B5EF4-FFF2-40B4-BE49-F238E27FC236}">
                  <a16:creationId xmlns:a16="http://schemas.microsoft.com/office/drawing/2014/main" id="{D9BABC4D-41F8-4003-8B5B-6CC9CFF6911C}"/>
                </a:ext>
              </a:extLst>
            </p:cNvPr>
            <p:cNvSpPr txBox="1"/>
            <p:nvPr/>
          </p:nvSpPr>
          <p:spPr>
            <a:xfrm>
              <a:off x="1937229" y="1279979"/>
              <a:ext cx="396388" cy="270150"/>
            </a:xfrm>
            <a:prstGeom prst="rect">
              <a:avLst/>
            </a:prstGeom>
            <a:noFill/>
          </p:spPr>
          <p:txBody>
            <a:bodyPr wrap="none" rtlCol="0">
              <a:spAutoFit/>
            </a:bodyPr>
            <a:lstStyle/>
            <a:p>
              <a:pPr>
                <a:defRPr/>
              </a:pPr>
              <a:r>
                <a:rPr lang="en-US" sz="1050" kern="0">
                  <a:solidFill>
                    <a:prstClr val="black"/>
                  </a:solidFill>
                </a:rPr>
                <a:t>LEO</a:t>
              </a:r>
            </a:p>
          </p:txBody>
        </p:sp>
        <p:pic>
          <p:nvPicPr>
            <p:cNvPr id="29" name="Grafik 28">
              <a:extLst>
                <a:ext uri="{FF2B5EF4-FFF2-40B4-BE49-F238E27FC236}">
                  <a16:creationId xmlns:a16="http://schemas.microsoft.com/office/drawing/2014/main" id="{D29C0118-04D5-49A4-BC46-1FECA6D96AED}"/>
                </a:ext>
              </a:extLst>
            </p:cNvPr>
            <p:cNvPicPr>
              <a:picLocks noChangeAspect="1"/>
            </p:cNvPicPr>
            <p:nvPr/>
          </p:nvPicPr>
          <p:blipFill>
            <a:blip r:embed="rId7">
              <a:duotone>
                <a:srgbClr val="4472C4">
                  <a:shade val="45000"/>
                  <a:satMod val="135000"/>
                </a:srgbClr>
                <a:prstClr val="white"/>
              </a:duotone>
              <a:extLst>
                <a:ext uri="{28A0092B-C50C-407E-A947-70E740481C1C}">
                  <a14:useLocalDpi xmlns:a14="http://schemas.microsoft.com/office/drawing/2010/main" val="0"/>
                </a:ext>
              </a:extLst>
            </a:blip>
            <a:stretch>
              <a:fillRect/>
            </a:stretch>
          </p:blipFill>
          <p:spPr>
            <a:xfrm rot="18853484">
              <a:off x="2954180" y="1395570"/>
              <a:ext cx="330376" cy="330376"/>
            </a:xfrm>
            <a:prstGeom prst="rect">
              <a:avLst/>
            </a:prstGeom>
          </p:spPr>
        </p:pic>
        <p:sp>
          <p:nvSpPr>
            <p:cNvPr id="30" name="Textfeld 29">
              <a:extLst>
                <a:ext uri="{FF2B5EF4-FFF2-40B4-BE49-F238E27FC236}">
                  <a16:creationId xmlns:a16="http://schemas.microsoft.com/office/drawing/2014/main" id="{7A8BF1D0-EDF6-4A5B-8050-83664D888DA2}"/>
                </a:ext>
              </a:extLst>
            </p:cNvPr>
            <p:cNvSpPr txBox="1"/>
            <p:nvPr/>
          </p:nvSpPr>
          <p:spPr>
            <a:xfrm>
              <a:off x="3073687" y="1281051"/>
              <a:ext cx="396388" cy="270150"/>
            </a:xfrm>
            <a:prstGeom prst="rect">
              <a:avLst/>
            </a:prstGeom>
            <a:noFill/>
          </p:spPr>
          <p:txBody>
            <a:bodyPr wrap="none" rtlCol="0">
              <a:spAutoFit/>
            </a:bodyPr>
            <a:lstStyle/>
            <a:p>
              <a:pPr>
                <a:defRPr/>
              </a:pPr>
              <a:r>
                <a:rPr lang="en-US" sz="1050" kern="0">
                  <a:solidFill>
                    <a:prstClr val="black"/>
                  </a:solidFill>
                </a:rPr>
                <a:t>LEO</a:t>
              </a:r>
            </a:p>
          </p:txBody>
        </p:sp>
        <p:sp>
          <p:nvSpPr>
            <p:cNvPr id="31" name="Textfeld 30">
              <a:extLst>
                <a:ext uri="{FF2B5EF4-FFF2-40B4-BE49-F238E27FC236}">
                  <a16:creationId xmlns:a16="http://schemas.microsoft.com/office/drawing/2014/main" id="{419862E9-383F-4794-AFFC-A6788406C8FA}"/>
                </a:ext>
              </a:extLst>
            </p:cNvPr>
            <p:cNvSpPr txBox="1"/>
            <p:nvPr/>
          </p:nvSpPr>
          <p:spPr>
            <a:xfrm>
              <a:off x="1539783" y="2167320"/>
              <a:ext cx="564757" cy="270150"/>
            </a:xfrm>
            <a:prstGeom prst="rect">
              <a:avLst/>
            </a:prstGeom>
            <a:noFill/>
          </p:spPr>
          <p:txBody>
            <a:bodyPr wrap="none" rtlCol="0">
              <a:spAutoFit/>
            </a:bodyPr>
            <a:lstStyle/>
            <a:p>
              <a:pPr>
                <a:defRPr/>
              </a:pPr>
              <a:r>
                <a:rPr lang="en-US" sz="1050" kern="0">
                  <a:solidFill>
                    <a:prstClr val="black"/>
                  </a:solidFill>
                </a:rPr>
                <a:t>Airship</a:t>
              </a:r>
            </a:p>
          </p:txBody>
        </p:sp>
        <p:cxnSp>
          <p:nvCxnSpPr>
            <p:cNvPr id="32" name="Gerader Verbinder 31">
              <a:extLst>
                <a:ext uri="{FF2B5EF4-FFF2-40B4-BE49-F238E27FC236}">
                  <a16:creationId xmlns:a16="http://schemas.microsoft.com/office/drawing/2014/main" id="{B51F92DF-D6F5-42AB-B23B-A312B010FDB8}"/>
                </a:ext>
              </a:extLst>
            </p:cNvPr>
            <p:cNvCxnSpPr>
              <a:cxnSpLocks/>
            </p:cNvCxnSpPr>
            <p:nvPr/>
          </p:nvCxnSpPr>
          <p:spPr>
            <a:xfrm>
              <a:off x="294338" y="1913428"/>
              <a:ext cx="4536000" cy="0"/>
            </a:xfrm>
            <a:prstGeom prst="line">
              <a:avLst/>
            </a:prstGeom>
            <a:noFill/>
            <a:ln w="19050" cap="flat" cmpd="sng" algn="ctr">
              <a:solidFill>
                <a:srgbClr val="A5A5A5"/>
              </a:solidFill>
              <a:prstDash val="solid"/>
              <a:miter lim="800000"/>
            </a:ln>
            <a:effectLst/>
          </p:spPr>
        </p:cxnSp>
        <p:sp>
          <p:nvSpPr>
            <p:cNvPr id="33" name="Textfeld 32">
              <a:extLst>
                <a:ext uri="{FF2B5EF4-FFF2-40B4-BE49-F238E27FC236}">
                  <a16:creationId xmlns:a16="http://schemas.microsoft.com/office/drawing/2014/main" id="{50BCCFC3-88F9-4B92-B558-A16846EA9CC6}"/>
                </a:ext>
              </a:extLst>
            </p:cNvPr>
            <p:cNvSpPr txBox="1"/>
            <p:nvPr/>
          </p:nvSpPr>
          <p:spPr>
            <a:xfrm>
              <a:off x="2557252" y="2305003"/>
              <a:ext cx="415630" cy="270150"/>
            </a:xfrm>
            <a:prstGeom prst="rect">
              <a:avLst/>
            </a:prstGeom>
            <a:noFill/>
          </p:spPr>
          <p:txBody>
            <a:bodyPr wrap="none" rtlCol="0">
              <a:spAutoFit/>
            </a:bodyPr>
            <a:lstStyle/>
            <a:p>
              <a:pPr>
                <a:defRPr/>
              </a:pPr>
              <a:r>
                <a:rPr lang="en-US" sz="1050" kern="0">
                  <a:solidFill>
                    <a:prstClr val="black"/>
                  </a:solidFill>
                </a:rPr>
                <a:t>HAP</a:t>
              </a:r>
            </a:p>
          </p:txBody>
        </p:sp>
        <p:sp>
          <p:nvSpPr>
            <p:cNvPr id="34" name="Textfeld 33">
              <a:extLst>
                <a:ext uri="{FF2B5EF4-FFF2-40B4-BE49-F238E27FC236}">
                  <a16:creationId xmlns:a16="http://schemas.microsoft.com/office/drawing/2014/main" id="{C95959DA-EBCF-45C5-897B-B98D9FDF2D13}"/>
                </a:ext>
              </a:extLst>
            </p:cNvPr>
            <p:cNvSpPr txBox="1"/>
            <p:nvPr/>
          </p:nvSpPr>
          <p:spPr>
            <a:xfrm>
              <a:off x="1420075" y="2872343"/>
              <a:ext cx="479770" cy="270150"/>
            </a:xfrm>
            <a:prstGeom prst="rect">
              <a:avLst/>
            </a:prstGeom>
            <a:noFill/>
          </p:spPr>
          <p:txBody>
            <a:bodyPr wrap="none" rtlCol="0">
              <a:spAutoFit/>
            </a:bodyPr>
            <a:lstStyle/>
            <a:p>
              <a:pPr>
                <a:defRPr/>
              </a:pPr>
              <a:r>
                <a:rPr lang="en-US" sz="1050" kern="0">
                  <a:solidFill>
                    <a:prstClr val="black"/>
                  </a:solidFill>
                </a:rPr>
                <a:t>UAVs</a:t>
              </a:r>
            </a:p>
          </p:txBody>
        </p:sp>
        <p:pic>
          <p:nvPicPr>
            <p:cNvPr id="35" name="Picture 2" descr="Drone icon PNG and SVG Vector Free Download">
              <a:extLst>
                <a:ext uri="{FF2B5EF4-FFF2-40B4-BE49-F238E27FC236}">
                  <a16:creationId xmlns:a16="http://schemas.microsoft.com/office/drawing/2014/main" id="{10A851D1-8671-4D1D-9912-FB22870CB522}"/>
                </a:ext>
              </a:extLst>
            </p:cNvPr>
            <p:cNvPicPr>
              <a:picLocks noChangeAspect="1" noChangeArrowheads="1"/>
            </p:cNvPicPr>
            <p:nvPr/>
          </p:nvPicPr>
          <p:blipFill>
            <a:blip r:embed="rId11">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27996" y="3025388"/>
              <a:ext cx="406730" cy="196719"/>
            </a:xfrm>
            <a:prstGeom prst="rect">
              <a:avLst/>
            </a:prstGeom>
            <a:noFill/>
            <a:extLst>
              <a:ext uri="{909E8E84-426E-40DD-AFC4-6F175D3DCCD1}">
                <a14:hiddenFill xmlns:a14="http://schemas.microsoft.com/office/drawing/2010/main">
                  <a:solidFill>
                    <a:srgbClr val="FFFFFF"/>
                  </a:solidFill>
                </a14:hiddenFill>
              </a:ext>
            </a:extLst>
          </p:spPr>
        </p:pic>
        <p:cxnSp>
          <p:nvCxnSpPr>
            <p:cNvPr id="36" name="Gerader Verbinder 35">
              <a:extLst>
                <a:ext uri="{FF2B5EF4-FFF2-40B4-BE49-F238E27FC236}">
                  <a16:creationId xmlns:a16="http://schemas.microsoft.com/office/drawing/2014/main" id="{EB55CCA1-AD1C-47CA-8853-C508F61528CC}"/>
                </a:ext>
              </a:extLst>
            </p:cNvPr>
            <p:cNvCxnSpPr>
              <a:cxnSpLocks/>
            </p:cNvCxnSpPr>
            <p:nvPr/>
          </p:nvCxnSpPr>
          <p:spPr>
            <a:xfrm>
              <a:off x="294338" y="3429000"/>
              <a:ext cx="4536000" cy="0"/>
            </a:xfrm>
            <a:prstGeom prst="line">
              <a:avLst/>
            </a:prstGeom>
            <a:noFill/>
            <a:ln w="19050" cap="flat" cmpd="sng" algn="ctr">
              <a:solidFill>
                <a:srgbClr val="A5A5A5"/>
              </a:solidFill>
              <a:prstDash val="solid"/>
              <a:miter lim="800000"/>
            </a:ln>
            <a:effectLst/>
          </p:spPr>
        </p:cxnSp>
        <p:pic>
          <p:nvPicPr>
            <p:cNvPr id="37" name="Picture 2" descr="Drone icon PNG and SVG Vector Free Download">
              <a:extLst>
                <a:ext uri="{FF2B5EF4-FFF2-40B4-BE49-F238E27FC236}">
                  <a16:creationId xmlns:a16="http://schemas.microsoft.com/office/drawing/2014/main" id="{F8B3D14A-BCCE-41AF-9F1E-7B94839DCB70}"/>
                </a:ext>
              </a:extLst>
            </p:cNvPr>
            <p:cNvPicPr>
              <a:picLocks noChangeAspect="1" noChangeArrowheads="1"/>
            </p:cNvPicPr>
            <p:nvPr/>
          </p:nvPicPr>
          <p:blipFill>
            <a:blip r:embed="rId11">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416501" y="2706674"/>
              <a:ext cx="406730" cy="196719"/>
            </a:xfrm>
            <a:prstGeom prst="rect">
              <a:avLst/>
            </a:prstGeom>
            <a:noFill/>
            <a:extLst>
              <a:ext uri="{909E8E84-426E-40DD-AFC4-6F175D3DCCD1}">
                <a14:hiddenFill xmlns:a14="http://schemas.microsoft.com/office/drawing/2010/main">
                  <a:solidFill>
                    <a:srgbClr val="FFFFFF"/>
                  </a:solidFill>
                </a14:hiddenFill>
              </a:ext>
            </a:extLst>
          </p:spPr>
        </p:pic>
        <p:cxnSp>
          <p:nvCxnSpPr>
            <p:cNvPr id="38" name="Gerade Verbindung mit Pfeil 37">
              <a:extLst>
                <a:ext uri="{FF2B5EF4-FFF2-40B4-BE49-F238E27FC236}">
                  <a16:creationId xmlns:a16="http://schemas.microsoft.com/office/drawing/2014/main" id="{7479F793-5D59-4F18-9756-A90D45A8BE2E}"/>
                </a:ext>
              </a:extLst>
            </p:cNvPr>
            <p:cNvCxnSpPr>
              <a:cxnSpLocks/>
              <a:stCxn id="9" idx="3"/>
            </p:cNvCxnSpPr>
            <p:nvPr/>
          </p:nvCxnSpPr>
          <p:spPr>
            <a:xfrm>
              <a:off x="1936970" y="768168"/>
              <a:ext cx="677670" cy="203115"/>
            </a:xfrm>
            <a:prstGeom prst="straightConnector1">
              <a:avLst/>
            </a:prstGeom>
            <a:noFill/>
            <a:ln w="19050" cap="flat" cmpd="sng" algn="ctr">
              <a:solidFill>
                <a:srgbClr val="A5A5A5"/>
              </a:solidFill>
              <a:prstDash val="solid"/>
              <a:miter lim="800000"/>
              <a:headEnd type="triangle" w="med" len="med"/>
              <a:tailEnd type="triangle" w="med" len="med"/>
            </a:ln>
            <a:effectLst/>
          </p:spPr>
        </p:cxnSp>
        <p:cxnSp>
          <p:nvCxnSpPr>
            <p:cNvPr id="39" name="Gerade Verbindung mit Pfeil 38">
              <a:extLst>
                <a:ext uri="{FF2B5EF4-FFF2-40B4-BE49-F238E27FC236}">
                  <a16:creationId xmlns:a16="http://schemas.microsoft.com/office/drawing/2014/main" id="{7E14909D-332D-41D6-81F2-412165D79C86}"/>
                </a:ext>
              </a:extLst>
            </p:cNvPr>
            <p:cNvCxnSpPr>
              <a:cxnSpLocks/>
              <a:endCxn id="28" idx="1"/>
            </p:cNvCxnSpPr>
            <p:nvPr/>
          </p:nvCxnSpPr>
          <p:spPr>
            <a:xfrm>
              <a:off x="1834381" y="900396"/>
              <a:ext cx="102848" cy="514659"/>
            </a:xfrm>
            <a:prstGeom prst="straightConnector1">
              <a:avLst/>
            </a:prstGeom>
            <a:noFill/>
            <a:ln w="19050" cap="flat" cmpd="sng" algn="ctr">
              <a:solidFill>
                <a:srgbClr val="A5A5A5"/>
              </a:solidFill>
              <a:prstDash val="solid"/>
              <a:miter lim="800000"/>
              <a:headEnd type="triangle" w="med" len="med"/>
              <a:tailEnd type="triangle" w="med" len="med"/>
            </a:ln>
            <a:effectLst/>
          </p:spPr>
        </p:cxnSp>
        <p:cxnSp>
          <p:nvCxnSpPr>
            <p:cNvPr id="40" name="Gerade Verbindung mit Pfeil 39">
              <a:extLst>
                <a:ext uri="{FF2B5EF4-FFF2-40B4-BE49-F238E27FC236}">
                  <a16:creationId xmlns:a16="http://schemas.microsoft.com/office/drawing/2014/main" id="{5BA8D009-74F2-406C-B77B-D51B40945453}"/>
                </a:ext>
              </a:extLst>
            </p:cNvPr>
            <p:cNvCxnSpPr>
              <a:cxnSpLocks/>
            </p:cNvCxnSpPr>
            <p:nvPr/>
          </p:nvCxnSpPr>
          <p:spPr>
            <a:xfrm>
              <a:off x="2278484" y="1542954"/>
              <a:ext cx="619346" cy="0"/>
            </a:xfrm>
            <a:prstGeom prst="straightConnector1">
              <a:avLst/>
            </a:prstGeom>
            <a:noFill/>
            <a:ln w="19050" cap="flat" cmpd="sng" algn="ctr">
              <a:solidFill>
                <a:srgbClr val="A5A5A5"/>
              </a:solidFill>
              <a:prstDash val="solid"/>
              <a:miter lim="800000"/>
              <a:headEnd type="triangle" w="med" len="med"/>
              <a:tailEnd type="triangle" w="med" len="med"/>
            </a:ln>
            <a:effectLst/>
          </p:spPr>
        </p:cxnSp>
        <p:cxnSp>
          <p:nvCxnSpPr>
            <p:cNvPr id="41" name="Gerade Verbindung mit Pfeil 40">
              <a:extLst>
                <a:ext uri="{FF2B5EF4-FFF2-40B4-BE49-F238E27FC236}">
                  <a16:creationId xmlns:a16="http://schemas.microsoft.com/office/drawing/2014/main" id="{E718DA06-57B9-4D0E-B673-E2C56B7F395E}"/>
                </a:ext>
              </a:extLst>
            </p:cNvPr>
            <p:cNvCxnSpPr>
              <a:cxnSpLocks/>
            </p:cNvCxnSpPr>
            <p:nvPr/>
          </p:nvCxnSpPr>
          <p:spPr>
            <a:xfrm>
              <a:off x="3855168" y="930815"/>
              <a:ext cx="12192" cy="2620256"/>
            </a:xfrm>
            <a:prstGeom prst="straightConnector1">
              <a:avLst/>
            </a:prstGeom>
            <a:noFill/>
            <a:ln w="19050" cap="flat" cmpd="sng" algn="ctr">
              <a:solidFill>
                <a:srgbClr val="A5A5A5"/>
              </a:solidFill>
              <a:prstDash val="solid"/>
              <a:miter lim="800000"/>
              <a:headEnd type="triangle" w="med" len="med"/>
              <a:tailEnd type="triangle" w="med" len="med"/>
            </a:ln>
            <a:effectLst/>
          </p:spPr>
        </p:cxnSp>
        <p:cxnSp>
          <p:nvCxnSpPr>
            <p:cNvPr id="42" name="Gerade Verbindung mit Pfeil 41">
              <a:extLst>
                <a:ext uri="{FF2B5EF4-FFF2-40B4-BE49-F238E27FC236}">
                  <a16:creationId xmlns:a16="http://schemas.microsoft.com/office/drawing/2014/main" id="{23A6248E-F68C-4A8A-AF52-AE37347A8AB0}"/>
                </a:ext>
              </a:extLst>
            </p:cNvPr>
            <p:cNvCxnSpPr>
              <a:cxnSpLocks/>
              <a:endCxn id="24" idx="2"/>
            </p:cNvCxnSpPr>
            <p:nvPr/>
          </p:nvCxnSpPr>
          <p:spPr>
            <a:xfrm flipV="1">
              <a:off x="3149600" y="773603"/>
              <a:ext cx="491160" cy="206837"/>
            </a:xfrm>
            <a:prstGeom prst="straightConnector1">
              <a:avLst/>
            </a:prstGeom>
            <a:noFill/>
            <a:ln w="19050" cap="flat" cmpd="sng" algn="ctr">
              <a:solidFill>
                <a:srgbClr val="A5A5A5"/>
              </a:solidFill>
              <a:prstDash val="solid"/>
              <a:miter lim="800000"/>
              <a:headEnd type="triangle" w="med" len="med"/>
              <a:tailEnd type="triangle" w="med" len="med"/>
            </a:ln>
            <a:effectLst/>
          </p:spPr>
        </p:cxnSp>
        <p:cxnSp>
          <p:nvCxnSpPr>
            <p:cNvPr id="43" name="Gerade Verbindung mit Pfeil 42">
              <a:extLst>
                <a:ext uri="{FF2B5EF4-FFF2-40B4-BE49-F238E27FC236}">
                  <a16:creationId xmlns:a16="http://schemas.microsoft.com/office/drawing/2014/main" id="{2135B64A-D052-40A1-9F33-D5EB8413207B}"/>
                </a:ext>
              </a:extLst>
            </p:cNvPr>
            <p:cNvCxnSpPr>
              <a:cxnSpLocks/>
            </p:cNvCxnSpPr>
            <p:nvPr/>
          </p:nvCxnSpPr>
          <p:spPr>
            <a:xfrm flipH="1">
              <a:off x="2571650" y="2606777"/>
              <a:ext cx="102318" cy="981919"/>
            </a:xfrm>
            <a:prstGeom prst="straightConnector1">
              <a:avLst/>
            </a:prstGeom>
            <a:noFill/>
            <a:ln w="19050" cap="flat" cmpd="sng" algn="ctr">
              <a:solidFill>
                <a:srgbClr val="A5A5A5"/>
              </a:solidFill>
              <a:prstDash val="solid"/>
              <a:miter lim="800000"/>
              <a:headEnd type="triangle" w="med" len="med"/>
              <a:tailEnd type="triangle" w="med" len="med"/>
            </a:ln>
            <a:effectLst/>
          </p:spPr>
        </p:cxnSp>
        <p:cxnSp>
          <p:nvCxnSpPr>
            <p:cNvPr id="44" name="Gerade Verbindung mit Pfeil 43">
              <a:extLst>
                <a:ext uri="{FF2B5EF4-FFF2-40B4-BE49-F238E27FC236}">
                  <a16:creationId xmlns:a16="http://schemas.microsoft.com/office/drawing/2014/main" id="{6EA97012-02F9-4D9B-96D0-CA9EA2DF1DB8}"/>
                </a:ext>
              </a:extLst>
            </p:cNvPr>
            <p:cNvCxnSpPr>
              <a:cxnSpLocks/>
              <a:endCxn id="8" idx="1"/>
            </p:cNvCxnSpPr>
            <p:nvPr/>
          </p:nvCxnSpPr>
          <p:spPr>
            <a:xfrm flipV="1">
              <a:off x="1505951" y="1678061"/>
              <a:ext cx="361745" cy="484720"/>
            </a:xfrm>
            <a:prstGeom prst="straightConnector1">
              <a:avLst/>
            </a:prstGeom>
            <a:noFill/>
            <a:ln w="19050" cap="flat" cmpd="sng" algn="ctr">
              <a:solidFill>
                <a:srgbClr val="A5A5A5"/>
              </a:solidFill>
              <a:prstDash val="solid"/>
              <a:miter lim="800000"/>
              <a:headEnd type="triangle" w="med" len="med"/>
              <a:tailEnd type="triangle" w="med" len="med"/>
            </a:ln>
            <a:effectLst/>
          </p:spPr>
        </p:cxnSp>
        <p:cxnSp>
          <p:nvCxnSpPr>
            <p:cNvPr id="45" name="Gerade Verbindung mit Pfeil 44">
              <a:extLst>
                <a:ext uri="{FF2B5EF4-FFF2-40B4-BE49-F238E27FC236}">
                  <a16:creationId xmlns:a16="http://schemas.microsoft.com/office/drawing/2014/main" id="{DE628E4B-9FD4-4826-9F82-806E142D9FAF}"/>
                </a:ext>
              </a:extLst>
            </p:cNvPr>
            <p:cNvCxnSpPr>
              <a:cxnSpLocks/>
              <a:stCxn id="35" idx="0"/>
              <a:endCxn id="37" idx="1"/>
            </p:cNvCxnSpPr>
            <p:nvPr/>
          </p:nvCxnSpPr>
          <p:spPr>
            <a:xfrm flipV="1">
              <a:off x="1231361" y="2805034"/>
              <a:ext cx="185140" cy="220354"/>
            </a:xfrm>
            <a:prstGeom prst="straightConnector1">
              <a:avLst/>
            </a:prstGeom>
            <a:noFill/>
            <a:ln w="19050" cap="flat" cmpd="sng" algn="ctr">
              <a:solidFill>
                <a:srgbClr val="A5A5A5"/>
              </a:solidFill>
              <a:prstDash val="solid"/>
              <a:miter lim="800000"/>
              <a:headEnd type="triangle" w="med" len="med"/>
              <a:tailEnd type="triangle" w="med" len="med"/>
            </a:ln>
            <a:effectLst/>
          </p:spPr>
        </p:cxnSp>
        <p:cxnSp>
          <p:nvCxnSpPr>
            <p:cNvPr id="46" name="Gerade Verbindung mit Pfeil 45">
              <a:extLst>
                <a:ext uri="{FF2B5EF4-FFF2-40B4-BE49-F238E27FC236}">
                  <a16:creationId xmlns:a16="http://schemas.microsoft.com/office/drawing/2014/main" id="{E76EAAFD-24CD-4D75-B2D8-6C2CA9890CDA}"/>
                </a:ext>
              </a:extLst>
            </p:cNvPr>
            <p:cNvCxnSpPr>
              <a:cxnSpLocks/>
            </p:cNvCxnSpPr>
            <p:nvPr/>
          </p:nvCxnSpPr>
          <p:spPr>
            <a:xfrm>
              <a:off x="1460530" y="3128985"/>
              <a:ext cx="357441" cy="7166"/>
            </a:xfrm>
            <a:prstGeom prst="straightConnector1">
              <a:avLst/>
            </a:prstGeom>
            <a:noFill/>
            <a:ln w="19050" cap="flat" cmpd="sng" algn="ctr">
              <a:solidFill>
                <a:srgbClr val="A5A5A5"/>
              </a:solidFill>
              <a:prstDash val="solid"/>
              <a:miter lim="800000"/>
              <a:headEnd type="triangle" w="med" len="med"/>
              <a:tailEnd type="triangle" w="med" len="med"/>
            </a:ln>
            <a:effectLst/>
          </p:spPr>
        </p:cxnSp>
        <p:cxnSp>
          <p:nvCxnSpPr>
            <p:cNvPr id="47" name="Gerade Verbindung mit Pfeil 46">
              <a:extLst>
                <a:ext uri="{FF2B5EF4-FFF2-40B4-BE49-F238E27FC236}">
                  <a16:creationId xmlns:a16="http://schemas.microsoft.com/office/drawing/2014/main" id="{C3897457-8BC8-4DDC-92F2-395266251062}"/>
                </a:ext>
              </a:extLst>
            </p:cNvPr>
            <p:cNvCxnSpPr>
              <a:cxnSpLocks/>
            </p:cNvCxnSpPr>
            <p:nvPr/>
          </p:nvCxnSpPr>
          <p:spPr>
            <a:xfrm>
              <a:off x="1817971" y="2809505"/>
              <a:ext cx="190400" cy="139691"/>
            </a:xfrm>
            <a:prstGeom prst="straightConnector1">
              <a:avLst/>
            </a:prstGeom>
            <a:noFill/>
            <a:ln w="19050" cap="flat" cmpd="sng" algn="ctr">
              <a:solidFill>
                <a:srgbClr val="A5A5A5"/>
              </a:solidFill>
              <a:prstDash val="solid"/>
              <a:miter lim="800000"/>
              <a:headEnd type="triangle" w="med" len="med"/>
              <a:tailEnd type="triangle" w="med" len="med"/>
            </a:ln>
            <a:effectLst/>
          </p:spPr>
        </p:cxnSp>
        <p:pic>
          <p:nvPicPr>
            <p:cNvPr id="48" name="Picture 20" descr="Cruise ship - Free transport icons">
              <a:extLst>
                <a:ext uri="{FF2B5EF4-FFF2-40B4-BE49-F238E27FC236}">
                  <a16:creationId xmlns:a16="http://schemas.microsoft.com/office/drawing/2014/main" id="{CB79FDD4-F358-4EA8-ADD6-6ED24A7856C4}"/>
                </a:ext>
              </a:extLst>
            </p:cNvPr>
            <p:cNvPicPr>
              <a:picLocks noChangeAspect="1" noChangeArrowheads="1"/>
            </p:cNvPicPr>
            <p:nvPr/>
          </p:nvPicPr>
          <p:blipFill rotWithShape="1">
            <a:blip r:embed="rId18">
              <a:duotone>
                <a:srgbClr val="4472C4">
                  <a:shade val="45000"/>
                  <a:satMod val="135000"/>
                </a:srgbClr>
                <a:prstClr val="white"/>
              </a:duotone>
              <a:extLst>
                <a:ext uri="{28A0092B-C50C-407E-A947-70E740481C1C}">
                  <a14:useLocalDpi xmlns:a14="http://schemas.microsoft.com/office/drawing/2010/main" val="0"/>
                </a:ext>
              </a:extLst>
            </a:blip>
            <a:srcRect l="1174" t="25145" r="-1174" b="26828"/>
            <a:stretch/>
          </p:blipFill>
          <p:spPr bwMode="auto">
            <a:xfrm flipH="1">
              <a:off x="3534229" y="3554862"/>
              <a:ext cx="635108" cy="30502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2" descr="Free Car SVG, PNG Icon, Symbol. Download Image.">
              <a:extLst>
                <a:ext uri="{FF2B5EF4-FFF2-40B4-BE49-F238E27FC236}">
                  <a16:creationId xmlns:a16="http://schemas.microsoft.com/office/drawing/2014/main" id="{C2A71904-9473-4064-AC83-7A3CD9556028}"/>
                </a:ext>
              </a:extLst>
            </p:cNvPr>
            <p:cNvPicPr>
              <a:picLocks noChangeAspect="1" noChangeArrowheads="1"/>
            </p:cNvPicPr>
            <p:nvPr/>
          </p:nvPicPr>
          <p:blipFill rotWithShape="1">
            <a:blip r:embed="rId19">
              <a:duotone>
                <a:srgbClr val="4472C4">
                  <a:shade val="45000"/>
                  <a:satMod val="135000"/>
                </a:srgbClr>
                <a:prstClr val="white"/>
              </a:duotone>
              <a:extLst>
                <a:ext uri="{28A0092B-C50C-407E-A947-70E740481C1C}">
                  <a14:useLocalDpi xmlns:a14="http://schemas.microsoft.com/office/drawing/2010/main" val="0"/>
                </a:ext>
              </a:extLst>
            </a:blip>
            <a:srcRect t="28945" b="30178"/>
            <a:stretch/>
          </p:blipFill>
          <p:spPr bwMode="auto">
            <a:xfrm>
              <a:off x="3031409" y="4211912"/>
              <a:ext cx="555997" cy="227273"/>
            </a:xfrm>
            <a:prstGeom prst="rect">
              <a:avLst/>
            </a:prstGeom>
            <a:noFill/>
            <a:extLst>
              <a:ext uri="{909E8E84-426E-40DD-AFC4-6F175D3DCCD1}">
                <a14:hiddenFill xmlns:a14="http://schemas.microsoft.com/office/drawing/2010/main">
                  <a:solidFill>
                    <a:srgbClr val="FFFFFF"/>
                  </a:solidFill>
                </a14:hiddenFill>
              </a:ext>
            </a:extLst>
          </p:spPr>
        </p:pic>
        <p:cxnSp>
          <p:nvCxnSpPr>
            <p:cNvPr id="50" name="Gerade Verbindung mit Pfeil 49">
              <a:extLst>
                <a:ext uri="{FF2B5EF4-FFF2-40B4-BE49-F238E27FC236}">
                  <a16:creationId xmlns:a16="http://schemas.microsoft.com/office/drawing/2014/main" id="{838C3477-7BBA-43F9-A001-29DFD01CC174}"/>
                </a:ext>
              </a:extLst>
            </p:cNvPr>
            <p:cNvCxnSpPr>
              <a:cxnSpLocks/>
              <a:endCxn id="16" idx="0"/>
            </p:cNvCxnSpPr>
            <p:nvPr/>
          </p:nvCxnSpPr>
          <p:spPr>
            <a:xfrm>
              <a:off x="3918769" y="930815"/>
              <a:ext cx="656861" cy="3777124"/>
            </a:xfrm>
            <a:prstGeom prst="straightConnector1">
              <a:avLst/>
            </a:prstGeom>
            <a:noFill/>
            <a:ln w="19050" cap="flat" cmpd="sng" algn="ctr">
              <a:solidFill>
                <a:srgbClr val="A5A5A5"/>
              </a:solidFill>
              <a:prstDash val="solid"/>
              <a:miter lim="800000"/>
              <a:headEnd type="triangle" w="med" len="med"/>
              <a:tailEnd type="triangle" w="med" len="med"/>
            </a:ln>
            <a:effectLst/>
          </p:spPr>
        </p:cxnSp>
        <p:cxnSp>
          <p:nvCxnSpPr>
            <p:cNvPr id="51" name="Gerade Verbindung mit Pfeil 50">
              <a:extLst>
                <a:ext uri="{FF2B5EF4-FFF2-40B4-BE49-F238E27FC236}">
                  <a16:creationId xmlns:a16="http://schemas.microsoft.com/office/drawing/2014/main" id="{CEF628E6-91B9-4A38-93DF-A98BD64509CC}"/>
                </a:ext>
              </a:extLst>
            </p:cNvPr>
            <p:cNvCxnSpPr>
              <a:cxnSpLocks/>
              <a:endCxn id="37" idx="0"/>
            </p:cNvCxnSpPr>
            <p:nvPr/>
          </p:nvCxnSpPr>
          <p:spPr>
            <a:xfrm>
              <a:off x="1446170" y="2538026"/>
              <a:ext cx="173696" cy="168648"/>
            </a:xfrm>
            <a:prstGeom prst="straightConnector1">
              <a:avLst/>
            </a:prstGeom>
            <a:noFill/>
            <a:ln w="19050" cap="flat" cmpd="sng" algn="ctr">
              <a:solidFill>
                <a:srgbClr val="A5A5A5"/>
              </a:solidFill>
              <a:prstDash val="solid"/>
              <a:miter lim="800000"/>
              <a:headEnd type="triangle" w="med" len="med"/>
              <a:tailEnd type="triangle" w="med" len="med"/>
            </a:ln>
            <a:effectLst/>
          </p:spPr>
        </p:cxnSp>
        <p:cxnSp>
          <p:nvCxnSpPr>
            <p:cNvPr id="52" name="Gerade Verbindung mit Pfeil 51">
              <a:extLst>
                <a:ext uri="{FF2B5EF4-FFF2-40B4-BE49-F238E27FC236}">
                  <a16:creationId xmlns:a16="http://schemas.microsoft.com/office/drawing/2014/main" id="{9B3E76BE-3F60-48D2-AC26-37813F981F89}"/>
                </a:ext>
              </a:extLst>
            </p:cNvPr>
            <p:cNvCxnSpPr>
              <a:cxnSpLocks/>
              <a:stCxn id="29" idx="1"/>
            </p:cNvCxnSpPr>
            <p:nvPr/>
          </p:nvCxnSpPr>
          <p:spPr>
            <a:xfrm flipH="1">
              <a:off x="2807498" y="1679133"/>
              <a:ext cx="196656" cy="526600"/>
            </a:xfrm>
            <a:prstGeom prst="straightConnector1">
              <a:avLst/>
            </a:prstGeom>
            <a:noFill/>
            <a:ln w="19050" cap="flat" cmpd="sng" algn="ctr">
              <a:solidFill>
                <a:srgbClr val="A5A5A5"/>
              </a:solidFill>
              <a:prstDash val="solid"/>
              <a:miter lim="800000"/>
              <a:headEnd type="triangle" w="med" len="med"/>
              <a:tailEnd type="triangle" w="med" len="med"/>
            </a:ln>
            <a:effectLst/>
          </p:spPr>
        </p:cxnSp>
        <p:sp>
          <p:nvSpPr>
            <p:cNvPr id="53" name="Textfeld 52">
              <a:extLst>
                <a:ext uri="{FF2B5EF4-FFF2-40B4-BE49-F238E27FC236}">
                  <a16:creationId xmlns:a16="http://schemas.microsoft.com/office/drawing/2014/main" id="{EA01FA85-BE99-4587-BA5A-0BC272C0E591}"/>
                </a:ext>
              </a:extLst>
            </p:cNvPr>
            <p:cNvSpPr txBox="1"/>
            <p:nvPr/>
          </p:nvSpPr>
          <p:spPr>
            <a:xfrm>
              <a:off x="4051480" y="3741130"/>
              <a:ext cx="418837" cy="270150"/>
            </a:xfrm>
            <a:prstGeom prst="rect">
              <a:avLst/>
            </a:prstGeom>
            <a:noFill/>
          </p:spPr>
          <p:txBody>
            <a:bodyPr wrap="none" rtlCol="0">
              <a:spAutoFit/>
            </a:bodyPr>
            <a:lstStyle/>
            <a:p>
              <a:pPr>
                <a:defRPr/>
              </a:pPr>
              <a:r>
                <a:rPr lang="en-US" sz="1050" kern="0">
                  <a:solidFill>
                    <a:prstClr val="black"/>
                  </a:solidFill>
                </a:rPr>
                <a:t>Ship</a:t>
              </a:r>
            </a:p>
          </p:txBody>
        </p:sp>
        <p:pic>
          <p:nvPicPr>
            <p:cNvPr id="54" name="Picture 24" descr="Boje - Kostenlose sonstiges Icons">
              <a:extLst>
                <a:ext uri="{FF2B5EF4-FFF2-40B4-BE49-F238E27FC236}">
                  <a16:creationId xmlns:a16="http://schemas.microsoft.com/office/drawing/2014/main" id="{C6C8E225-D98B-4ACA-A259-6EADBBF85FCE}"/>
                </a:ext>
              </a:extLst>
            </p:cNvPr>
            <p:cNvPicPr>
              <a:picLocks noChangeAspect="1" noChangeArrowheads="1"/>
            </p:cNvPicPr>
            <p:nvPr/>
          </p:nvPicPr>
          <p:blipFill>
            <a:blip r:embed="rId20">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70235" y="3617465"/>
              <a:ext cx="289314" cy="289314"/>
            </a:xfrm>
            <a:prstGeom prst="rect">
              <a:avLst/>
            </a:prstGeom>
            <a:noFill/>
            <a:extLst>
              <a:ext uri="{909E8E84-426E-40DD-AFC4-6F175D3DCCD1}">
                <a14:hiddenFill xmlns:a14="http://schemas.microsoft.com/office/drawing/2010/main">
                  <a:solidFill>
                    <a:srgbClr val="FFFFFF"/>
                  </a:solidFill>
                </a14:hiddenFill>
              </a:ext>
            </a:extLst>
          </p:spPr>
        </p:pic>
        <p:sp>
          <p:nvSpPr>
            <p:cNvPr id="55" name="Textfeld 54">
              <a:extLst>
                <a:ext uri="{FF2B5EF4-FFF2-40B4-BE49-F238E27FC236}">
                  <a16:creationId xmlns:a16="http://schemas.microsoft.com/office/drawing/2014/main" id="{B94BDA6E-3A54-4983-A3FB-E90A75F6EFBB}"/>
                </a:ext>
              </a:extLst>
            </p:cNvPr>
            <p:cNvSpPr txBox="1"/>
            <p:nvPr/>
          </p:nvSpPr>
          <p:spPr>
            <a:xfrm>
              <a:off x="2529711" y="3605971"/>
              <a:ext cx="460528" cy="270150"/>
            </a:xfrm>
            <a:prstGeom prst="rect">
              <a:avLst/>
            </a:prstGeom>
            <a:noFill/>
          </p:spPr>
          <p:txBody>
            <a:bodyPr wrap="none" rtlCol="0">
              <a:spAutoFit/>
            </a:bodyPr>
            <a:lstStyle/>
            <a:p>
              <a:pPr>
                <a:defRPr/>
              </a:pPr>
              <a:r>
                <a:rPr lang="en-US" sz="1050" kern="0">
                  <a:solidFill>
                    <a:prstClr val="black"/>
                  </a:solidFill>
                </a:rPr>
                <a:t>Buoy</a:t>
              </a:r>
            </a:p>
          </p:txBody>
        </p:sp>
        <p:pic>
          <p:nvPicPr>
            <p:cNvPr id="56" name="Picture 32" descr="Humidity Sensor Icons - Free SVG &amp; PNG Humidity Sensor ...">
              <a:extLst>
                <a:ext uri="{FF2B5EF4-FFF2-40B4-BE49-F238E27FC236}">
                  <a16:creationId xmlns:a16="http://schemas.microsoft.com/office/drawing/2014/main" id="{9FCD5AEE-3CCB-4B11-A701-3776219BF6E2}"/>
                </a:ext>
              </a:extLst>
            </p:cNvPr>
            <p:cNvPicPr>
              <a:picLocks noChangeAspect="1" noChangeArrowheads="1"/>
            </p:cNvPicPr>
            <p:nvPr/>
          </p:nvPicPr>
          <p:blipFill>
            <a:blip r:embed="rId21">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009520" y="4297303"/>
              <a:ext cx="376216" cy="376216"/>
            </a:xfrm>
            <a:prstGeom prst="rect">
              <a:avLst/>
            </a:prstGeom>
            <a:noFill/>
            <a:extLst>
              <a:ext uri="{909E8E84-426E-40DD-AFC4-6F175D3DCCD1}">
                <a14:hiddenFill xmlns:a14="http://schemas.microsoft.com/office/drawing/2010/main">
                  <a:solidFill>
                    <a:srgbClr val="FFFFFF"/>
                  </a:solidFill>
                </a14:hiddenFill>
              </a:ext>
            </a:extLst>
          </p:spPr>
        </p:pic>
        <p:sp>
          <p:nvSpPr>
            <p:cNvPr id="57" name="Textfeld 56">
              <a:extLst>
                <a:ext uri="{FF2B5EF4-FFF2-40B4-BE49-F238E27FC236}">
                  <a16:creationId xmlns:a16="http://schemas.microsoft.com/office/drawing/2014/main" id="{8FA669C0-019D-4019-9013-7D3F9F7B9E1E}"/>
                </a:ext>
              </a:extLst>
            </p:cNvPr>
            <p:cNvSpPr txBox="1"/>
            <p:nvPr/>
          </p:nvSpPr>
          <p:spPr>
            <a:xfrm>
              <a:off x="2897830" y="4371607"/>
              <a:ext cx="830941" cy="270150"/>
            </a:xfrm>
            <a:prstGeom prst="rect">
              <a:avLst/>
            </a:prstGeom>
            <a:noFill/>
          </p:spPr>
          <p:txBody>
            <a:bodyPr wrap="none" rtlCol="0">
              <a:spAutoFit/>
            </a:bodyPr>
            <a:lstStyle/>
            <a:p>
              <a:pPr>
                <a:defRPr/>
              </a:pPr>
              <a:r>
                <a:rPr lang="en-US" sz="1050" kern="0">
                  <a:solidFill>
                    <a:prstClr val="black"/>
                  </a:solidFill>
                </a:rPr>
                <a:t>Automotive</a:t>
              </a:r>
            </a:p>
          </p:txBody>
        </p:sp>
        <p:sp>
          <p:nvSpPr>
            <p:cNvPr id="58" name="Textfeld 57">
              <a:extLst>
                <a:ext uri="{FF2B5EF4-FFF2-40B4-BE49-F238E27FC236}">
                  <a16:creationId xmlns:a16="http://schemas.microsoft.com/office/drawing/2014/main" id="{0B7F3E26-DF8E-47A5-9AA1-B0E68EC01201}"/>
                </a:ext>
              </a:extLst>
            </p:cNvPr>
            <p:cNvSpPr txBox="1"/>
            <p:nvPr/>
          </p:nvSpPr>
          <p:spPr>
            <a:xfrm>
              <a:off x="3363614" y="5030552"/>
              <a:ext cx="503824" cy="270150"/>
            </a:xfrm>
            <a:prstGeom prst="rect">
              <a:avLst/>
            </a:prstGeom>
            <a:noFill/>
          </p:spPr>
          <p:txBody>
            <a:bodyPr wrap="none" rtlCol="0">
              <a:spAutoFit/>
            </a:bodyPr>
            <a:lstStyle/>
            <a:p>
              <a:pPr>
                <a:defRPr/>
              </a:pPr>
              <a:r>
                <a:rPr lang="en-US" sz="1050" kern="0">
                  <a:solidFill>
                    <a:prstClr val="black"/>
                  </a:solidFill>
                </a:rPr>
                <a:t>Rover</a:t>
              </a:r>
            </a:p>
          </p:txBody>
        </p:sp>
        <p:sp>
          <p:nvSpPr>
            <p:cNvPr id="59" name="Textfeld 58">
              <a:extLst>
                <a:ext uri="{FF2B5EF4-FFF2-40B4-BE49-F238E27FC236}">
                  <a16:creationId xmlns:a16="http://schemas.microsoft.com/office/drawing/2014/main" id="{26FB7C10-E89B-4957-9E13-BE59C7E9B426}"/>
                </a:ext>
              </a:extLst>
            </p:cNvPr>
            <p:cNvSpPr txBox="1"/>
            <p:nvPr/>
          </p:nvSpPr>
          <p:spPr>
            <a:xfrm>
              <a:off x="4017190" y="5106516"/>
              <a:ext cx="885460" cy="270150"/>
            </a:xfrm>
            <a:prstGeom prst="rect">
              <a:avLst/>
            </a:prstGeom>
            <a:noFill/>
          </p:spPr>
          <p:txBody>
            <a:bodyPr wrap="none" rtlCol="0">
              <a:spAutoFit/>
            </a:bodyPr>
            <a:lstStyle/>
            <a:p>
              <a:pPr>
                <a:defRPr/>
              </a:pPr>
              <a:r>
                <a:rPr lang="en-US" sz="1050" kern="0">
                  <a:solidFill>
                    <a:prstClr val="black"/>
                  </a:solidFill>
                </a:rPr>
                <a:t>Earth station</a:t>
              </a:r>
            </a:p>
          </p:txBody>
        </p:sp>
        <p:sp>
          <p:nvSpPr>
            <p:cNvPr id="60" name="Textfeld 59">
              <a:extLst>
                <a:ext uri="{FF2B5EF4-FFF2-40B4-BE49-F238E27FC236}">
                  <a16:creationId xmlns:a16="http://schemas.microsoft.com/office/drawing/2014/main" id="{CF4BD580-801F-4403-81B6-287A9AF8CFB8}"/>
                </a:ext>
              </a:extLst>
            </p:cNvPr>
            <p:cNvSpPr txBox="1"/>
            <p:nvPr/>
          </p:nvSpPr>
          <p:spPr>
            <a:xfrm>
              <a:off x="2681595" y="4927977"/>
              <a:ext cx="462133" cy="270150"/>
            </a:xfrm>
            <a:prstGeom prst="rect">
              <a:avLst/>
            </a:prstGeom>
            <a:noFill/>
          </p:spPr>
          <p:txBody>
            <a:bodyPr wrap="none" rtlCol="0">
              <a:spAutoFit/>
            </a:bodyPr>
            <a:lstStyle/>
            <a:p>
              <a:pPr>
                <a:defRPr/>
              </a:pPr>
              <a:r>
                <a:rPr lang="en-US" sz="1050" kern="0">
                  <a:solidFill>
                    <a:prstClr val="black"/>
                  </a:solidFill>
                </a:rPr>
                <a:t>Train</a:t>
              </a:r>
            </a:p>
          </p:txBody>
        </p:sp>
        <p:sp>
          <p:nvSpPr>
            <p:cNvPr id="61" name="Textfeld 60">
              <a:extLst>
                <a:ext uri="{FF2B5EF4-FFF2-40B4-BE49-F238E27FC236}">
                  <a16:creationId xmlns:a16="http://schemas.microsoft.com/office/drawing/2014/main" id="{46CF83CC-5C62-461B-8CA1-A3D0F5C98597}"/>
                </a:ext>
              </a:extLst>
            </p:cNvPr>
            <p:cNvSpPr txBox="1"/>
            <p:nvPr/>
          </p:nvSpPr>
          <p:spPr>
            <a:xfrm>
              <a:off x="1894365" y="4583053"/>
              <a:ext cx="555136" cy="270150"/>
            </a:xfrm>
            <a:prstGeom prst="rect">
              <a:avLst/>
            </a:prstGeom>
            <a:noFill/>
          </p:spPr>
          <p:txBody>
            <a:bodyPr wrap="none" rtlCol="0">
              <a:spAutoFit/>
            </a:bodyPr>
            <a:lstStyle/>
            <a:p>
              <a:pPr>
                <a:defRPr/>
              </a:pPr>
              <a:r>
                <a:rPr lang="en-US" sz="1050" kern="0">
                  <a:solidFill>
                    <a:prstClr val="black"/>
                  </a:solidFill>
                </a:rPr>
                <a:t>Sensor</a:t>
              </a:r>
            </a:p>
          </p:txBody>
        </p:sp>
        <p:cxnSp>
          <p:nvCxnSpPr>
            <p:cNvPr id="62" name="Gerade Verbindung mit Pfeil 61">
              <a:extLst>
                <a:ext uri="{FF2B5EF4-FFF2-40B4-BE49-F238E27FC236}">
                  <a16:creationId xmlns:a16="http://schemas.microsoft.com/office/drawing/2014/main" id="{9586AE4B-2947-4EAA-B126-837E19FA0F39}"/>
                </a:ext>
              </a:extLst>
            </p:cNvPr>
            <p:cNvCxnSpPr>
              <a:cxnSpLocks/>
            </p:cNvCxnSpPr>
            <p:nvPr/>
          </p:nvCxnSpPr>
          <p:spPr>
            <a:xfrm flipV="1">
              <a:off x="1613123" y="3256383"/>
              <a:ext cx="6089" cy="1022706"/>
            </a:xfrm>
            <a:prstGeom prst="straightConnector1">
              <a:avLst/>
            </a:prstGeom>
            <a:noFill/>
            <a:ln w="19050" cap="flat" cmpd="sng" algn="ctr">
              <a:solidFill>
                <a:srgbClr val="A5A5A5"/>
              </a:solidFill>
              <a:prstDash val="solid"/>
              <a:miter lim="800000"/>
              <a:headEnd type="triangle" w="med" len="med"/>
              <a:tailEnd type="triangle" w="med" len="med"/>
            </a:ln>
            <a:effectLst/>
          </p:spPr>
        </p:cxnSp>
        <p:cxnSp>
          <p:nvCxnSpPr>
            <p:cNvPr id="63" name="Gerade Verbindung mit Pfeil 62">
              <a:extLst>
                <a:ext uri="{FF2B5EF4-FFF2-40B4-BE49-F238E27FC236}">
                  <a16:creationId xmlns:a16="http://schemas.microsoft.com/office/drawing/2014/main" id="{F670A64E-4D7D-487B-8507-D540CFC26EB0}"/>
                </a:ext>
              </a:extLst>
            </p:cNvPr>
            <p:cNvCxnSpPr>
              <a:cxnSpLocks/>
              <a:endCxn id="14" idx="0"/>
            </p:cNvCxnSpPr>
            <p:nvPr/>
          </p:nvCxnSpPr>
          <p:spPr>
            <a:xfrm flipH="1">
              <a:off x="3425352" y="930815"/>
              <a:ext cx="337072" cy="1721081"/>
            </a:xfrm>
            <a:prstGeom prst="straightConnector1">
              <a:avLst/>
            </a:prstGeom>
            <a:noFill/>
            <a:ln w="19050" cap="flat" cmpd="sng" algn="ctr">
              <a:solidFill>
                <a:srgbClr val="A5A5A5"/>
              </a:solidFill>
              <a:prstDash val="solid"/>
              <a:miter lim="800000"/>
              <a:headEnd type="triangle" w="med" len="med"/>
              <a:tailEnd type="triangle" w="med" len="med"/>
            </a:ln>
            <a:effectLst/>
          </p:spPr>
        </p:cxnSp>
        <p:cxnSp>
          <p:nvCxnSpPr>
            <p:cNvPr id="64" name="Gerade Verbindung mit Pfeil 63">
              <a:extLst>
                <a:ext uri="{FF2B5EF4-FFF2-40B4-BE49-F238E27FC236}">
                  <a16:creationId xmlns:a16="http://schemas.microsoft.com/office/drawing/2014/main" id="{E9F85469-642A-437E-8759-218CD92F994F}"/>
                </a:ext>
              </a:extLst>
            </p:cNvPr>
            <p:cNvCxnSpPr>
              <a:cxnSpLocks/>
              <a:stCxn id="56" idx="0"/>
              <a:endCxn id="13" idx="2"/>
            </p:cNvCxnSpPr>
            <p:nvPr/>
          </p:nvCxnSpPr>
          <p:spPr>
            <a:xfrm flipH="1" flipV="1">
              <a:off x="2052823" y="3215450"/>
              <a:ext cx="144805" cy="1081853"/>
            </a:xfrm>
            <a:prstGeom prst="straightConnector1">
              <a:avLst/>
            </a:prstGeom>
            <a:noFill/>
            <a:ln w="19050" cap="flat" cmpd="sng" algn="ctr">
              <a:solidFill>
                <a:srgbClr val="A5A5A5"/>
              </a:solidFill>
              <a:prstDash val="solid"/>
              <a:miter lim="800000"/>
              <a:headEnd type="triangle" w="med" len="med"/>
              <a:tailEnd type="triangle" w="med" len="med"/>
            </a:ln>
            <a:effectLst/>
          </p:spPr>
        </p:cxnSp>
        <p:cxnSp>
          <p:nvCxnSpPr>
            <p:cNvPr id="65" name="Gerade Verbindung mit Pfeil 64">
              <a:extLst>
                <a:ext uri="{FF2B5EF4-FFF2-40B4-BE49-F238E27FC236}">
                  <a16:creationId xmlns:a16="http://schemas.microsoft.com/office/drawing/2014/main" id="{5D6E3D5B-1237-4003-ADF1-A86D1D1E55B0}"/>
                </a:ext>
              </a:extLst>
            </p:cNvPr>
            <p:cNvCxnSpPr>
              <a:cxnSpLocks/>
              <a:endCxn id="15" idx="3"/>
            </p:cNvCxnSpPr>
            <p:nvPr/>
          </p:nvCxnSpPr>
          <p:spPr>
            <a:xfrm flipH="1" flipV="1">
              <a:off x="1049844" y="4508197"/>
              <a:ext cx="286587" cy="619477"/>
            </a:xfrm>
            <a:prstGeom prst="straightConnector1">
              <a:avLst/>
            </a:prstGeom>
            <a:noFill/>
            <a:ln w="19050" cap="flat" cmpd="sng" algn="ctr">
              <a:solidFill>
                <a:srgbClr val="A5A5A5"/>
              </a:solidFill>
              <a:prstDash val="solid"/>
              <a:miter lim="800000"/>
              <a:headEnd type="triangle" w="med" len="med"/>
              <a:tailEnd type="triangle" w="med" len="med"/>
            </a:ln>
            <a:effectLst/>
          </p:spPr>
        </p:cxnSp>
        <p:pic>
          <p:nvPicPr>
            <p:cNvPr id="66" name="Grafik 65">
              <a:extLst>
                <a:ext uri="{FF2B5EF4-FFF2-40B4-BE49-F238E27FC236}">
                  <a16:creationId xmlns:a16="http://schemas.microsoft.com/office/drawing/2014/main" id="{DA9D57D2-BDA3-4CD9-920E-D5A73EB71729}"/>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931525" y="5404905"/>
              <a:ext cx="576000" cy="4320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67" name="Picture 2" descr="Monitoring the smallest environmental changes">
              <a:extLst>
                <a:ext uri="{FF2B5EF4-FFF2-40B4-BE49-F238E27FC236}">
                  <a16:creationId xmlns:a16="http://schemas.microsoft.com/office/drawing/2014/main" id="{F36BADB7-8797-4F69-AC0A-BD27E8E6FAFF}"/>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6904" r="18262"/>
            <a:stretch/>
          </p:blipFill>
          <p:spPr bwMode="auto">
            <a:xfrm>
              <a:off x="2905270" y="5404905"/>
              <a:ext cx="574723" cy="4320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68" name="Picture 40" descr="Polarstern in unruhigem Gewässer: 4 Millionen Euro mehr für Treibstoff -  buten un binnen">
              <a:extLst>
                <a:ext uri="{FF2B5EF4-FFF2-40B4-BE49-F238E27FC236}">
                  <a16:creationId xmlns:a16="http://schemas.microsoft.com/office/drawing/2014/main" id="{2083B0A8-1399-4512-9433-E2BDDB88D575}"/>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2528" r="21906"/>
            <a:stretch/>
          </p:blipFill>
          <p:spPr bwMode="auto">
            <a:xfrm>
              <a:off x="3562759" y="5404905"/>
              <a:ext cx="580348" cy="4320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69" name="Picture 42" descr="Erdbeobachtung ist wichtiger Bestandteil der 26. UN-Klimakonferenz:  Copernicus in Deutschland">
              <a:extLst>
                <a:ext uri="{FF2B5EF4-FFF2-40B4-BE49-F238E27FC236}">
                  <a16:creationId xmlns:a16="http://schemas.microsoft.com/office/drawing/2014/main" id="{AF263A33-1D71-4259-907D-A388194E8241}"/>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1" r="3236"/>
            <a:stretch/>
          </p:blipFill>
          <p:spPr bwMode="auto">
            <a:xfrm>
              <a:off x="268411" y="5404905"/>
              <a:ext cx="580348" cy="4320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70" name="Picture 44" descr="DLR mit neuem Forschungsprojekt zu satellitengestützter Erdbeobachtung">
              <a:extLst>
                <a:ext uri="{FF2B5EF4-FFF2-40B4-BE49-F238E27FC236}">
                  <a16:creationId xmlns:a16="http://schemas.microsoft.com/office/drawing/2014/main" id="{2048B851-269B-4DDC-9083-BAE2DC9F9574}"/>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11625"/>
            <a:stretch/>
          </p:blipFill>
          <p:spPr bwMode="auto">
            <a:xfrm>
              <a:off x="4225876" y="5404905"/>
              <a:ext cx="574724" cy="4320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71" name="Picture 50" descr="Shibuya scramble crossing hi-res stock photography and images - Alamy">
              <a:extLst>
                <a:ext uri="{FF2B5EF4-FFF2-40B4-BE49-F238E27FC236}">
                  <a16:creationId xmlns:a16="http://schemas.microsoft.com/office/drawing/2014/main" id="{6EEFAEC4-7714-4332-9D5A-AD6300D1A1EF}"/>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b="8252"/>
            <a:stretch/>
          </p:blipFill>
          <p:spPr bwMode="auto">
            <a:xfrm>
              <a:off x="1590291" y="5404905"/>
              <a:ext cx="574723" cy="4320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72" name="Picture 56" descr="Aesthetic Car Landscape Wallpapers - Wallpaper Cave">
              <a:extLst>
                <a:ext uri="{FF2B5EF4-FFF2-40B4-BE49-F238E27FC236}">
                  <a16:creationId xmlns:a16="http://schemas.microsoft.com/office/drawing/2014/main" id="{C43D3E26-54DE-49CA-8C97-E3D11B6B319A}"/>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l="13422" r="11779"/>
            <a:stretch/>
          </p:blipFill>
          <p:spPr bwMode="auto">
            <a:xfrm>
              <a:off x="2247780" y="5404905"/>
              <a:ext cx="574724" cy="4320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73" name="Grafik 72">
              <a:extLst>
                <a:ext uri="{FF2B5EF4-FFF2-40B4-BE49-F238E27FC236}">
                  <a16:creationId xmlns:a16="http://schemas.microsoft.com/office/drawing/2014/main" id="{B1FBCF29-CDA6-4D89-B5F2-226505DEDF19}"/>
                </a:ext>
              </a:extLst>
            </p:cNvPr>
            <p:cNvPicPr>
              <a:picLocks noChangeAspect="1"/>
            </p:cNvPicPr>
            <p:nvPr/>
          </p:nvPicPr>
          <p:blipFill rotWithShape="1">
            <a:blip r:embed="rId16" cstate="print">
              <a:duotone>
                <a:srgbClr val="4472C4">
                  <a:shade val="45000"/>
                  <a:satMod val="135000"/>
                </a:srgbClr>
                <a:prstClr val="white"/>
              </a:duotone>
              <a:extLst>
                <a:ext uri="{28A0092B-C50C-407E-A947-70E740481C1C}">
                  <a14:useLocalDpi xmlns:a14="http://schemas.microsoft.com/office/drawing/2010/main" val="0"/>
                </a:ext>
              </a:extLst>
            </a:blip>
            <a:srcRect l="28161" r="29513"/>
            <a:stretch/>
          </p:blipFill>
          <p:spPr>
            <a:xfrm>
              <a:off x="1469903" y="4617763"/>
              <a:ext cx="161000" cy="273402"/>
            </a:xfrm>
            <a:prstGeom prst="rect">
              <a:avLst/>
            </a:prstGeom>
          </p:spPr>
        </p:pic>
        <p:cxnSp>
          <p:nvCxnSpPr>
            <p:cNvPr id="74" name="Gerade Verbindung mit Pfeil 73">
              <a:extLst>
                <a:ext uri="{FF2B5EF4-FFF2-40B4-BE49-F238E27FC236}">
                  <a16:creationId xmlns:a16="http://schemas.microsoft.com/office/drawing/2014/main" id="{0631E829-9FD2-47D1-878C-5F935BA30EB8}"/>
                </a:ext>
              </a:extLst>
            </p:cNvPr>
            <p:cNvCxnSpPr>
              <a:cxnSpLocks/>
            </p:cNvCxnSpPr>
            <p:nvPr/>
          </p:nvCxnSpPr>
          <p:spPr>
            <a:xfrm>
              <a:off x="1076161" y="4419683"/>
              <a:ext cx="364056" cy="279133"/>
            </a:xfrm>
            <a:prstGeom prst="straightConnector1">
              <a:avLst/>
            </a:prstGeom>
            <a:noFill/>
            <a:ln w="19050" cap="flat" cmpd="sng" algn="ctr">
              <a:solidFill>
                <a:srgbClr val="A5A5A5"/>
              </a:solidFill>
              <a:prstDash val="solid"/>
              <a:miter lim="800000"/>
              <a:headEnd type="triangle" w="med" len="med"/>
              <a:tailEnd type="triangle" w="med" len="med"/>
            </a:ln>
            <a:effectLst/>
          </p:spPr>
        </p:cxnSp>
        <p:pic>
          <p:nvPicPr>
            <p:cNvPr id="75" name="Picture 26" descr="Temperature Sensor Icons - Free SVG &amp; PNG Temperature Sensor ...">
              <a:extLst>
                <a:ext uri="{FF2B5EF4-FFF2-40B4-BE49-F238E27FC236}">
                  <a16:creationId xmlns:a16="http://schemas.microsoft.com/office/drawing/2014/main" id="{A4E438BB-7BC1-490A-81D5-5EEE864F80EA}"/>
                </a:ext>
              </a:extLst>
            </p:cNvPr>
            <p:cNvPicPr>
              <a:picLocks noChangeAspect="1" noChangeArrowheads="1"/>
            </p:cNvPicPr>
            <p:nvPr/>
          </p:nvPicPr>
          <p:blipFill>
            <a:blip r:embed="rId29">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149316" y="4803488"/>
              <a:ext cx="364534" cy="364534"/>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30" descr="humidity&quot; Icon - Download for free – Iconduck">
              <a:extLst>
                <a:ext uri="{FF2B5EF4-FFF2-40B4-BE49-F238E27FC236}">
                  <a16:creationId xmlns:a16="http://schemas.microsoft.com/office/drawing/2014/main" id="{1D728E0C-E58A-4168-BDB6-379BCD1BE80F}"/>
                </a:ext>
              </a:extLst>
            </p:cNvPr>
            <p:cNvPicPr>
              <a:picLocks noChangeAspect="1" noChangeArrowheads="1"/>
            </p:cNvPicPr>
            <p:nvPr/>
          </p:nvPicPr>
          <p:blipFill>
            <a:blip r:embed="rId30">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856564" y="4843896"/>
              <a:ext cx="256116" cy="209470"/>
            </a:xfrm>
            <a:prstGeom prst="rect">
              <a:avLst/>
            </a:prstGeom>
            <a:noFill/>
            <a:extLst>
              <a:ext uri="{909E8E84-426E-40DD-AFC4-6F175D3DCCD1}">
                <a14:hiddenFill xmlns:a14="http://schemas.microsoft.com/office/drawing/2010/main">
                  <a:solidFill>
                    <a:srgbClr val="FFFFFF"/>
                  </a:solidFill>
                </a14:hiddenFill>
              </a:ext>
            </a:extLst>
          </p:spPr>
        </p:pic>
        <p:cxnSp>
          <p:nvCxnSpPr>
            <p:cNvPr id="77" name="Gerade Verbindung mit Pfeil 76">
              <a:extLst>
                <a:ext uri="{FF2B5EF4-FFF2-40B4-BE49-F238E27FC236}">
                  <a16:creationId xmlns:a16="http://schemas.microsoft.com/office/drawing/2014/main" id="{EA6A495A-44FB-49B6-B573-F6AF5E7B4A08}"/>
                </a:ext>
              </a:extLst>
            </p:cNvPr>
            <p:cNvCxnSpPr>
              <a:cxnSpLocks/>
              <a:stCxn id="33" idx="2"/>
            </p:cNvCxnSpPr>
            <p:nvPr/>
          </p:nvCxnSpPr>
          <p:spPr>
            <a:xfrm>
              <a:off x="2765067" y="2575153"/>
              <a:ext cx="430561" cy="1646990"/>
            </a:xfrm>
            <a:prstGeom prst="straightConnector1">
              <a:avLst/>
            </a:prstGeom>
            <a:noFill/>
            <a:ln w="19050" cap="flat" cmpd="sng" algn="ctr">
              <a:solidFill>
                <a:srgbClr val="A5A5A5"/>
              </a:solidFill>
              <a:prstDash val="solid"/>
              <a:miter lim="800000"/>
              <a:headEnd type="triangle" w="med" len="med"/>
              <a:tailEnd type="triangle" w="med" len="med"/>
            </a:ln>
            <a:effectLst/>
          </p:spPr>
        </p:cxnSp>
        <p:cxnSp>
          <p:nvCxnSpPr>
            <p:cNvPr id="78" name="Gerade Verbindung mit Pfeil 77">
              <a:extLst>
                <a:ext uri="{FF2B5EF4-FFF2-40B4-BE49-F238E27FC236}">
                  <a16:creationId xmlns:a16="http://schemas.microsoft.com/office/drawing/2014/main" id="{9F72AFF3-080A-475B-845F-C3FFDAA4E68D}"/>
                </a:ext>
              </a:extLst>
            </p:cNvPr>
            <p:cNvCxnSpPr>
              <a:cxnSpLocks/>
              <a:stCxn id="14" idx="2"/>
              <a:endCxn id="49" idx="0"/>
            </p:cNvCxnSpPr>
            <p:nvPr/>
          </p:nvCxnSpPr>
          <p:spPr>
            <a:xfrm flipH="1">
              <a:off x="3309408" y="3009190"/>
              <a:ext cx="115944" cy="1202722"/>
            </a:xfrm>
            <a:prstGeom prst="straightConnector1">
              <a:avLst/>
            </a:prstGeom>
            <a:noFill/>
            <a:ln w="19050" cap="flat" cmpd="sng" algn="ctr">
              <a:solidFill>
                <a:srgbClr val="A5A5A5"/>
              </a:solidFill>
              <a:prstDash val="solid"/>
              <a:miter lim="800000"/>
              <a:headEnd type="triangle" w="med" len="med"/>
              <a:tailEnd type="triangle" w="med" len="med"/>
            </a:ln>
            <a:effectLst/>
          </p:spPr>
        </p:cxnSp>
        <p:pic>
          <p:nvPicPr>
            <p:cNvPr id="79" name="Picture 6" descr="Iot - Free interface icons">
              <a:extLst>
                <a:ext uri="{FF2B5EF4-FFF2-40B4-BE49-F238E27FC236}">
                  <a16:creationId xmlns:a16="http://schemas.microsoft.com/office/drawing/2014/main" id="{00ABE114-E82B-40DB-A449-1588D26E1D91}"/>
                </a:ext>
              </a:extLst>
            </p:cNvPr>
            <p:cNvPicPr>
              <a:picLocks noChangeAspect="1" noChangeArrowheads="1"/>
            </p:cNvPicPr>
            <p:nvPr/>
          </p:nvPicPr>
          <p:blipFill>
            <a:blip r:embed="rId31">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99116" y="5049974"/>
              <a:ext cx="296652" cy="296073"/>
            </a:xfrm>
            <a:prstGeom prst="rect">
              <a:avLst/>
            </a:prstGeom>
            <a:noFill/>
            <a:extLst>
              <a:ext uri="{909E8E84-426E-40DD-AFC4-6F175D3DCCD1}">
                <a14:hiddenFill xmlns:a14="http://schemas.microsoft.com/office/drawing/2010/main">
                  <a:solidFill>
                    <a:srgbClr val="FFFFFF"/>
                  </a:solidFill>
                </a14:hiddenFill>
              </a:ext>
            </a:extLst>
          </p:spPr>
        </p:pic>
        <p:sp>
          <p:nvSpPr>
            <p:cNvPr id="80" name="Textfeld 79">
              <a:extLst>
                <a:ext uri="{FF2B5EF4-FFF2-40B4-BE49-F238E27FC236}">
                  <a16:creationId xmlns:a16="http://schemas.microsoft.com/office/drawing/2014/main" id="{B70881FA-929D-4FFD-9697-2315FABDC21D}"/>
                </a:ext>
              </a:extLst>
            </p:cNvPr>
            <p:cNvSpPr txBox="1"/>
            <p:nvPr/>
          </p:nvSpPr>
          <p:spPr>
            <a:xfrm>
              <a:off x="441363" y="5029126"/>
              <a:ext cx="851785" cy="270150"/>
            </a:xfrm>
            <a:prstGeom prst="rect">
              <a:avLst/>
            </a:prstGeom>
            <a:noFill/>
          </p:spPr>
          <p:txBody>
            <a:bodyPr wrap="none" rtlCol="0">
              <a:spAutoFit/>
            </a:bodyPr>
            <a:lstStyle/>
            <a:p>
              <a:pPr>
                <a:defRPr/>
              </a:pPr>
              <a:r>
                <a:rPr lang="en-US" sz="1050" kern="0">
                  <a:solidFill>
                    <a:prstClr val="black"/>
                  </a:solidFill>
                </a:rPr>
                <a:t>Base station</a:t>
              </a:r>
            </a:p>
          </p:txBody>
        </p:sp>
        <p:sp>
          <p:nvSpPr>
            <p:cNvPr id="81" name="Textfeld 80">
              <a:extLst>
                <a:ext uri="{FF2B5EF4-FFF2-40B4-BE49-F238E27FC236}">
                  <a16:creationId xmlns:a16="http://schemas.microsoft.com/office/drawing/2014/main" id="{4493F4D9-0780-4E66-82D3-0464EE65E19C}"/>
                </a:ext>
              </a:extLst>
            </p:cNvPr>
            <p:cNvSpPr txBox="1"/>
            <p:nvPr/>
          </p:nvSpPr>
          <p:spPr>
            <a:xfrm>
              <a:off x="3340171" y="2469998"/>
              <a:ext cx="595224" cy="270150"/>
            </a:xfrm>
            <a:prstGeom prst="rect">
              <a:avLst/>
            </a:prstGeom>
            <a:noFill/>
          </p:spPr>
          <p:txBody>
            <a:bodyPr wrap="none" rtlCol="0">
              <a:spAutoFit/>
            </a:bodyPr>
            <a:lstStyle/>
            <a:p>
              <a:pPr>
                <a:defRPr/>
              </a:pPr>
              <a:r>
                <a:rPr lang="en-US" sz="1050" kern="0">
                  <a:solidFill>
                    <a:prstClr val="black"/>
                  </a:solidFill>
                </a:rPr>
                <a:t>Aircraft</a:t>
              </a:r>
            </a:p>
          </p:txBody>
        </p:sp>
      </p:grpSp>
    </p:spTree>
    <p:extLst>
      <p:ext uri="{BB962C8B-B14F-4D97-AF65-F5344CB8AC3E}">
        <p14:creationId xmlns:p14="http://schemas.microsoft.com/office/powerpoint/2010/main" val="3498027820"/>
      </p:ext>
    </p:extLst>
  </p:cSld>
  <p:clrMapOvr>
    <a:masterClrMapping/>
  </p:clrMapOvr>
  <mc:AlternateContent xmlns:mc="http://schemas.openxmlformats.org/markup-compatibility/2006">
    <mc:Choice xmlns:p14="http://schemas.microsoft.com/office/powerpoint/2010/main" Requires="p14">
      <p:transition p14:dur="10" advTm="10000"/>
    </mc:Choice>
    <mc:Fallback>
      <p:transition advTm="1000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2.xml><?xml version="1.0" encoding="utf-8"?>
<p:tagLst xmlns:a="http://schemas.openxmlformats.org/drawingml/2006/main" xmlns:r="http://schemas.openxmlformats.org/officeDocument/2006/relationships" xmlns:p="http://schemas.openxmlformats.org/presentationml/2006/main">
  <p:tag name="RS_CLASSIFICATION" val="COMPANY RESTRICTED"/>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Defaul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G TakeOff Whi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C45F28EDA72A9F41993C9D56D6ABB5DF" ma:contentTypeVersion="16" ma:contentTypeDescription="Ein neues Dokument erstellen." ma:contentTypeScope="" ma:versionID="73b1ce13b6ea37ab0ef4b3396668bdfb">
  <xsd:schema xmlns:xsd="http://www.w3.org/2001/XMLSchema" xmlns:xs="http://www.w3.org/2001/XMLSchema" xmlns:p="http://schemas.microsoft.com/office/2006/metadata/properties" xmlns:ns2="bcda79dd-6287-47f0-8d1f-5ef099b705e4" xmlns:ns3="b1511041-9631-4a67-8cad-3068f00d38e9" targetNamespace="http://schemas.microsoft.com/office/2006/metadata/properties" ma:root="true" ma:fieldsID="1a77a177f2e5a010d68a68c21997b745" ns2:_="" ns3:_="">
    <xsd:import namespace="bcda79dd-6287-47f0-8d1f-5ef099b705e4"/>
    <xsd:import namespace="b1511041-9631-4a67-8cad-3068f00d38e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Location"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ServiceObjectDetectorVersions"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da79dd-6287-47f0-8d1f-5ef099b705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Location" ma:index="14" nillable="true" ma:displayName="Location" ma:indexed="true"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Bildmarkierungen" ma:readOnly="false" ma:fieldId="{5cf76f15-5ced-4ddc-b409-7134ff3c332f}" ma:taxonomyMulti="true" ma:sspId="31b3ddd8-ca2a-458f-8bd2-560e3e7e158f"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1511041-9631-4a67-8cad-3068f00d38e9" elementFormDefault="qualified">
    <xsd:import namespace="http://schemas.microsoft.com/office/2006/documentManagement/types"/>
    <xsd:import namespace="http://schemas.microsoft.com/office/infopath/2007/PartnerControls"/>
    <xsd:element name="SharedWithUsers" ma:index="12"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Freigegeben für - Details" ma:internalName="SharedWithDetails" ma:readOnly="true">
      <xsd:simpleType>
        <xsd:restriction base="dms:Note">
          <xsd:maxLength value="255"/>
        </xsd:restriction>
      </xsd:simpleType>
    </xsd:element>
    <xsd:element name="TaxCatchAll" ma:index="19" nillable="true" ma:displayName="Taxonomy Catch All Column" ma:hidden="true" ma:list="{a966d974-a00c-434b-a936-de65d1d4bd35}" ma:internalName="TaxCatchAll" ma:showField="CatchAllData" ma:web="b1511041-9631-4a67-8cad-3068f00d38e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cda79dd-6287-47f0-8d1f-5ef099b705e4">
      <Terms xmlns="http://schemas.microsoft.com/office/infopath/2007/PartnerControls"/>
    </lcf76f155ced4ddcb4097134ff3c332f>
    <TaxCatchAll xmlns="b1511041-9631-4a67-8cad-3068f00d38e9" xsi:nil="true"/>
  </documentManagement>
</p:properties>
</file>

<file path=customXml/itemProps1.xml><?xml version="1.0" encoding="utf-8"?>
<ds:datastoreItem xmlns:ds="http://schemas.openxmlformats.org/officeDocument/2006/customXml" ds:itemID="{695F9218-0BDF-4DFE-9BC6-15D4C301474B}">
  <ds:schemaRefs>
    <ds:schemaRef ds:uri="http://schemas.microsoft.com/sharepoint/v3/contenttype/forms"/>
  </ds:schemaRefs>
</ds:datastoreItem>
</file>

<file path=customXml/itemProps2.xml><?xml version="1.0" encoding="utf-8"?>
<ds:datastoreItem xmlns:ds="http://schemas.openxmlformats.org/officeDocument/2006/customXml" ds:itemID="{88E29BB2-AF8D-4133-8F7F-068074B97832}">
  <ds:schemaRefs>
    <ds:schemaRef ds:uri="b1511041-9631-4a67-8cad-3068f00d38e9"/>
    <ds:schemaRef ds:uri="bcda79dd-6287-47f0-8d1f-5ef099b705e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2D7062B-FDE8-4331-B508-484F19AA38C9}">
  <ds:schemaRefs>
    <ds:schemaRef ds:uri="b1511041-9631-4a67-8cad-3068f00d38e9"/>
    <ds:schemaRef ds:uri="bcda79dd-6287-47f0-8d1f-5ef099b705e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Application>Microsoft Office PowerPoint</Application>
  <PresentationFormat>Custom</PresentationFormat>
  <Slides>36</Slides>
  <Notes>21</Notes>
  <HiddenSlides>1</HiddenSlides>
  <ScaleCrop>false</ScaleCrop>
  <HeadingPairs>
    <vt:vector size="4" baseType="variant">
      <vt:variant>
        <vt:lpstr>Theme</vt:lpstr>
      </vt:variant>
      <vt:variant>
        <vt:i4>2</vt:i4>
      </vt:variant>
      <vt:variant>
        <vt:lpstr>Slide Titles</vt:lpstr>
      </vt:variant>
      <vt:variant>
        <vt:i4>36</vt:i4>
      </vt:variant>
    </vt:vector>
  </HeadingPairs>
  <TitlesOfParts>
    <vt:vector size="38" baseType="lpstr">
      <vt:lpstr>Default</vt:lpstr>
      <vt:lpstr>6G TakeOff White</vt:lpstr>
      <vt:lpstr>6G-TakeOff</vt:lpstr>
      <vt:lpstr>PowerPoint Presentation</vt:lpstr>
      <vt:lpstr>Project Partners: Bringing Industries Together</vt:lpstr>
      <vt:lpstr>PowerPoint Presentation</vt:lpstr>
      <vt:lpstr>Motivation</vt:lpstr>
      <vt:lpstr>Insufficient Coverage for Mobile Connectivity</vt:lpstr>
      <vt:lpstr>Temporarily / Locally Insufficient Capacity</vt:lpstr>
      <vt:lpstr>Resilience and Security</vt:lpstr>
      <vt:lpstr>The Need for 3D</vt:lpstr>
      <vt:lpstr>Vision &amp; Approach</vt:lpstr>
      <vt:lpstr>3D Networks</vt:lpstr>
      <vt:lpstr>Connecting the Unconnected: Global Coverage</vt:lpstr>
      <vt:lpstr>One Device Only</vt:lpstr>
      <vt:lpstr>Architecture</vt:lpstr>
      <vt:lpstr>Unification towards a Common 3GPP Standard</vt:lpstr>
      <vt:lpstr>Physical Challenges for 3D Networks</vt:lpstr>
      <vt:lpstr>Expanding the Internet into Space</vt:lpstr>
      <vt:lpstr>3D Network</vt:lpstr>
      <vt:lpstr>3D Network</vt:lpstr>
      <vt:lpstr>3D Network</vt:lpstr>
      <vt:lpstr>3D Network</vt:lpstr>
      <vt:lpstr>3D Network</vt:lpstr>
      <vt:lpstr>3D Networks: Threads</vt:lpstr>
      <vt:lpstr>3D Networks: Security from Design to Deployment</vt:lpstr>
      <vt:lpstr>Technology</vt:lpstr>
      <vt:lpstr>Grant-free access technology for IoT via Satellite</vt:lpstr>
      <vt:lpstr>Steerable Antenna Systems for UAVs</vt:lpstr>
      <vt:lpstr>Antennas and RF frontend</vt:lpstr>
      <vt:lpstr>Antennas and RF frontend</vt:lpstr>
      <vt:lpstr>Testbed</vt:lpstr>
      <vt:lpstr>3D Experimental Field @ Uni Bremen</vt:lpstr>
      <vt:lpstr>Extended On-Demand Coverage by Drone</vt:lpstr>
      <vt:lpstr>3D Multi-Access Edge Computing (MEC) for Smart Agriculture</vt:lpstr>
      <vt:lpstr>BF-Antennas, Tracking Methods</vt:lpstr>
      <vt:lpstr>System Simulator Non-terrestrial Network (NT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6G-TakeOff WP3 Task B</dc:title>
  <dc:creator>EIT FUN</dc:creator>
  <cp:revision>1</cp:revision>
  <dcterms:created xsi:type="dcterms:W3CDTF">2023-03-06T12:40:54Z</dcterms:created>
  <dcterms:modified xsi:type="dcterms:W3CDTF">2025-03-31T06:3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C45F28EDA72A9F41993C9D56D6ABB5DF</vt:lpwstr>
  </property>
</Properties>
</file>